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</p:sldMasterIdLst>
  <p:notesMasterIdLst>
    <p:notesMasterId r:id="rId34"/>
  </p:notesMasterIdLst>
  <p:handoutMasterIdLst>
    <p:handoutMasterId r:id="rId35"/>
  </p:handoutMasterIdLst>
  <p:sldIdLst>
    <p:sldId id="460" r:id="rId8"/>
    <p:sldId id="648" r:id="rId9"/>
    <p:sldId id="611" r:id="rId10"/>
    <p:sldId id="617" r:id="rId11"/>
    <p:sldId id="612" r:id="rId12"/>
    <p:sldId id="641" r:id="rId13"/>
    <p:sldId id="642" r:id="rId14"/>
    <p:sldId id="643" r:id="rId15"/>
    <p:sldId id="625" r:id="rId16"/>
    <p:sldId id="468" r:id="rId17"/>
    <p:sldId id="584" r:id="rId18"/>
    <p:sldId id="470" r:id="rId19"/>
    <p:sldId id="585" r:id="rId20"/>
    <p:sldId id="633" r:id="rId21"/>
    <p:sldId id="614" r:id="rId22"/>
    <p:sldId id="649" r:id="rId23"/>
    <p:sldId id="647" r:id="rId24"/>
    <p:sldId id="439" r:id="rId25"/>
    <p:sldId id="556" r:id="rId26"/>
    <p:sldId id="618" r:id="rId27"/>
    <p:sldId id="477" r:id="rId28"/>
    <p:sldId id="615" r:id="rId29"/>
    <p:sldId id="596" r:id="rId30"/>
    <p:sldId id="616" r:id="rId31"/>
    <p:sldId id="644" r:id="rId32"/>
    <p:sldId id="624" r:id="rId33"/>
  </p:sldIdLst>
  <p:sldSz cx="12192000" cy="6858000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A0F1"/>
    <a:srgbClr val="2D4B70"/>
    <a:srgbClr val="0A2E57"/>
    <a:srgbClr val="0094C8"/>
    <a:srgbClr val="F57B27"/>
    <a:srgbClr val="445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7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2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2!$B$2</c:f>
              <c:strCache>
                <c:ptCount val="1"/>
                <c:pt idx="0">
                  <c:v>Текущие производител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3,5</a:t>
                    </a:r>
                    <a:endParaRPr lang="en-US" dirty="0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888-46BF-B5DC-4F900B3931E4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21,2</a:t>
                    </a:r>
                    <a:endParaRPr lang="en-US" dirty="0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888-46BF-B5DC-4F900B3931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:$M$1</c:f>
              <c:numCache>
                <c:formatCode>General</c:formatCode>
                <c:ptCount val="11"/>
                <c:pt idx="0">
                  <c:v>2015</c:v>
                </c:pt>
                <c:pt idx="1">
                  <c:v>2020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Лист2!$C$2:$M$2</c:f>
              <c:numCache>
                <c:formatCode>#\ ##0.0</c:formatCode>
                <c:ptCount val="11"/>
                <c:pt idx="0">
                  <c:v>22.373769572280001</c:v>
                </c:pt>
                <c:pt idx="1">
                  <c:v>26.301923220000003</c:v>
                </c:pt>
                <c:pt idx="2">
                  <c:v>23.588619134564944</c:v>
                </c:pt>
                <c:pt idx="3">
                  <c:v>23.743995773536845</c:v>
                </c:pt>
                <c:pt idx="4">
                  <c:v>22.98634270409136</c:v>
                </c:pt>
                <c:pt idx="5">
                  <c:v>23.685073921522825</c:v>
                </c:pt>
                <c:pt idx="6">
                  <c:v>21.699628092247369</c:v>
                </c:pt>
                <c:pt idx="7">
                  <c:v>22.127175312303208</c:v>
                </c:pt>
                <c:pt idx="8">
                  <c:v>22.290244996841242</c:v>
                </c:pt>
                <c:pt idx="9">
                  <c:v>22.011132991059458</c:v>
                </c:pt>
                <c:pt idx="10">
                  <c:v>21.25808879617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4-4EEE-BBAF-61852FBE0A8C}"/>
            </c:ext>
          </c:extLst>
        </c:ser>
        <c:ser>
          <c:idx val="1"/>
          <c:order val="1"/>
          <c:tx>
            <c:strRef>
              <c:f>Лист2!$B$4</c:f>
              <c:strCache>
                <c:ptCount val="1"/>
                <c:pt idx="0">
                  <c:v>Доп. по объемам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dLbl>
              <c:idx val="2"/>
              <c:layout>
                <c:manualLayout>
                  <c:x val="-4.4728567362119644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9F4-4EEE-BBAF-61852FBE0A8C}"/>
                </c:ext>
              </c:extLst>
            </c:dLbl>
            <c:dLbl>
              <c:idx val="3"/>
              <c:layout>
                <c:manualLayout>
                  <c:x val="1.5145503517568664E-3"/>
                  <c:y val="1.020700421791652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4-4EEE-BBAF-61852FBE0A8C}"/>
                </c:ext>
              </c:extLst>
            </c:dLbl>
            <c:dLbl>
              <c:idx val="4"/>
              <c:layout>
                <c:manualLayout>
                  <c:x val="1.6789066191104311E-2"/>
                  <c:y val="6.67500779845891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4-4EEE-BBAF-61852FBE0A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:$M$1</c:f>
              <c:numCache>
                <c:formatCode>General</c:formatCode>
                <c:ptCount val="11"/>
                <c:pt idx="0">
                  <c:v>2015</c:v>
                </c:pt>
                <c:pt idx="1">
                  <c:v>2020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Лист2!$C$4:$M$4</c:f>
              <c:numCache>
                <c:formatCode>General</c:formatCode>
                <c:ptCount val="11"/>
                <c:pt idx="2" formatCode="#\ ##0.0">
                  <c:v>1.65</c:v>
                </c:pt>
                <c:pt idx="3" formatCode="#\ ##0.0">
                  <c:v>2.1609327954802771</c:v>
                </c:pt>
                <c:pt idx="4" formatCode="#\ ##0.0">
                  <c:v>3.6183441701931258</c:v>
                </c:pt>
                <c:pt idx="5" formatCode="#\ ##0.0">
                  <c:v>2.5924330277606238</c:v>
                </c:pt>
                <c:pt idx="6" formatCode="#\ ##0.0">
                  <c:v>8.4109678502572063</c:v>
                </c:pt>
                <c:pt idx="7" formatCode="#\ ##0.0">
                  <c:v>10.403886038563554</c:v>
                </c:pt>
                <c:pt idx="8" formatCode="#\ ##0.0">
                  <c:v>10.869000404332823</c:v>
                </c:pt>
                <c:pt idx="9" formatCode="#\ ##0.0">
                  <c:v>11.499246538895633</c:v>
                </c:pt>
                <c:pt idx="10" formatCode="#\ ##0.0">
                  <c:v>15.4702446273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9F4-4EEE-BBAF-61852FBE0A8C}"/>
            </c:ext>
          </c:extLst>
        </c:ser>
        <c:ser>
          <c:idx val="2"/>
          <c:order val="2"/>
          <c:tx>
            <c:strRef>
              <c:f>Лист2!$B$13</c:f>
              <c:strCache>
                <c:ptCount val="1"/>
                <c:pt idx="0">
                  <c:v>Импорт газа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dLbl>
              <c:idx val="2"/>
              <c:layout>
                <c:manualLayout>
                  <c:x val="1.2198841110094094E-3"/>
                  <c:y val="-2.40886396182399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89F4-4EEE-BBAF-61852FBE0A8C}"/>
                </c:ext>
              </c:extLst>
            </c:dLbl>
            <c:dLbl>
              <c:idx val="3"/>
              <c:layout>
                <c:manualLayout>
                  <c:x val="1.9029273315504752E-3"/>
                  <c:y val="-7.138881121144576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980503235875486E-2"/>
                      <c:h val="6.378700180165666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89F4-4EEE-BBAF-61852FBE0A8C}"/>
                </c:ext>
              </c:extLst>
            </c:dLbl>
            <c:dLbl>
              <c:idx val="4"/>
              <c:layout>
                <c:manualLayout>
                  <c:x val="5.7087819946513556E-3"/>
                  <c:y val="-1.633798130898807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89F4-4EEE-BBAF-61852FBE0A8C}"/>
                </c:ext>
              </c:extLst>
            </c:dLbl>
            <c:dLbl>
              <c:idx val="5"/>
              <c:layout>
                <c:manualLayout>
                  <c:x val="3.8058546631008806E-3"/>
                  <c:y val="-4.05487544406301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9F4-4EEE-BBAF-61852FBE0A8C}"/>
                </c:ext>
              </c:extLst>
            </c:dLbl>
            <c:dLbl>
              <c:idx val="6"/>
              <c:layout>
                <c:manualLayout>
                  <c:x val="3.8058546631008806E-3"/>
                  <c:y val="-2.232405808206928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89F4-4EEE-BBAF-61852FBE0A8C}"/>
                </c:ext>
              </c:extLst>
            </c:dLbl>
            <c:dLbl>
              <c:idx val="7"/>
              <c:layout>
                <c:manualLayout>
                  <c:x val="3.8058546631008108E-3"/>
                  <c:y val="-1.464434122858156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89F4-4EEE-BBAF-61852FBE0A8C}"/>
                </c:ext>
              </c:extLst>
            </c:dLbl>
            <c:dLbl>
              <c:idx val="8"/>
              <c:layout>
                <c:manualLayout>
                  <c:x val="3.8058546631009505E-3"/>
                  <c:y val="-9.912310843925797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89F4-4EEE-BBAF-61852FBE0A8C}"/>
                </c:ext>
              </c:extLst>
            </c:dLbl>
            <c:dLbl>
              <c:idx val="9"/>
              <c:layout>
                <c:manualLayout>
                  <c:x val="3.8058546631009505E-3"/>
                  <c:y val="-1.274407705836544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89F4-4EEE-BBAF-61852FBE0A8C}"/>
                </c:ext>
              </c:extLst>
            </c:dLbl>
            <c:dLbl>
              <c:idx val="10"/>
              <c:layout>
                <c:manualLayout>
                  <c:x val="4.4889606240882431E-3"/>
                  <c:y val="-1.5543852293506389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89F4-4EEE-BBAF-61852FBE0A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:$M$1</c:f>
              <c:numCache>
                <c:formatCode>General</c:formatCode>
                <c:ptCount val="11"/>
                <c:pt idx="0">
                  <c:v>2015</c:v>
                </c:pt>
                <c:pt idx="1">
                  <c:v>2020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Лист2!$C$13:$M$13</c:f>
              <c:numCache>
                <c:formatCode>General</c:formatCode>
                <c:ptCount val="11"/>
                <c:pt idx="2" formatCode="#\ ##0.0">
                  <c:v>0.36799999999999999</c:v>
                </c:pt>
                <c:pt idx="3" formatCode="#\ ##0.0">
                  <c:v>1.8</c:v>
                </c:pt>
                <c:pt idx="4" formatCode="#\ ##0.0">
                  <c:v>3.0692519820900515</c:v>
                </c:pt>
                <c:pt idx="5" formatCode="#\ ##0.0">
                  <c:v>8.7343901514997597</c:v>
                </c:pt>
                <c:pt idx="6" formatCode="#\ ##0.0">
                  <c:v>4.8263328985363625</c:v>
                </c:pt>
                <c:pt idx="7" formatCode="#\ ##0.0">
                  <c:v>4.445427839371666</c:v>
                </c:pt>
                <c:pt idx="8" formatCode="#\ ##0.0">
                  <c:v>4.163413270840973</c:v>
                </c:pt>
                <c:pt idx="9" formatCode="#\ ##0.0">
                  <c:v>4.1634310883378838</c:v>
                </c:pt>
                <c:pt idx="10" formatCode="#\ ##0.0">
                  <c:v>1.5609890261705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9F4-4EEE-BBAF-61852FBE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04238312"/>
        <c:axId val="704238968"/>
      </c:barChart>
      <c:lineChart>
        <c:grouping val="standard"/>
        <c:varyColors val="0"/>
        <c:ser>
          <c:idx val="3"/>
          <c:order val="3"/>
          <c:tx>
            <c:strRef>
              <c:f>Лист2!$B$17</c:f>
              <c:strCache>
                <c:ptCount val="1"/>
                <c:pt idx="0">
                  <c:v>Потребление газа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00B050"/>
              </a:solidFill>
              <a:ln w="9525">
                <a:noFill/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9F4-4EEE-BBAF-61852FBE0A8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9F4-4EEE-BBAF-61852FBE0A8C}"/>
                </c:ext>
              </c:extLst>
            </c:dLbl>
            <c:dLbl>
              <c:idx val="10"/>
              <c:layout>
                <c:manualLayout>
                  <c:x val="-2.5032021957914E-2"/>
                  <c:y val="3.57255300891880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89F4-4EEE-BBAF-61852FBE0A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B05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:$M$1</c:f>
              <c:numCache>
                <c:formatCode>General</c:formatCode>
                <c:ptCount val="11"/>
                <c:pt idx="0">
                  <c:v>2015</c:v>
                </c:pt>
                <c:pt idx="1">
                  <c:v>2020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Лист2!$C$17:$M$17</c:f>
              <c:numCache>
                <c:formatCode>#\ ##0.0</c:formatCode>
                <c:ptCount val="11"/>
                <c:pt idx="0">
                  <c:v>12.904793433656016</c:v>
                </c:pt>
                <c:pt idx="1">
                  <c:v>17.351431461900003</c:v>
                </c:pt>
                <c:pt idx="2">
                  <c:v>20.130372604909134</c:v>
                </c:pt>
                <c:pt idx="3">
                  <c:v>20.291630153978051</c:v>
                </c:pt>
                <c:pt idx="4">
                  <c:v>20.343858856374538</c:v>
                </c:pt>
                <c:pt idx="5">
                  <c:v>20.41331710078321</c:v>
                </c:pt>
                <c:pt idx="6">
                  <c:v>19.902348841040936</c:v>
                </c:pt>
                <c:pt idx="7">
                  <c:v>21.457909190238428</c:v>
                </c:pt>
                <c:pt idx="8">
                  <c:v>21.804078672015038</c:v>
                </c:pt>
                <c:pt idx="9">
                  <c:v>22.155230618292972</c:v>
                </c:pt>
                <c:pt idx="10">
                  <c:v>22.550742449718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9F4-4EEE-BBAF-61852FBE0A8C}"/>
            </c:ext>
          </c:extLst>
        </c:ser>
        <c:ser>
          <c:idx val="4"/>
          <c:order val="4"/>
          <c:tx>
            <c:strRef>
              <c:f>Лист2!$B$18</c:f>
              <c:strCache>
                <c:ptCount val="1"/>
                <c:pt idx="0">
                  <c:v>Прогнозное потребление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square"/>
            <c:size val="8"/>
            <c:spPr>
              <a:solidFill>
                <a:schemeClr val="accent5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2.319912206765554E-2"/>
                  <c:y val="2.99962469262704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89F4-4EEE-BBAF-61852FBE0A8C}"/>
                </c:ext>
              </c:extLst>
            </c:dLbl>
            <c:dLbl>
              <c:idx val="1"/>
              <c:layout>
                <c:manualLayout>
                  <c:x val="-2.319912206765554E-2"/>
                  <c:y val="2.99962469262704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89F4-4EEE-BBAF-61852FBE0A8C}"/>
                </c:ext>
              </c:extLst>
            </c:dLbl>
            <c:dLbl>
              <c:idx val="2"/>
              <c:layout>
                <c:manualLayout>
                  <c:x val="-2.3199122067655585E-2"/>
                  <c:y val="-1.79977481557622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89F4-4EEE-BBAF-61852FBE0A8C}"/>
                </c:ext>
              </c:extLst>
            </c:dLbl>
            <c:dLbl>
              <c:idx val="3"/>
              <c:layout>
                <c:manualLayout>
                  <c:x val="-1.5541672010845787E-2"/>
                  <c:y val="1.65826182094912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89F4-4EEE-BBAF-61852FBE0A8C}"/>
                </c:ext>
              </c:extLst>
            </c:dLbl>
            <c:dLbl>
              <c:idx val="4"/>
              <c:layout>
                <c:manualLayout>
                  <c:x val="-2.3153400426959438E-2"/>
                  <c:y val="-2.69966222336434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7-89F4-4EEE-BBAF-61852FBE0A8C}"/>
                </c:ext>
              </c:extLst>
            </c:dLbl>
            <c:dLbl>
              <c:idx val="5"/>
              <c:layout>
                <c:manualLayout>
                  <c:x val="-2.1250454005497282E-2"/>
                  <c:y val="2.22167942103102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8-89F4-4EEE-BBAF-61852FBE0A8C}"/>
                </c:ext>
              </c:extLst>
            </c:dLbl>
            <c:dLbl>
              <c:idx val="6"/>
              <c:layout>
                <c:manualLayout>
                  <c:x val="-2.3153400426959438E-2"/>
                  <c:y val="2.69966222336433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9-89F4-4EEE-BBAF-61852FBE0A8C}"/>
                </c:ext>
              </c:extLst>
            </c:dLbl>
            <c:dLbl>
              <c:idx val="7"/>
              <c:layout>
                <c:manualLayout>
                  <c:x val="-2.3153400426959528E-2"/>
                  <c:y val="2.69966222336433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A-89F4-4EEE-BBAF-61852FBE0A8C}"/>
                </c:ext>
              </c:extLst>
            </c:dLbl>
            <c:dLbl>
              <c:idx val="8"/>
              <c:layout>
                <c:manualLayout>
                  <c:x val="-2.3153400426959351E-2"/>
                  <c:y val="3.59954963115244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B-89F4-4EEE-BBAF-61852FBE0A8C}"/>
                </c:ext>
              </c:extLst>
            </c:dLbl>
            <c:dLbl>
              <c:idx val="9"/>
              <c:layout>
                <c:manualLayout>
                  <c:x val="-2.3153400426959438E-2"/>
                  <c:y val="3.29958716188974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C-89F4-4EEE-BBAF-61852FBE0A8C}"/>
                </c:ext>
              </c:extLst>
            </c:dLbl>
            <c:dLbl>
              <c:idx val="10"/>
              <c:layout>
                <c:manualLayout>
                  <c:x val="-2.3153400426959438E-2"/>
                  <c:y val="2.09973728483892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D-89F4-4EEE-BBAF-61852FBE0A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A2E5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:$M$1</c:f>
              <c:numCache>
                <c:formatCode>General</c:formatCode>
                <c:ptCount val="11"/>
                <c:pt idx="0">
                  <c:v>2015</c:v>
                </c:pt>
                <c:pt idx="1">
                  <c:v>2020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Лист2!$C$18:$M$18</c:f>
              <c:numCache>
                <c:formatCode>#\ ##0.0</c:formatCode>
                <c:ptCount val="11"/>
                <c:pt idx="0">
                  <c:v>12.904793433656016</c:v>
                </c:pt>
                <c:pt idx="1">
                  <c:v>17.351431461900003</c:v>
                </c:pt>
                <c:pt idx="2">
                  <c:v>20.743372604909133</c:v>
                </c:pt>
                <c:pt idx="3">
                  <c:v>22.747570153978053</c:v>
                </c:pt>
                <c:pt idx="4">
                  <c:v>24.673938856374537</c:v>
                </c:pt>
                <c:pt idx="5">
                  <c:v>30.011897100783209</c:v>
                </c:pt>
                <c:pt idx="6">
                  <c:v>29.936928841040938</c:v>
                </c:pt>
                <c:pt idx="7">
                  <c:v>31.976489190238429</c:v>
                </c:pt>
                <c:pt idx="8">
                  <c:v>32.322658672015038</c:v>
                </c:pt>
                <c:pt idx="9">
                  <c:v>32.673810618292976</c:v>
                </c:pt>
                <c:pt idx="10">
                  <c:v>33.289322449718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89F4-4EEE-BBAF-61852FBE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04238312"/>
        <c:axId val="704238968"/>
      </c:lineChart>
      <c:catAx>
        <c:axId val="704238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04238968"/>
        <c:crosses val="autoZero"/>
        <c:auto val="1"/>
        <c:lblAlgn val="ctr"/>
        <c:lblOffset val="100"/>
        <c:noMultiLvlLbl val="0"/>
      </c:catAx>
      <c:valAx>
        <c:axId val="704238968"/>
        <c:scaling>
          <c:orientation val="minMax"/>
        </c:scaling>
        <c:delete val="0"/>
        <c:axPos val="l"/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0423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800773555615763E-2"/>
          <c:y val="1.8808967917755964E-2"/>
          <c:w val="0.94718806565467739"/>
          <c:h val="0.933038900486241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3!$B$25:$D$25</c:f>
              <c:strCache>
                <c:ptCount val="3"/>
                <c:pt idx="0">
                  <c:v>Внутренний рынок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0C-45E8-9332-3C7B4D5A513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79-4197-B854-629EA54E6D43}"/>
              </c:ext>
            </c:extLst>
          </c:dPt>
          <c:dLbls>
            <c:dLbl>
              <c:idx val="0"/>
              <c:layout>
                <c:manualLayout>
                  <c:x val="0"/>
                  <c:y val="-2.42865863080258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E0C-45E8-9332-3C7B4D5A5137}"/>
                </c:ext>
              </c:extLst>
            </c:dLbl>
            <c:dLbl>
              <c:idx val="13"/>
              <c:layout>
                <c:manualLayout>
                  <c:x val="-1.3185913857707446E-3"/>
                  <c:y val="6.384644976600549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1910739191073916E-2"/>
                      <c:h val="3.557984894125781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B79-4197-B854-629EA54E6D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E$24:$R$24</c:f>
              <c:strCache>
                <c:ptCount val="14"/>
                <c:pt idx="0">
                  <c:v>2022 год</c:v>
                </c:pt>
                <c:pt idx="1">
                  <c:v>ТШО с экспорта на вн. с 2022г.</c:v>
                </c:pt>
                <c:pt idx="2">
                  <c:v>Наиболее гот. мест. с 2023</c:v>
                </c:pt>
                <c:pt idx="4">
                  <c:v>Кашаган 1 млрд.м3 с 2024г.</c:v>
                </c:pt>
                <c:pt idx="5">
                  <c:v>Снижение тек. производства</c:v>
                </c:pt>
                <c:pt idx="6">
                  <c:v>Снижение поставок газа ТШО с 2025г.</c:v>
                </c:pt>
                <c:pt idx="7">
                  <c:v>ТШО снижение закачки с 2026г.</c:v>
                </c:pt>
                <c:pt idx="8">
                  <c:v>Карачаганак снижение закачки с 2026г.</c:v>
                </c:pt>
                <c:pt idx="9">
                  <c:v>Кашаган 2 млрд.м3 с 2026г.</c:v>
                </c:pt>
                <c:pt idx="10">
                  <c:v>Кашаган 6 мрд.м3 с 2029г.</c:v>
                </c:pt>
                <c:pt idx="11">
                  <c:v>Жанажол</c:v>
                </c:pt>
                <c:pt idx="12">
                  <c:v>Импорт газа</c:v>
                </c:pt>
                <c:pt idx="13">
                  <c:v>2 030</c:v>
                </c:pt>
              </c:strCache>
            </c:strRef>
          </c:cat>
          <c:val>
            <c:numRef>
              <c:f>Лист3!$E$25:$R$25</c:f>
              <c:numCache>
                <c:formatCode>#\ ##0.0</c:formatCode>
                <c:ptCount val="14"/>
                <c:pt idx="0">
                  <c:v>20.743372604909133</c:v>
                </c:pt>
                <c:pt idx="1">
                  <c:v>23.956619134564942</c:v>
                </c:pt>
                <c:pt idx="2">
                  <c:v>25.606619134564941</c:v>
                </c:pt>
                <c:pt idx="3">
                  <c:v>27.04755193004522</c:v>
                </c:pt>
                <c:pt idx="4">
                  <c:v>29.847551930045221</c:v>
                </c:pt>
                <c:pt idx="5">
                  <c:v>28.217021591652387</c:v>
                </c:pt>
                <c:pt idx="6">
                  <c:v>26.217021591652387</c:v>
                </c:pt>
                <c:pt idx="7">
                  <c:v>26.217021591652387</c:v>
                </c:pt>
                <c:pt idx="8">
                  <c:v>29.217021591652387</c:v>
                </c:pt>
                <c:pt idx="9">
                  <c:v>31.217021591652387</c:v>
                </c:pt>
                <c:pt idx="10">
                  <c:v>32.535021591652388</c:v>
                </c:pt>
                <c:pt idx="11">
                  <c:v>38.289322449718242</c:v>
                </c:pt>
                <c:pt idx="12">
                  <c:v>36.72602159165239</c:v>
                </c:pt>
                <c:pt idx="13">
                  <c:v>33.289322449718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0C-45E8-9332-3C7B4D5A5137}"/>
            </c:ext>
          </c:extLst>
        </c:ser>
        <c:ser>
          <c:idx val="1"/>
          <c:order val="1"/>
          <c:tx>
            <c:strRef>
              <c:f>Лист3!$B$26:$D$26</c:f>
              <c:strCache>
                <c:ptCount val="3"/>
                <c:pt idx="0">
                  <c:v>Экспорт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2E0C-45E8-9332-3C7B4D5A5137}"/>
              </c:ext>
            </c:extLst>
          </c:dPt>
          <c:dPt>
            <c:idx val="1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E0C-45E8-9332-3C7B4D5A5137}"/>
              </c:ext>
            </c:extLst>
          </c:dPt>
          <c:dPt>
            <c:idx val="2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2E0C-45E8-9332-3C7B4D5A5137}"/>
              </c:ext>
            </c:extLst>
          </c:dPt>
          <c:dPt>
            <c:idx val="3"/>
            <c:invertIfNegative val="0"/>
            <c:bubble3D val="0"/>
            <c:spPr>
              <a:solidFill>
                <a:srgbClr val="1F4E79"/>
              </a:solidFill>
              <a:ln>
                <a:solidFill>
                  <a:srgbClr val="5B9BD5">
                    <a:lumMod val="50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E0C-45E8-9332-3C7B4D5A5137}"/>
              </c:ext>
            </c:extLst>
          </c:dPt>
          <c:dPt>
            <c:idx val="4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2E0C-45E8-9332-3C7B4D5A5137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2E0C-45E8-9332-3C7B4D5A5137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2E0C-45E8-9332-3C7B4D5A5137}"/>
              </c:ext>
            </c:extLst>
          </c:dPt>
          <c:dPt>
            <c:idx val="7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E0C-45E8-9332-3C7B4D5A5137}"/>
              </c:ext>
            </c:extLst>
          </c:dPt>
          <c:dPt>
            <c:idx val="8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2E0C-45E8-9332-3C7B4D5A5137}"/>
              </c:ext>
            </c:extLst>
          </c:dPt>
          <c:dPt>
            <c:idx val="9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E0C-45E8-9332-3C7B4D5A5137}"/>
              </c:ext>
            </c:extLst>
          </c:dPt>
          <c:dPt>
            <c:idx val="10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2E0C-45E8-9332-3C7B4D5A5137}"/>
              </c:ext>
            </c:extLst>
          </c:dPt>
          <c:dPt>
            <c:idx val="11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2E0C-45E8-9332-3C7B4D5A5137}"/>
              </c:ext>
            </c:extLst>
          </c:dPt>
          <c:dPt>
            <c:idx val="12"/>
            <c:invertIfNegative val="0"/>
            <c:bubble3D val="0"/>
            <c:spPr>
              <a:solidFill>
                <a:srgbClr val="1F4E79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B0E-4988-A26C-26C674028415}"/>
              </c:ext>
            </c:extLst>
          </c:dPt>
          <c:dPt>
            <c:idx val="13"/>
            <c:invertIfNegative val="0"/>
            <c:bubble3D val="0"/>
            <c:spPr>
              <a:solidFill>
                <a:srgbClr val="00B050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DB79-4197-B854-629EA54E6D43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E0C-45E8-9332-3C7B4D5A5137}"/>
                </c:ext>
              </c:extLst>
            </c:dLbl>
            <c:dLbl>
              <c:idx val="1"/>
              <c:layout>
                <c:manualLayout>
                  <c:x val="-2.5569207179287015E-17"/>
                  <c:y val="-3.65899414521160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E0C-45E8-9332-3C7B4D5A5137}"/>
                </c:ext>
              </c:extLst>
            </c:dLbl>
            <c:dLbl>
              <c:idx val="2"/>
              <c:layout>
                <c:manualLayout>
                  <c:x val="-2.9281668542704988E-3"/>
                  <c:y val="2.26769514070278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050" dirty="0" smtClean="0"/>
                      <a:t>от </a:t>
                    </a:r>
                    <a:fld id="{EB710EFA-8CB4-4700-AA38-0692C2277B4E}" type="VALUE">
                      <a:rPr lang="en-US" sz="1050" smtClean="0"/>
                      <a:pPr>
                        <a:defRPr sz="1050" b="1"/>
                      </a:pPr>
                      <a:t>[ЗНАЧЕНИЕ]</a:t>
                    </a:fld>
                    <a:endParaRPr lang="ru-RU" sz="1050" dirty="0" smtClean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1748962295211837E-2"/>
                      <c:h val="4.234218518770960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2E0C-45E8-9332-3C7B4D5A5137}"/>
                </c:ext>
              </c:extLst>
            </c:dLbl>
            <c:dLbl>
              <c:idx val="3"/>
              <c:layout>
                <c:manualLayout>
                  <c:x val="1.3186433008611363E-3"/>
                  <c:y val="3.8146112781720254E-2"/>
                </c:manualLayout>
              </c:layout>
              <c:tx>
                <c:rich>
                  <a:bodyPr/>
                  <a:lstStyle/>
                  <a:p>
                    <a:r>
                      <a:rPr lang="ru-RU" sz="1050" b="1" dirty="0" smtClean="0"/>
                      <a:t>от</a:t>
                    </a:r>
                    <a:fld id="{AFB0121D-9939-4C18-854B-641E12CCBBA9}" type="VALUE">
                      <a:rPr lang="en-US" sz="1050" b="1" smtClean="0"/>
                      <a:pPr/>
                      <a:t>[ЗНАЧЕНИЕ]</a:t>
                    </a:fld>
                    <a:endParaRPr lang="ru-RU" sz="1050" b="1" dirty="0" smtClean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2E0C-45E8-9332-3C7B4D5A5137}"/>
                </c:ext>
              </c:extLst>
            </c:dLbl>
            <c:dLbl>
              <c:idx val="4"/>
              <c:layout>
                <c:manualLayout>
                  <c:x val="0"/>
                  <c:y val="-3.24306245056628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E0C-45E8-9332-3C7B4D5A5137}"/>
                </c:ext>
              </c:extLst>
            </c:dLbl>
            <c:dLbl>
              <c:idx val="5"/>
              <c:layout>
                <c:manualLayout>
                  <c:x val="-4.1595503498639638E-17"/>
                  <c:y val="5.231216043085930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  <a:fld id="{14DAA231-7066-4EF0-9D62-FA555BB815D5}" type="VALUE">
                      <a:rPr lang="en-US"/>
                      <a:pPr/>
                      <a:t>[ЗНАЧЕНИЕ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2E0C-45E8-9332-3C7B4D5A5137}"/>
                </c:ext>
              </c:extLst>
            </c:dLbl>
            <c:dLbl>
              <c:idx val="6"/>
              <c:layout>
                <c:manualLayout>
                  <c:x val="-1.2998698390178686E-3"/>
                  <c:y val="4.85907772357122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-</a:t>
                    </a:r>
                    <a:fld id="{72CA5486-9EF9-4A8C-9D27-A45F557C8DAC}" type="VALUE">
                      <a:rPr lang="en-US"/>
                      <a:pPr>
                        <a:defRPr sz="1050" b="1"/>
                      </a:pPr>
                      <a:t>[ЗНАЧЕНИЕ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2412305611886093E-2"/>
                      <c:h val="3.174930309986263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2E0C-45E8-9332-3C7B4D5A5137}"/>
                </c:ext>
              </c:extLst>
            </c:dLbl>
            <c:dLbl>
              <c:idx val="7"/>
              <c:layout>
                <c:manualLayout>
                  <c:x val="0"/>
                  <c:y val="-5.32415517101581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2E0C-45E8-9332-3C7B4D5A5137}"/>
                </c:ext>
              </c:extLst>
            </c:dLbl>
            <c:dLbl>
              <c:idx val="8"/>
              <c:layout>
                <c:manualLayout>
                  <c:x val="-8.3191006997279276E-17"/>
                  <c:y val="-4.55496009214215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2E0C-45E8-9332-3C7B4D5A5137}"/>
                </c:ext>
              </c:extLst>
            </c:dLbl>
            <c:dLbl>
              <c:idx val="9"/>
              <c:layout>
                <c:manualLayout>
                  <c:x val="0"/>
                  <c:y val="-3.38123385039291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2E0C-45E8-9332-3C7B4D5A5137}"/>
                </c:ext>
              </c:extLst>
            </c:dLbl>
            <c:dLbl>
              <c:idx val="10"/>
              <c:layout>
                <c:manualLayout>
                  <c:x val="0"/>
                  <c:y val="-8.2296252739369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2E0C-45E8-9332-3C7B4D5A5137}"/>
                </c:ext>
              </c:extLst>
            </c:dLbl>
            <c:dLbl>
              <c:idx val="11"/>
              <c:layout>
                <c:manualLayout>
                  <c:x val="-1.6638201399455855E-16"/>
                  <c:y val="-3.52117964138957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2E0C-45E8-9332-3C7B4D5A5137}"/>
                </c:ext>
              </c:extLst>
            </c:dLbl>
            <c:dLbl>
              <c:idx val="12"/>
              <c:layout>
                <c:manualLayout>
                  <c:x val="-1.6638201399455855E-16"/>
                  <c:y val="-3.5211796413895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6B0E-4988-A26C-26C674028415}"/>
                </c:ext>
              </c:extLst>
            </c:dLbl>
            <c:dLbl>
              <c:idx val="13"/>
              <c:layout>
                <c:manualLayout>
                  <c:x val="9.4880263052714634E-5"/>
                  <c:y val="-1.823435021643471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F-DB79-4197-B854-629EA54E6D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3!$E$24:$R$24</c:f>
              <c:strCache>
                <c:ptCount val="14"/>
                <c:pt idx="0">
                  <c:v>2022 год</c:v>
                </c:pt>
                <c:pt idx="1">
                  <c:v>ТШО с экспорта на вн. с 2022г.</c:v>
                </c:pt>
                <c:pt idx="2">
                  <c:v>Наиболее гот. мест. с 2023</c:v>
                </c:pt>
                <c:pt idx="4">
                  <c:v>Кашаган 1 млрд.м3 с 2024г.</c:v>
                </c:pt>
                <c:pt idx="5">
                  <c:v>Снижение тек. производства</c:v>
                </c:pt>
                <c:pt idx="6">
                  <c:v>Снижение поставок газа ТШО с 2025г.</c:v>
                </c:pt>
                <c:pt idx="7">
                  <c:v>ТШО снижение закачки с 2026г.</c:v>
                </c:pt>
                <c:pt idx="8">
                  <c:v>Карачаганак снижение закачки с 2026г.</c:v>
                </c:pt>
                <c:pt idx="9">
                  <c:v>Кашаган 2 млрд.м3 с 2026г.</c:v>
                </c:pt>
                <c:pt idx="10">
                  <c:v>Кашаган 6 мрд.м3 с 2029г.</c:v>
                </c:pt>
                <c:pt idx="11">
                  <c:v>Жанажол</c:v>
                </c:pt>
                <c:pt idx="12">
                  <c:v>Импорт газа</c:v>
                </c:pt>
                <c:pt idx="13">
                  <c:v>2 030</c:v>
                </c:pt>
              </c:strCache>
            </c:strRef>
          </c:cat>
          <c:val>
            <c:numRef>
              <c:f>Лист3!$E$26:$R$26</c:f>
              <c:numCache>
                <c:formatCode>0.0</c:formatCode>
                <c:ptCount val="14"/>
                <c:pt idx="0">
                  <c:v>4.8632465296558074</c:v>
                </c:pt>
                <c:pt idx="1">
                  <c:v>1.65</c:v>
                </c:pt>
                <c:pt idx="2" formatCode="#\ ##0.0">
                  <c:v>0.16093279548027714</c:v>
                </c:pt>
                <c:pt idx="3" formatCode="#\ ##0.0">
                  <c:v>0.3</c:v>
                </c:pt>
                <c:pt idx="4" formatCode="#\ ##0.0">
                  <c:v>0.7</c:v>
                </c:pt>
                <c:pt idx="5" formatCode="#\ ##0.0">
                  <c:v>2.3305303383928333</c:v>
                </c:pt>
                <c:pt idx="6" formatCode="#\ ##0.0">
                  <c:v>2</c:v>
                </c:pt>
                <c:pt idx="7" formatCode="#\ ##0.0">
                  <c:v>3</c:v>
                </c:pt>
                <c:pt idx="8" formatCode="#\ ##0.0">
                  <c:v>2</c:v>
                </c:pt>
                <c:pt idx="9" formatCode="#\ ##0.0">
                  <c:v>1.3180000000000001</c:v>
                </c:pt>
                <c:pt idx="10" formatCode="#\ ##0.0">
                  <c:v>4.1909999999999998</c:v>
                </c:pt>
                <c:pt idx="11" formatCode="#\ ##0.0">
                  <c:v>1</c:v>
                </c:pt>
                <c:pt idx="12" formatCode="#\ ##0.0">
                  <c:v>1.5633008580658512</c:v>
                </c:pt>
                <c:pt idx="13" formatCode="#\ ##0.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2E0C-45E8-9332-3C7B4D5A5137}"/>
            </c:ext>
          </c:extLst>
        </c:ser>
        <c:ser>
          <c:idx val="2"/>
          <c:order val="2"/>
          <c:tx>
            <c:strRef>
              <c:f>Лист3!$B$27:$D$27</c:f>
              <c:strCache>
                <c:ptCount val="3"/>
                <c:pt idx="0">
                  <c:v>Экспорт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dLbl>
              <c:idx val="2"/>
              <c:layout>
                <c:manualLayout>
                  <c:x val="-1.3947309113513356E-3"/>
                  <c:y val="-4.364437471913162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 smtClean="0"/>
                      <a:t>до 1,7</a:t>
                    </a:r>
                    <a:endParaRPr lang="ru-RU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2E0C-45E8-9332-3C7B4D5A5137}"/>
                </c:ext>
              </c:extLst>
            </c:dLbl>
            <c:dLbl>
              <c:idx val="3"/>
              <c:layout>
                <c:manualLayout>
                  <c:x val="-1.3186433008611847E-3"/>
                  <c:y val="-5.28176946208435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="1" dirty="0" smtClean="0"/>
                      <a:t>до </a:t>
                    </a:r>
                    <a:fld id="{16A4AE28-F154-41C7-BEA6-B73C4F09ADA3}" type="VALUE">
                      <a:rPr lang="en-US" b="1" smtClean="0"/>
                      <a:pPr>
                        <a:defRPr sz="1050" b="1"/>
                      </a:pPr>
                      <a:t>[ЗНАЧЕНИЕ]</a:t>
                    </a:fld>
                    <a:endParaRPr lang="ru-RU" b="1" dirty="0" smtClean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E-9914-4E95-A0C5-F75AE14ED5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E$24:$R$24</c:f>
              <c:strCache>
                <c:ptCount val="14"/>
                <c:pt idx="0">
                  <c:v>2022 год</c:v>
                </c:pt>
                <c:pt idx="1">
                  <c:v>ТШО с экспорта на вн. с 2022г.</c:v>
                </c:pt>
                <c:pt idx="2">
                  <c:v>Наиболее гот. мест. с 2023</c:v>
                </c:pt>
                <c:pt idx="4">
                  <c:v>Кашаган 1 млрд.м3 с 2024г.</c:v>
                </c:pt>
                <c:pt idx="5">
                  <c:v>Снижение тек. производства</c:v>
                </c:pt>
                <c:pt idx="6">
                  <c:v>Снижение поставок газа ТШО с 2025г.</c:v>
                </c:pt>
                <c:pt idx="7">
                  <c:v>ТШО снижение закачки с 2026г.</c:v>
                </c:pt>
                <c:pt idx="8">
                  <c:v>Карачаганак снижение закачки с 2026г.</c:v>
                </c:pt>
                <c:pt idx="9">
                  <c:v>Кашаган 2 млрд.м3 с 2026г.</c:v>
                </c:pt>
                <c:pt idx="10">
                  <c:v>Кашаган 6 мрд.м3 с 2029г.</c:v>
                </c:pt>
                <c:pt idx="11">
                  <c:v>Жанажол</c:v>
                </c:pt>
                <c:pt idx="12">
                  <c:v>Импорт газа</c:v>
                </c:pt>
                <c:pt idx="13">
                  <c:v>2 030</c:v>
                </c:pt>
              </c:strCache>
            </c:strRef>
          </c:cat>
          <c:val>
            <c:numRef>
              <c:f>Лист3!$E$27:$P$27</c:f>
              <c:numCache>
                <c:formatCode>General</c:formatCode>
                <c:ptCount val="12"/>
                <c:pt idx="2" formatCode="_-* #\ ##0.0_-;\-* #\ ##0.0_-;_-* &quot;-&quot;??_-;_-@_-">
                  <c:v>1.28</c:v>
                </c:pt>
                <c:pt idx="3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E0C-45E8-9332-3C7B4D5A5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4690696"/>
        <c:axId val="654690368"/>
      </c:barChart>
      <c:catAx>
        <c:axId val="6546906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54690368"/>
        <c:crosses val="autoZero"/>
        <c:auto val="1"/>
        <c:lblAlgn val="ctr"/>
        <c:lblOffset val="100"/>
        <c:noMultiLvlLbl val="0"/>
      </c:catAx>
      <c:valAx>
        <c:axId val="654690368"/>
        <c:scaling>
          <c:orientation val="minMax"/>
          <c:min val="10"/>
        </c:scaling>
        <c:delete val="0"/>
        <c:axPos val="l"/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54690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</a:t>
            </a:r>
            <a:r>
              <a:rPr lang="ru-RU" sz="1600" b="1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сурсов товарного </a:t>
            </a:r>
            <a:r>
              <a:rPr lang="ru-RU" sz="1600" b="1" baseline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а в 2022 г.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7200612423447074"/>
          <c:y val="0.12745188101487312"/>
          <c:w val="0.44765463692038487"/>
          <c:h val="0.74609106153397475"/>
        </c:manualLayout>
      </c:layout>
      <c:doughnutChart>
        <c:varyColors val="1"/>
        <c:ser>
          <c:idx val="1"/>
          <c:order val="0"/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27-4A5B-8EA2-D4CCF0F929C4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27-4A5B-8EA2-D4CCF0F929C4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F27-4A5B-8EA2-D4CCF0F929C4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F27-4A5B-8EA2-D4CCF0F929C4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F27-4A5B-8EA2-D4CCF0F929C4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5F27-4A5B-8EA2-D4CCF0F929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C$5:$C$9</c:f>
              <c:strCache>
                <c:ptCount val="5"/>
                <c:pt idx="0">
                  <c:v>Карачаганак</c:v>
                </c:pt>
                <c:pt idx="1">
                  <c:v>Тенгиз</c:v>
                </c:pt>
                <c:pt idx="2">
                  <c:v>Кашаган</c:v>
                </c:pt>
                <c:pt idx="3">
                  <c:v>Жанажол</c:v>
                </c:pt>
                <c:pt idx="4">
                  <c:v>Прочие</c:v>
                </c:pt>
              </c:strCache>
            </c:strRef>
          </c:cat>
          <c:val>
            <c:numRef>
              <c:f>Лист1!$E$5:$E$9</c:f>
              <c:numCache>
                <c:formatCode>0%</c:formatCode>
                <c:ptCount val="5"/>
                <c:pt idx="0">
                  <c:v>0.32187944151826769</c:v>
                </c:pt>
                <c:pt idx="1">
                  <c:v>0.24868322046651617</c:v>
                </c:pt>
                <c:pt idx="2">
                  <c:v>0.14120892901931276</c:v>
                </c:pt>
                <c:pt idx="3">
                  <c:v>0.15270462335925089</c:v>
                </c:pt>
                <c:pt idx="4">
                  <c:v>0.13552378563665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F27-4A5B-8EA2-D4CCF0F929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31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367322834645669"/>
          <c:y val="0.15306594213369515"/>
          <c:w val="0.19114972715046102"/>
          <c:h val="0.819156213349606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ение ресурсов газа по группам потребителей</a:t>
            </a:r>
            <a:r>
              <a:rPr lang="ru-RU" b="1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учетом ТЭК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1404158278940954"/>
          <c:y val="2.26320726302654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6569116360454942"/>
          <c:y val="0.18663224473989928"/>
          <c:w val="0.40750678040244964"/>
          <c:h val="0.67917796733741609"/>
        </c:manualLayout>
      </c:layout>
      <c:doughnutChart>
        <c:varyColors val="1"/>
        <c:ser>
          <c:idx val="1"/>
          <c:order val="0"/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F1-45B2-9BE6-3D6AC5636F0B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F1-45B2-9BE6-3D6AC5636F0B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F1-45B2-9BE6-3D6AC5636F0B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F1-45B2-9BE6-3D6AC5636F0B}"/>
              </c:ext>
            </c:extLst>
          </c:dPt>
          <c:dLbls>
            <c:dLbl>
              <c:idx val="3"/>
              <c:layout>
                <c:manualLayout>
                  <c:x val="2.3615174553329198E-3"/>
                  <c:y val="-1.74863387978142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31F1-45B2-9BE6-3D6AC5636F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C$30:$C$33</c:f>
              <c:strCache>
                <c:ptCount val="4"/>
                <c:pt idx="0">
                  <c:v>Население (газ + тэк)</c:v>
                </c:pt>
                <c:pt idx="1">
                  <c:v>СУСН (газ + тэк)</c:v>
                </c:pt>
                <c:pt idx="2">
                  <c:v>Юр.лица (газ + тэк без населения)</c:v>
                </c:pt>
                <c:pt idx="3">
                  <c:v>Потребители (рынок нэтбэк)</c:v>
                </c:pt>
              </c:strCache>
            </c:strRef>
          </c:cat>
          <c:val>
            <c:numRef>
              <c:f>Лист1!$E$30:$E$33</c:f>
              <c:numCache>
                <c:formatCode>0%</c:formatCode>
                <c:ptCount val="4"/>
                <c:pt idx="0">
                  <c:v>0.41295925525263705</c:v>
                </c:pt>
                <c:pt idx="1">
                  <c:v>8.6121127465881131E-2</c:v>
                </c:pt>
                <c:pt idx="2">
                  <c:v>0.4509196208924971</c:v>
                </c:pt>
                <c:pt idx="3">
                  <c:v>4.99999963889846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1F1-45B2-9BE6-3D6AC5636F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17260358848586549"/>
          <c:w val="0.26560434697001506"/>
          <c:h val="0.814281657415773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</a:t>
            </a:r>
            <a:r>
              <a:rPr lang="ru-RU" sz="1600" b="1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требления товарного газа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7756167979002627"/>
          <c:y val="0.12237715077282006"/>
          <c:w val="0.45423354975364927"/>
          <c:h val="0.71920312044327805"/>
        </c:manualLayout>
      </c:layout>
      <c:doughnutChart>
        <c:varyColors val="1"/>
        <c:ser>
          <c:idx val="1"/>
          <c:order val="0"/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ED0-4349-9645-0F0AE2785DC0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ED0-4349-9645-0F0AE2785DC0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ED0-4349-9645-0F0AE2785DC0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ED0-4349-9645-0F0AE2785DC0}"/>
              </c:ext>
            </c:extLst>
          </c:dPt>
          <c:dLbls>
            <c:dLbl>
              <c:idx val="3"/>
              <c:layout>
                <c:manualLayout>
                  <c:x val="4.5346845355481412E-3"/>
                  <c:y val="-3.638093509072963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2667136900392008E-2"/>
                      <c:h val="0.1002314051154349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4ED0-4349-9645-0F0AE2785D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C$37:$C$40</c:f>
              <c:strCache>
                <c:ptCount val="4"/>
                <c:pt idx="0">
                  <c:v>Население</c:v>
                </c:pt>
                <c:pt idx="1">
                  <c:v>ТЭК</c:v>
                </c:pt>
                <c:pt idx="2">
                  <c:v>Юр.лица</c:v>
                </c:pt>
                <c:pt idx="3">
                  <c:v>Бюджетные организации</c:v>
                </c:pt>
              </c:strCache>
            </c:strRef>
          </c:cat>
          <c:val>
            <c:numRef>
              <c:f>Лист1!$E$37:$E$40</c:f>
              <c:numCache>
                <c:formatCode>0%</c:formatCode>
                <c:ptCount val="4"/>
                <c:pt idx="0">
                  <c:v>0.28125216435233075</c:v>
                </c:pt>
                <c:pt idx="1">
                  <c:v>0.41318747142332718</c:v>
                </c:pt>
                <c:pt idx="2">
                  <c:v>0.28675109076135441</c:v>
                </c:pt>
                <c:pt idx="3">
                  <c:v>1.880927346298755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ED0-4349-9645-0F0AE2785DC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650553964118288E-2"/>
          <c:y val="0.15042111531033417"/>
          <c:w val="0.21812607062142828"/>
          <c:h val="0.823769356299523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381</cdr:x>
      <cdr:y>0.39775</cdr:y>
    </cdr:from>
    <cdr:to>
      <cdr:x>0.42638</cdr:x>
      <cdr:y>0.4254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761738" y="1056820"/>
          <a:ext cx="83891" cy="73654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1377</cdr:x>
      <cdr:y>0.34035</cdr:y>
    </cdr:from>
    <cdr:to>
      <cdr:x>0.42655</cdr:x>
      <cdr:y>0.3977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2761471" y="904310"/>
          <a:ext cx="85293" cy="152509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8049</cdr:x>
      <cdr:y>0.24234</cdr:y>
    </cdr:from>
    <cdr:to>
      <cdr:x>0.5927</cdr:x>
      <cdr:y>0.32407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874168" y="643892"/>
          <a:ext cx="81467" cy="217168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82964</cdr:x>
      <cdr:y>0.19109</cdr:y>
    </cdr:from>
    <cdr:to>
      <cdr:x>0.84375</cdr:x>
      <cdr:y>0.26491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536958" y="507727"/>
          <a:ext cx="94169" cy="196128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1145</cdr:x>
      <cdr:y>0.17884</cdr:y>
    </cdr:from>
    <cdr:to>
      <cdr:x>0.92514</cdr:x>
      <cdr:y>0.20398</cdr:y>
    </cdr:to>
    <cdr:sp macro="" textlink="">
      <cdr:nvSpPr>
        <cdr:cNvPr id="9" name="Прямоугольник 8"/>
        <cdr:cNvSpPr/>
      </cdr:nvSpPr>
      <cdr:spPr>
        <a:xfrm xmlns:a="http://schemas.openxmlformats.org/drawingml/2006/main">
          <a:off x="6082952" y="475178"/>
          <a:ext cx="91366" cy="66795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306</cdr:x>
      <cdr:y>0.41221</cdr:y>
    </cdr:from>
    <cdr:to>
      <cdr:x>0.34432</cdr:x>
      <cdr:y>0.44596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2206401" y="1095242"/>
          <a:ext cx="91566" cy="89668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3065</cdr:x>
      <cdr:y>0.37785</cdr:y>
    </cdr:from>
    <cdr:to>
      <cdr:x>0.34476</cdr:x>
      <cdr:y>0.40921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2206734" y="1003935"/>
          <a:ext cx="94169" cy="83336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4734</cdr:x>
      <cdr:y>0.41248</cdr:y>
    </cdr:from>
    <cdr:to>
      <cdr:x>0.26146</cdr:x>
      <cdr:y>0.4245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1650714" y="1095969"/>
          <a:ext cx="94235" cy="31937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sz="100"/>
        </a:p>
      </cdr:txBody>
    </cdr:sp>
  </cdr:relSizeAnchor>
  <cdr:relSizeAnchor xmlns:cdr="http://schemas.openxmlformats.org/drawingml/2006/chartDrawing">
    <cdr:from>
      <cdr:x>0.24795</cdr:x>
      <cdr:y>0.42393</cdr:y>
    </cdr:from>
    <cdr:to>
      <cdr:x>0.26167</cdr:x>
      <cdr:y>0.45134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1654830" y="1126394"/>
          <a:ext cx="91566" cy="72803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4795</cdr:x>
      <cdr:y>0.45488</cdr:y>
    </cdr:from>
    <cdr:to>
      <cdr:x>0.26165</cdr:x>
      <cdr:y>0.50835</cdr:y>
    </cdr:to>
    <cdr:sp macro="" textlink="">
      <cdr:nvSpPr>
        <cdr:cNvPr id="14" name="Прямоугольник 13"/>
        <cdr:cNvSpPr/>
      </cdr:nvSpPr>
      <cdr:spPr>
        <a:xfrm xmlns:a="http://schemas.openxmlformats.org/drawingml/2006/main">
          <a:off x="1654830" y="1208607"/>
          <a:ext cx="91433" cy="142070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accent1">
              <a:lumMod val="40000"/>
              <a:lumOff val="60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6351</cdr:x>
      <cdr:y>0.20575</cdr:y>
    </cdr:from>
    <cdr:to>
      <cdr:x>0.67548</cdr:x>
      <cdr:y>0.28488</cdr:y>
    </cdr:to>
    <cdr:sp macro="" textlink="">
      <cdr:nvSpPr>
        <cdr:cNvPr id="16" name="Прямоугольник 15"/>
        <cdr:cNvSpPr/>
      </cdr:nvSpPr>
      <cdr:spPr>
        <a:xfrm xmlns:a="http://schemas.openxmlformats.org/drawingml/2006/main">
          <a:off x="4428218" y="546679"/>
          <a:ext cx="79887" cy="210246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4611</cdr:x>
      <cdr:y>0.19686</cdr:y>
    </cdr:from>
    <cdr:to>
      <cdr:x>0.75921</cdr:x>
      <cdr:y>0.27149</cdr:y>
    </cdr:to>
    <cdr:sp macro="" textlink="">
      <cdr:nvSpPr>
        <cdr:cNvPr id="17" name="Прямоугольник 16"/>
        <cdr:cNvSpPr/>
      </cdr:nvSpPr>
      <cdr:spPr>
        <a:xfrm xmlns:a="http://schemas.openxmlformats.org/drawingml/2006/main">
          <a:off x="4979484" y="523057"/>
          <a:ext cx="87429" cy="198303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9669</cdr:x>
      <cdr:y>0.24128</cdr:y>
    </cdr:from>
    <cdr:to>
      <cdr:x>0.5108</cdr:x>
      <cdr:y>0.3364</cdr:y>
    </cdr:to>
    <cdr:sp macro="" textlink="">
      <cdr:nvSpPr>
        <cdr:cNvPr id="18" name="Прямоугольник 17"/>
        <cdr:cNvSpPr/>
      </cdr:nvSpPr>
      <cdr:spPr>
        <a:xfrm xmlns:a="http://schemas.openxmlformats.org/drawingml/2006/main">
          <a:off x="3314897" y="641071"/>
          <a:ext cx="94169" cy="252734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rgbClr val="FF0000"/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3073</cdr:x>
      <cdr:y>0.45159</cdr:y>
    </cdr:from>
    <cdr:to>
      <cdr:x>0.34443</cdr:x>
      <cdr:y>0.4688</cdr:y>
    </cdr:to>
    <cdr:sp macro="" textlink="">
      <cdr:nvSpPr>
        <cdr:cNvPr id="15" name="Прямоугольник 14"/>
        <cdr:cNvSpPr/>
      </cdr:nvSpPr>
      <cdr:spPr>
        <a:xfrm xmlns:a="http://schemas.openxmlformats.org/drawingml/2006/main">
          <a:off x="2207250" y="1199877"/>
          <a:ext cx="91433" cy="45719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accent1">
              <a:lumMod val="40000"/>
              <a:lumOff val="60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626</cdr:x>
      <cdr:y>0.28548</cdr:y>
    </cdr:from>
    <cdr:to>
      <cdr:x>0.67517</cdr:x>
      <cdr:y>0.30268</cdr:y>
    </cdr:to>
    <cdr:sp macro="" textlink="">
      <cdr:nvSpPr>
        <cdr:cNvPr id="19" name="Прямоугольник 18"/>
        <cdr:cNvSpPr/>
      </cdr:nvSpPr>
      <cdr:spPr>
        <a:xfrm xmlns:a="http://schemas.openxmlformats.org/drawingml/2006/main">
          <a:off x="4422154" y="758511"/>
          <a:ext cx="83891" cy="45719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4618</cdr:x>
      <cdr:y>0.27213</cdr:y>
    </cdr:from>
    <cdr:to>
      <cdr:x>0.75875</cdr:x>
      <cdr:y>0.28933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4979978" y="723039"/>
          <a:ext cx="83891" cy="45719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82991</cdr:x>
      <cdr:y>0.26675</cdr:y>
    </cdr:from>
    <cdr:to>
      <cdr:x>0.84329</cdr:x>
      <cdr:y>0.28396</cdr:y>
    </cdr:to>
    <cdr:sp macro="" textlink="">
      <cdr:nvSpPr>
        <cdr:cNvPr id="21" name="Прямоугольник 20"/>
        <cdr:cNvSpPr/>
      </cdr:nvSpPr>
      <cdr:spPr>
        <a:xfrm xmlns:a="http://schemas.openxmlformats.org/drawingml/2006/main">
          <a:off x="5538756" y="708753"/>
          <a:ext cx="89310" cy="45719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1177</cdr:x>
      <cdr:y>0.2083</cdr:y>
    </cdr:from>
    <cdr:to>
      <cdr:x>0.92515</cdr:x>
      <cdr:y>0.26582</cdr:y>
    </cdr:to>
    <cdr:sp macro="" textlink="">
      <cdr:nvSpPr>
        <cdr:cNvPr id="22" name="Прямоугольник 21"/>
        <cdr:cNvSpPr/>
      </cdr:nvSpPr>
      <cdr:spPr>
        <a:xfrm xmlns:a="http://schemas.openxmlformats.org/drawingml/2006/main">
          <a:off x="6085064" y="553455"/>
          <a:ext cx="89310" cy="152824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bg1">
              <a:lumMod val="75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5084</cdr:x>
      <cdr:y>0.33357</cdr:y>
    </cdr:from>
    <cdr:to>
      <cdr:x>0.97912</cdr:x>
      <cdr:y>0.5673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9289879" y="1443740"/>
          <a:ext cx="276301" cy="1011649"/>
        </a:xfrm>
        <a:prstGeom xmlns:a="http://schemas.openxmlformats.org/drawingml/2006/main" prst="rect">
          <a:avLst/>
        </a:prstGeom>
        <a:pattFill xmlns:a="http://schemas.openxmlformats.org/drawingml/2006/main" prst="wdDnDiag">
          <a:fgClr>
            <a:schemeClr val="tx1"/>
          </a:fgClr>
          <a:bgClr>
            <a:schemeClr val="accent1">
              <a:lumMod val="40000"/>
              <a:lumOff val="60000"/>
            </a:schemeClr>
          </a:bgClr>
        </a:patt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9337</cdr:x>
      <cdr:y>0.67586</cdr:y>
    </cdr:from>
    <cdr:to>
      <cdr:x>0.21474</cdr:x>
      <cdr:y>0.7610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12216" y="2925184"/>
          <a:ext cx="1185810" cy="3687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0" tIns="0" rIns="0" bIns="0" rtlCol="0"/>
        <a:lstStyle xmlns:a="http://schemas.openxmlformats.org/drawingml/2006/main"/>
        <a:p xmlns:a="http://schemas.openxmlformats.org/drawingml/2006/main">
          <a:pPr algn="ctr"/>
          <a:r>
            <a:rPr lang="ru-RU" b="1" kern="1200" dirty="0" smtClean="0">
              <a:solidFill>
                <a:prstClr val="black">
                  <a:lumMod val="75000"/>
                  <a:lumOff val="25000"/>
                </a:prstClr>
              </a:solidFill>
            </a:rPr>
            <a:t>0,4</a:t>
          </a:r>
        </a:p>
        <a:p xmlns:a="http://schemas.openxmlformats.org/drawingml/2006/main">
          <a:pPr algn="ctr"/>
          <a:r>
            <a:rPr lang="ru-RU" sz="800" b="1" kern="120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rPr>
            <a:t>Туркменский импорт</a:t>
          </a:r>
          <a:endParaRPr lang="ru-RU" sz="800" b="1" kern="1200" dirty="0">
            <a:solidFill>
              <a:prstClr val="black">
                <a:lumMod val="75000"/>
                <a:lumOff val="25000"/>
              </a:prst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2944</cdr:x>
      <cdr:y>0.14016</cdr:y>
    </cdr:from>
    <cdr:to>
      <cdr:x>0.92303</cdr:x>
      <cdr:y>0.3514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8103815" y="60664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3965</cdr:x>
      <cdr:y>0.41153</cdr:y>
    </cdr:from>
    <cdr:to>
      <cdr:x>0.5552</cdr:x>
      <cdr:y>0.5782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645570" y="1199010"/>
          <a:ext cx="695325" cy="4857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23,9</a:t>
          </a:r>
          <a:r>
            <a:rPr lang="ru-RU" sz="1050" b="1" dirty="0" smtClean="0">
              <a:latin typeface="Arial" panose="020B0604020202020204" pitchFamily="34" charset="0"/>
              <a:cs typeface="Arial" panose="020B0604020202020204" pitchFamily="34" charset="0"/>
            </a:rPr>
            <a:t> млрд.м</a:t>
          </a:r>
          <a:r>
            <a:rPr lang="ru-RU" sz="1050" b="1" baseline="30000" dirty="0" smtClean="0">
              <a:latin typeface="Arial" panose="020B0604020202020204" pitchFamily="34" charset="0"/>
              <a:cs typeface="Arial" panose="020B0604020202020204" pitchFamily="34" charset="0"/>
            </a:rPr>
            <a:t>3</a:t>
          </a:r>
          <a:endParaRPr lang="ru-RU" sz="1400" b="1" baseline="300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1"/>
            <a:ext cx="2946401" cy="495686"/>
          </a:xfrm>
          <a:prstGeom prst="rect">
            <a:avLst/>
          </a:prstGeom>
        </p:spPr>
        <p:txBody>
          <a:bodyPr vert="horz" lIns="89868" tIns="44935" rIns="89868" bIns="44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0" y="1"/>
            <a:ext cx="2946401" cy="495686"/>
          </a:xfrm>
          <a:prstGeom prst="rect">
            <a:avLst/>
          </a:prstGeom>
        </p:spPr>
        <p:txBody>
          <a:bodyPr vert="horz" lIns="89868" tIns="44935" rIns="89868" bIns="44935" rtlCol="0"/>
          <a:lstStyle>
            <a:lvl1pPr algn="r">
              <a:defRPr sz="1200"/>
            </a:lvl1pPr>
          </a:lstStyle>
          <a:p>
            <a:fld id="{C00CFE9F-348C-4FE1-B0E8-033EF657235B}" type="datetimeFigureOut">
              <a:rPr lang="ru-RU" smtClean="0"/>
              <a:t>03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7" y="9376981"/>
            <a:ext cx="2946401" cy="495686"/>
          </a:xfrm>
          <a:prstGeom prst="rect">
            <a:avLst/>
          </a:prstGeom>
        </p:spPr>
        <p:txBody>
          <a:bodyPr vert="horz" lIns="89868" tIns="44935" rIns="89868" bIns="44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0" y="9376981"/>
            <a:ext cx="2946401" cy="495686"/>
          </a:xfrm>
          <a:prstGeom prst="rect">
            <a:avLst/>
          </a:prstGeom>
        </p:spPr>
        <p:txBody>
          <a:bodyPr vert="horz" lIns="89868" tIns="44935" rIns="89868" bIns="44935" rtlCol="0" anchor="b"/>
          <a:lstStyle>
            <a:lvl1pPr algn="r">
              <a:defRPr sz="1200"/>
            </a:lvl1pPr>
          </a:lstStyle>
          <a:p>
            <a:fld id="{0F97DABA-C799-45DA-B090-3AE25113B5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322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45659" cy="495348"/>
          </a:xfrm>
          <a:prstGeom prst="rect">
            <a:avLst/>
          </a:prstGeom>
        </p:spPr>
        <p:txBody>
          <a:bodyPr vert="horz" lIns="90534" tIns="45264" rIns="90534" bIns="4526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9" y="4"/>
            <a:ext cx="2945659" cy="495348"/>
          </a:xfrm>
          <a:prstGeom prst="rect">
            <a:avLst/>
          </a:prstGeom>
        </p:spPr>
        <p:txBody>
          <a:bodyPr vert="horz" lIns="90534" tIns="45264" rIns="90534" bIns="45264" rtlCol="0"/>
          <a:lstStyle>
            <a:lvl1pPr algn="r">
              <a:defRPr sz="1200"/>
            </a:lvl1pPr>
          </a:lstStyle>
          <a:p>
            <a:fld id="{064D2F14-3F30-4E4E-9F00-343FDF1E3A75}" type="datetimeFigureOut">
              <a:rPr lang="ru-RU" smtClean="0"/>
              <a:t>03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534" tIns="45264" rIns="90534" bIns="4526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70" y="4751225"/>
            <a:ext cx="5438140" cy="3887360"/>
          </a:xfrm>
          <a:prstGeom prst="rect">
            <a:avLst/>
          </a:prstGeom>
        </p:spPr>
        <p:txBody>
          <a:bodyPr vert="horz" lIns="90534" tIns="45264" rIns="90534" bIns="4526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7324"/>
            <a:ext cx="2945659" cy="495347"/>
          </a:xfrm>
          <a:prstGeom prst="rect">
            <a:avLst/>
          </a:prstGeom>
        </p:spPr>
        <p:txBody>
          <a:bodyPr vert="horz" lIns="90534" tIns="45264" rIns="90534" bIns="4526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9" y="9377324"/>
            <a:ext cx="2945659" cy="495347"/>
          </a:xfrm>
          <a:prstGeom prst="rect">
            <a:avLst/>
          </a:prstGeom>
        </p:spPr>
        <p:txBody>
          <a:bodyPr vert="horz" lIns="90534" tIns="45264" rIns="90534" bIns="45264" rtlCol="0" anchor="b"/>
          <a:lstStyle>
            <a:lvl1pPr algn="r">
              <a:defRPr sz="1200"/>
            </a:lvl1pPr>
          </a:lstStyle>
          <a:p>
            <a:fld id="{FB6402B5-FB5E-4861-AE09-E81E712CBF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1311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E2C9A1-C08E-4CD0-9627-C5C545085CB8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3223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54A5CF-285D-4152-BC4F-7130F87175B7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2841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F2E57D-2EF7-4A39-BD10-76F257E96403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832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2.emf"/><Relationship Id="rId4" Type="http://schemas.openxmlformats.org/officeDocument/2006/relationships/tags" Target="../tags/tag12.xml"/><Relationship Id="rId9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1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4" indent="0" algn="ctr">
              <a:buNone/>
              <a:defRPr sz="2000"/>
            </a:lvl2pPr>
            <a:lvl3pPr marL="914407" indent="0" algn="ctr">
              <a:buNone/>
              <a:defRPr sz="1800"/>
            </a:lvl3pPr>
            <a:lvl4pPr marL="1371611" indent="0" algn="ctr">
              <a:buNone/>
              <a:defRPr sz="1600"/>
            </a:lvl4pPr>
            <a:lvl5pPr marL="1828814" indent="0" algn="ctr">
              <a:buNone/>
              <a:defRPr sz="1600"/>
            </a:lvl5pPr>
            <a:lvl6pPr marL="2286018" indent="0" algn="ctr">
              <a:buNone/>
              <a:defRPr sz="1600"/>
            </a:lvl6pPr>
            <a:lvl7pPr marL="2743221" indent="0" algn="ctr">
              <a:buNone/>
              <a:defRPr sz="1600"/>
            </a:lvl7pPr>
            <a:lvl8pPr marL="3200426" indent="0" algn="ctr">
              <a:buNone/>
              <a:defRPr sz="1600"/>
            </a:lvl8pPr>
            <a:lvl9pPr marL="365762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56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5890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3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138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1" y="8"/>
            <a:ext cx="12192000" cy="683581"/>
          </a:xfrm>
          <a:prstGeom prst="rect">
            <a:avLst/>
          </a:prstGeom>
          <a:solidFill>
            <a:srgbClr val="2D4B7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61924" tIns="30965" rIns="61924" bIns="30965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16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34" y="0"/>
            <a:ext cx="11075633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907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2" y="-1"/>
            <a:ext cx="12191999" cy="76044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0" rIns="108000" bIns="0" anchor="ctr" anchorCtr="0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4AB974-7429-402B-AFE2-2FBD4D002EEE}"/>
              </a:ext>
            </a:extLst>
          </p:cNvPr>
          <p:cNvSpPr txBox="1"/>
          <p:nvPr userDrawn="1"/>
        </p:nvSpPr>
        <p:spPr>
          <a:xfrm>
            <a:off x="11635503" y="6506032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37328BF-5376-4A3C-B145-9120D508ECBC}" type="slidenum">
              <a:rPr lang="ru-RU" sz="8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36FE635-AC92-427F-A648-43A7A37AF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450" y="119150"/>
            <a:ext cx="11835271" cy="533716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305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19684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19684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/>
              <a:t>Footnotes</a:t>
            </a:r>
            <a:endParaRPr lang="ru-RU" dirty="0"/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/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3188275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4" y="226624"/>
            <a:ext cx="110825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/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58596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 hidden="1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6742CEB-D600-40C0-BD2A-7F4E9A38EAD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483365"/>
            <a:ext cx="32550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0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0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11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2610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2" y="170974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2" y="458946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867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6950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9" y="365130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4" indent="0">
              <a:buNone/>
              <a:defRPr sz="2000" b="1"/>
            </a:lvl2pPr>
            <a:lvl3pPr marL="914407" indent="0">
              <a:buNone/>
              <a:defRPr sz="1800" b="1"/>
            </a:lvl3pPr>
            <a:lvl4pPr marL="1371611" indent="0">
              <a:buNone/>
              <a:defRPr sz="1600" b="1"/>
            </a:lvl4pPr>
            <a:lvl5pPr marL="1828814" indent="0">
              <a:buNone/>
              <a:defRPr sz="1600" b="1"/>
            </a:lvl5pPr>
            <a:lvl6pPr marL="2286018" indent="0">
              <a:buNone/>
              <a:defRPr sz="1600" b="1"/>
            </a:lvl6pPr>
            <a:lvl7pPr marL="2743221" indent="0">
              <a:buNone/>
              <a:defRPr sz="1600" b="1"/>
            </a:lvl7pPr>
            <a:lvl8pPr marL="3200426" indent="0">
              <a:buNone/>
              <a:defRPr sz="1600" b="1"/>
            </a:lvl8pPr>
            <a:lvl9pPr marL="365762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4" indent="0">
              <a:buNone/>
              <a:defRPr sz="2000" b="1"/>
            </a:lvl2pPr>
            <a:lvl3pPr marL="914407" indent="0">
              <a:buNone/>
              <a:defRPr sz="1800" b="1"/>
            </a:lvl3pPr>
            <a:lvl4pPr marL="1371611" indent="0">
              <a:buNone/>
              <a:defRPr sz="1600" b="1"/>
            </a:lvl4pPr>
            <a:lvl5pPr marL="1828814" indent="0">
              <a:buNone/>
              <a:defRPr sz="1600" b="1"/>
            </a:lvl5pPr>
            <a:lvl6pPr marL="2286018" indent="0">
              <a:buNone/>
              <a:defRPr sz="1600" b="1"/>
            </a:lvl6pPr>
            <a:lvl7pPr marL="2743221" indent="0">
              <a:buNone/>
              <a:defRPr sz="1600" b="1"/>
            </a:lvl7pPr>
            <a:lvl8pPr marL="3200426" indent="0">
              <a:buNone/>
              <a:defRPr sz="1600" b="1"/>
            </a:lvl8pPr>
            <a:lvl9pPr marL="365762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537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2939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5262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9" y="987430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4" indent="0">
              <a:buNone/>
              <a:defRPr sz="1400"/>
            </a:lvl2pPr>
            <a:lvl3pPr marL="914407" indent="0">
              <a:buNone/>
              <a:defRPr sz="1200"/>
            </a:lvl3pPr>
            <a:lvl4pPr marL="1371611" indent="0">
              <a:buNone/>
              <a:defRPr sz="1000"/>
            </a:lvl4pPr>
            <a:lvl5pPr marL="1828814" indent="0">
              <a:buNone/>
              <a:defRPr sz="1000"/>
            </a:lvl5pPr>
            <a:lvl6pPr marL="2286018" indent="0">
              <a:buNone/>
              <a:defRPr sz="1000"/>
            </a:lvl6pPr>
            <a:lvl7pPr marL="2743221" indent="0">
              <a:buNone/>
              <a:defRPr sz="1000"/>
            </a:lvl7pPr>
            <a:lvl8pPr marL="3200426" indent="0">
              <a:buNone/>
              <a:defRPr sz="1000"/>
            </a:lvl8pPr>
            <a:lvl9pPr marL="365762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1116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9" y="987430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4" indent="0">
              <a:buNone/>
              <a:defRPr sz="2800"/>
            </a:lvl2pPr>
            <a:lvl3pPr marL="914407" indent="0">
              <a:buNone/>
              <a:defRPr sz="2400"/>
            </a:lvl3pPr>
            <a:lvl4pPr marL="1371611" indent="0">
              <a:buNone/>
              <a:defRPr sz="2000"/>
            </a:lvl4pPr>
            <a:lvl5pPr marL="1828814" indent="0">
              <a:buNone/>
              <a:defRPr sz="2000"/>
            </a:lvl5pPr>
            <a:lvl6pPr marL="2286018" indent="0">
              <a:buNone/>
              <a:defRPr sz="2000"/>
            </a:lvl6pPr>
            <a:lvl7pPr marL="2743221" indent="0">
              <a:buNone/>
              <a:defRPr sz="2000"/>
            </a:lvl7pPr>
            <a:lvl8pPr marL="3200426" indent="0">
              <a:buNone/>
              <a:defRPr sz="2000"/>
            </a:lvl8pPr>
            <a:lvl9pPr marL="365762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4" indent="0">
              <a:buNone/>
              <a:defRPr sz="1400"/>
            </a:lvl2pPr>
            <a:lvl3pPr marL="914407" indent="0">
              <a:buNone/>
              <a:defRPr sz="1200"/>
            </a:lvl3pPr>
            <a:lvl4pPr marL="1371611" indent="0">
              <a:buNone/>
              <a:defRPr sz="1000"/>
            </a:lvl4pPr>
            <a:lvl5pPr marL="1828814" indent="0">
              <a:buNone/>
              <a:defRPr sz="1000"/>
            </a:lvl5pPr>
            <a:lvl6pPr marL="2286018" indent="0">
              <a:buNone/>
              <a:defRPr sz="1000"/>
            </a:lvl6pPr>
            <a:lvl7pPr marL="2743221" indent="0">
              <a:buNone/>
              <a:defRPr sz="1000"/>
            </a:lvl7pPr>
            <a:lvl8pPr marL="3200426" indent="0">
              <a:buNone/>
              <a:defRPr sz="1000"/>
            </a:lvl8pPr>
            <a:lvl9pPr marL="365762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9578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3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1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42293A-1165-4342-AA9C-4EC67CF814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3372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ftr="0" dt="0"/>
  <p:txStyles>
    <p:titleStyle>
      <a:lvl1pPr algn="l" defTabSz="91440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2" indent="-228602" algn="l" defTabSz="91440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6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9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12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17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20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24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7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0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1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8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1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6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9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image" Target="../media/image24.png"/><Relationship Id="rId7" Type="http://schemas.openxmlformats.org/officeDocument/2006/relationships/image" Target="../media/image2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7.png"/><Relationship Id="rId18" Type="http://schemas.openxmlformats.org/officeDocument/2006/relationships/image" Target="../media/image22.svg"/><Relationship Id="rId26" Type="http://schemas.openxmlformats.org/officeDocument/2006/relationships/image" Target="../media/image30.svg"/><Relationship Id="rId39" Type="http://schemas.openxmlformats.org/officeDocument/2006/relationships/image" Target="../media/image50.png"/><Relationship Id="rId3" Type="http://schemas.openxmlformats.org/officeDocument/2006/relationships/tags" Target="../tags/tag17.xml"/><Relationship Id="rId21" Type="http://schemas.openxmlformats.org/officeDocument/2006/relationships/image" Target="../media/image41.png"/><Relationship Id="rId34" Type="http://schemas.openxmlformats.org/officeDocument/2006/relationships/image" Target="../media/image38.svg"/><Relationship Id="rId42" Type="http://schemas.openxmlformats.org/officeDocument/2006/relationships/image" Target="../media/image46.svg"/><Relationship Id="rId7" Type="http://schemas.openxmlformats.org/officeDocument/2006/relationships/image" Target="../media/image34.emf"/><Relationship Id="rId12" Type="http://schemas.openxmlformats.org/officeDocument/2006/relationships/image" Target="../media/image16.svg"/><Relationship Id="rId17" Type="http://schemas.openxmlformats.org/officeDocument/2006/relationships/image" Target="../media/image39.png"/><Relationship Id="rId25" Type="http://schemas.openxmlformats.org/officeDocument/2006/relationships/image" Target="../media/image43.png"/><Relationship Id="rId33" Type="http://schemas.openxmlformats.org/officeDocument/2006/relationships/image" Target="../media/image47.png"/><Relationship Id="rId38" Type="http://schemas.openxmlformats.org/officeDocument/2006/relationships/image" Target="../media/image42.svg"/><Relationship Id="rId2" Type="http://schemas.openxmlformats.org/officeDocument/2006/relationships/tags" Target="../tags/tag16.xml"/><Relationship Id="rId16" Type="http://schemas.openxmlformats.org/officeDocument/2006/relationships/image" Target="../media/image20.svg"/><Relationship Id="rId20" Type="http://schemas.openxmlformats.org/officeDocument/2006/relationships/image" Target="../media/image24.svg"/><Relationship Id="rId29" Type="http://schemas.openxmlformats.org/officeDocument/2006/relationships/image" Target="../media/image45.png"/><Relationship Id="rId41" Type="http://schemas.openxmlformats.org/officeDocument/2006/relationships/image" Target="../media/image51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6.png"/><Relationship Id="rId24" Type="http://schemas.openxmlformats.org/officeDocument/2006/relationships/image" Target="../media/image28.svg"/><Relationship Id="rId32" Type="http://schemas.openxmlformats.org/officeDocument/2006/relationships/image" Target="../media/image36.svg"/><Relationship Id="rId37" Type="http://schemas.openxmlformats.org/officeDocument/2006/relationships/image" Target="../media/image49.png"/><Relationship Id="rId40" Type="http://schemas.openxmlformats.org/officeDocument/2006/relationships/image" Target="../media/image44.svg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8.png"/><Relationship Id="rId23" Type="http://schemas.openxmlformats.org/officeDocument/2006/relationships/image" Target="../media/image42.png"/><Relationship Id="rId28" Type="http://schemas.openxmlformats.org/officeDocument/2006/relationships/image" Target="../media/image32.svg"/><Relationship Id="rId36" Type="http://schemas.openxmlformats.org/officeDocument/2006/relationships/image" Target="../media/image40.svg"/><Relationship Id="rId10" Type="http://schemas.openxmlformats.org/officeDocument/2006/relationships/image" Target="../media/image14.svg"/><Relationship Id="rId19" Type="http://schemas.openxmlformats.org/officeDocument/2006/relationships/image" Target="../media/image40.png"/><Relationship Id="rId31" Type="http://schemas.openxmlformats.org/officeDocument/2006/relationships/image" Target="../media/image46.png"/><Relationship Id="rId4" Type="http://schemas.openxmlformats.org/officeDocument/2006/relationships/tags" Target="../tags/tag18.xml"/><Relationship Id="rId14" Type="http://schemas.openxmlformats.org/officeDocument/2006/relationships/image" Target="../media/image18.svg"/><Relationship Id="rId22" Type="http://schemas.openxmlformats.org/officeDocument/2006/relationships/image" Target="../media/image26.svg"/><Relationship Id="rId27" Type="http://schemas.openxmlformats.org/officeDocument/2006/relationships/image" Target="../media/image44.png"/><Relationship Id="rId30" Type="http://schemas.openxmlformats.org/officeDocument/2006/relationships/image" Target="../media/image34.svg"/><Relationship Id="rId35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0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8" Type="http://schemas.openxmlformats.org/officeDocument/2006/relationships/image" Target="../media/image5.svg"/><Relationship Id="rId26" Type="http://schemas.openxmlformats.org/officeDocument/2006/relationships/image" Target="../media/image19.png"/><Relationship Id="rId3" Type="http://schemas.openxmlformats.org/officeDocument/2006/relationships/image" Target="../media/image8.png"/><Relationship Id="rId21" Type="http://schemas.openxmlformats.org/officeDocument/2006/relationships/image" Target="../media/image14.png"/><Relationship Id="rId25" Type="http://schemas.openxmlformats.org/officeDocument/2006/relationships/image" Target="../media/image18.png"/><Relationship Id="rId2" Type="http://schemas.openxmlformats.org/officeDocument/2006/relationships/image" Target="../media/image7.png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24" Type="http://schemas.openxmlformats.org/officeDocument/2006/relationships/image" Target="../media/image17.png"/><Relationship Id="rId5" Type="http://schemas.openxmlformats.org/officeDocument/2006/relationships/image" Target="../media/image10.png"/><Relationship Id="rId23" Type="http://schemas.openxmlformats.org/officeDocument/2006/relationships/image" Target="../media/image16.png"/><Relationship Id="rId19" Type="http://schemas.openxmlformats.org/officeDocument/2006/relationships/image" Target="../media/image12.png"/><Relationship Id="rId4" Type="http://schemas.openxmlformats.org/officeDocument/2006/relationships/image" Target="../media/image9.png"/><Relationship Id="rId22" Type="http://schemas.openxmlformats.org/officeDocument/2006/relationships/image" Target="../media/image15.png"/><Relationship Id="rId27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 bwMode="auto">
          <a:xfrm>
            <a:off x="5092964" y="5822588"/>
            <a:ext cx="1716833" cy="33081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1200" dirty="0">
                <a:solidFill>
                  <a:srgbClr val="002060"/>
                </a:solidFill>
                <a:latin typeface="Arial"/>
                <a:ea typeface="Arial"/>
                <a:cs typeface="Arial"/>
              </a:rPr>
              <a:t>г. </a:t>
            </a:r>
            <a:r>
              <a:rPr lang="ru-RU" sz="1200" dirty="0" err="1">
                <a:solidFill>
                  <a:srgbClr val="002060"/>
                </a:solidFill>
                <a:latin typeface="Arial"/>
                <a:ea typeface="Arial"/>
                <a:cs typeface="Arial"/>
              </a:rPr>
              <a:t>Нур</a:t>
            </a:r>
            <a:r>
              <a:rPr lang="ru-RU" sz="1200" dirty="0">
                <a:solidFill>
                  <a:srgbClr val="002060"/>
                </a:solidFill>
                <a:latin typeface="Arial"/>
                <a:ea typeface="Arial"/>
                <a:cs typeface="Arial"/>
              </a:rPr>
              <a:t>-Султан</a:t>
            </a:r>
            <a:endParaRPr dirty="0"/>
          </a:p>
        </p:txBody>
      </p:sp>
      <p:pic>
        <p:nvPicPr>
          <p:cNvPr id="5" name="Рисунок 4" descr="C:\Users\a.nogaibayev\Desktop\docz_logo_KTG.png"/>
          <p:cNvPicPr/>
          <p:nvPr/>
        </p:nvPicPr>
        <p:blipFill>
          <a:blip r:embed="rId2"/>
          <a:stretch/>
        </p:blipFill>
        <p:spPr bwMode="auto">
          <a:xfrm>
            <a:off x="226579" y="145428"/>
            <a:ext cx="4057205" cy="105454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object 2"/>
          <p:cNvSpPr txBox="1"/>
          <p:nvPr/>
        </p:nvSpPr>
        <p:spPr bwMode="auto">
          <a:xfrm>
            <a:off x="1127713" y="2284266"/>
            <a:ext cx="10194222" cy="1580906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723" algn="ctr">
              <a:spcBef>
                <a:spcPts val="88"/>
              </a:spcBef>
              <a:defRPr/>
            </a:pPr>
            <a:r>
              <a:rPr lang="ru-RU" sz="3400" b="1" spc="-5" dirty="0" smtClean="0">
                <a:solidFill>
                  <a:srgbClr val="002060"/>
                </a:solidFill>
                <a:latin typeface="Arial"/>
                <a:cs typeface="Arial"/>
              </a:rPr>
              <a:t>Видение </a:t>
            </a:r>
            <a:r>
              <a:rPr lang="ru-RU" sz="3400" b="1" spc="-5" dirty="0">
                <a:solidFill>
                  <a:srgbClr val="002060"/>
                </a:solidFill>
                <a:latin typeface="Arial"/>
                <a:cs typeface="Arial"/>
              </a:rPr>
              <a:t>«</a:t>
            </a:r>
            <a:r>
              <a:rPr lang="ru-RU" sz="3400" b="1" spc="-5" dirty="0" err="1">
                <a:solidFill>
                  <a:srgbClr val="002060"/>
                </a:solidFill>
                <a:latin typeface="Arial"/>
                <a:cs typeface="Arial"/>
              </a:rPr>
              <a:t>Жаңарған</a:t>
            </a:r>
            <a:r>
              <a:rPr lang="ru-RU" sz="3400" b="1" spc="-5" dirty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en-US" sz="3400" b="1" spc="-5" dirty="0" err="1">
                <a:solidFill>
                  <a:srgbClr val="002060"/>
                </a:solidFill>
                <a:latin typeface="Arial"/>
                <a:cs typeface="Arial"/>
              </a:rPr>
              <a:t>QazaqGaz</a:t>
            </a:r>
            <a:r>
              <a:rPr lang="ru-RU" sz="3400" b="1" spc="-5" dirty="0" smtClean="0">
                <a:solidFill>
                  <a:srgbClr val="002060"/>
                </a:solidFill>
                <a:latin typeface="Arial"/>
                <a:cs typeface="Arial"/>
              </a:rPr>
              <a:t>», антикризисные меры для газовой отрасли РК и АО </a:t>
            </a:r>
            <a:r>
              <a:rPr lang="ru-RU" sz="3400" b="1" spc="-5" dirty="0">
                <a:solidFill>
                  <a:srgbClr val="002060"/>
                </a:solidFill>
                <a:latin typeface="Arial"/>
                <a:cs typeface="Arial"/>
              </a:rPr>
              <a:t>«НК «</a:t>
            </a:r>
            <a:r>
              <a:rPr lang="en-US" sz="3400" b="1" spc="-5" dirty="0" err="1">
                <a:solidFill>
                  <a:srgbClr val="002060"/>
                </a:solidFill>
                <a:latin typeface="Arial"/>
                <a:cs typeface="Arial"/>
              </a:rPr>
              <a:t>QazaqGaz</a:t>
            </a:r>
            <a:r>
              <a:rPr lang="ru-RU" sz="3400" b="1" spc="-5" dirty="0">
                <a:solidFill>
                  <a:srgbClr val="002060"/>
                </a:solidFill>
                <a:latin typeface="Arial"/>
                <a:cs typeface="Arial"/>
              </a:rPr>
              <a:t>»</a:t>
            </a:r>
          </a:p>
        </p:txBody>
      </p:sp>
      <p:sp>
        <p:nvSpPr>
          <p:cNvPr id="6" name="Подзаголовок 3"/>
          <p:cNvSpPr txBox="1"/>
          <p:nvPr/>
        </p:nvSpPr>
        <p:spPr bwMode="auto">
          <a:xfrm>
            <a:off x="5129479" y="6176557"/>
            <a:ext cx="1716833" cy="3308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685800">
              <a:lnSpc>
                <a:spcPct val="90000"/>
              </a:lnSpc>
              <a:spcBef>
                <a:spcPts val="75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dirty="0" smtClean="0">
                <a:solidFill>
                  <a:srgbClr val="002060"/>
                </a:solidFill>
                <a:latin typeface="Arial"/>
                <a:ea typeface="Arial"/>
                <a:cs typeface="Arial"/>
              </a:rPr>
              <a:t>Июнь </a:t>
            </a:r>
            <a:r>
              <a:rPr lang="ru-RU" sz="1200" dirty="0">
                <a:solidFill>
                  <a:srgbClr val="002060"/>
                </a:solidFill>
                <a:latin typeface="Arial"/>
                <a:ea typeface="Arial"/>
                <a:cs typeface="Arial"/>
              </a:rPr>
              <a:t>2022 г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307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Скругленный прямоугольник 4">
            <a:extLst>
              <a:ext uri="{FF2B5EF4-FFF2-40B4-BE49-F238E27FC236}">
                <a16:creationId xmlns:a16="http://schemas.microsoft.com/office/drawing/2014/main" id="{6F421566-02DE-4C6B-BBAA-5C951A6927CC}"/>
              </a:ext>
            </a:extLst>
          </p:cNvPr>
          <p:cNvSpPr/>
          <p:nvPr/>
        </p:nvSpPr>
        <p:spPr>
          <a:xfrm>
            <a:off x="2378484" y="3714266"/>
            <a:ext cx="1569476" cy="1045917"/>
          </a:xfrm>
          <a:prstGeom prst="rect">
            <a:avLst/>
          </a:prstGeom>
          <a:noFill/>
          <a:ln>
            <a:noFill/>
          </a:ln>
          <a:effectLst/>
        </p:spPr>
        <p:txBody>
          <a:bodyPr lIns="122682" tIns="122682" rIns="122682" bIns="122682" spcCol="1270" anchor="ctr"/>
          <a:lstStyle/>
          <a:p>
            <a:pPr algn="ctr" defTabSz="766763" fontAlgn="base">
              <a:lnSpc>
                <a:spcPct val="90000"/>
              </a:lnSpc>
              <a:spcBef>
                <a:spcPct val="20000"/>
              </a:spcBef>
              <a:spcAft>
                <a:spcPct val="35000"/>
              </a:spcAft>
              <a:buClr>
                <a:srgbClr val="3333CC"/>
              </a:buClr>
              <a:defRPr/>
            </a:pPr>
            <a:endParaRPr lang="ru-RU" sz="1200" ker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Скругленный прямоугольник 30">
            <a:extLst>
              <a:ext uri="{FF2B5EF4-FFF2-40B4-BE49-F238E27FC236}">
                <a16:creationId xmlns:a16="http://schemas.microsoft.com/office/drawing/2014/main" id="{F0CF2FA3-113D-4141-B68E-1FA058021652}"/>
              </a:ext>
            </a:extLst>
          </p:cNvPr>
          <p:cNvSpPr/>
          <p:nvPr/>
        </p:nvSpPr>
        <p:spPr>
          <a:xfrm>
            <a:off x="508153" y="3127288"/>
            <a:ext cx="1634503" cy="879447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b="1" kern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дрополь-зователи</a:t>
            </a:r>
            <a:endParaRPr lang="ru-RU" altLang="ru-RU" sz="1400" b="1" kern="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0" name="Стрелка вправо 34">
            <a:extLst>
              <a:ext uri="{FF2B5EF4-FFF2-40B4-BE49-F238E27FC236}">
                <a16:creationId xmlns:a16="http://schemas.microsoft.com/office/drawing/2014/main" id="{4F9F0846-C087-420D-B85E-E2F01EED7475}"/>
              </a:ext>
            </a:extLst>
          </p:cNvPr>
          <p:cNvSpPr/>
          <p:nvPr/>
        </p:nvSpPr>
        <p:spPr>
          <a:xfrm>
            <a:off x="4472114" y="3495210"/>
            <a:ext cx="219702" cy="16423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Стрелка вправо 35">
            <a:extLst>
              <a:ext uri="{FF2B5EF4-FFF2-40B4-BE49-F238E27FC236}">
                <a16:creationId xmlns:a16="http://schemas.microsoft.com/office/drawing/2014/main" id="{B9950DF6-F418-478B-B97C-8DFD151DAEF8}"/>
              </a:ext>
            </a:extLst>
          </p:cNvPr>
          <p:cNvSpPr/>
          <p:nvPr/>
        </p:nvSpPr>
        <p:spPr>
          <a:xfrm>
            <a:off x="6591418" y="3487571"/>
            <a:ext cx="219702" cy="16423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33C9150-6466-43E0-AAB7-9420147210AD}"/>
              </a:ext>
            </a:extLst>
          </p:cNvPr>
          <p:cNvSpPr/>
          <p:nvPr/>
        </p:nvSpPr>
        <p:spPr>
          <a:xfrm>
            <a:off x="411775" y="4251041"/>
            <a:ext cx="2751447" cy="1714865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очная цена на газ </a:t>
            </a:r>
            <a:b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недропользователей </a:t>
            </a:r>
            <a:b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преимущ. права  утверждается </a:t>
            </a:r>
            <a:r>
              <a:rPr lang="ru-RU" altLang="ru-RU" sz="12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Э РК 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оло 30% объема покупки газа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за исключением СРП, газовых и газоконденсатных месторождений и т.д. (</a:t>
            </a:r>
            <a:r>
              <a:rPr lang="ru-RU" alt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14 ст.15 Закона «О газе  и </a:t>
            </a:r>
            <a:r>
              <a:rPr lang="ru-RU" alt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снабжении</a:t>
            </a:r>
            <a:r>
              <a:rPr lang="ru-RU" alt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A3B71A91-9505-42A3-BE19-9A498B056F8F}"/>
              </a:ext>
            </a:extLst>
          </p:cNvPr>
          <p:cNvSpPr/>
          <p:nvPr/>
        </p:nvSpPr>
        <p:spPr>
          <a:xfrm>
            <a:off x="3116164" y="4236953"/>
            <a:ext cx="3490282" cy="1728954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овые цены:</a:t>
            </a:r>
          </a:p>
          <a:p>
            <a:pPr marL="228600" indent="-228600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buAutoNum type="arabicPeriod"/>
              <a:defRPr/>
            </a:pP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а покупки газа у недропользователей</a:t>
            </a:r>
          </a:p>
          <a:p>
            <a:pPr marL="228600" indent="-228600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buAutoNum type="arabicPeriod"/>
              <a:defRPr/>
            </a:pP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 на транспортировку по МГ </a:t>
            </a:r>
          </a:p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овые цены 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 </a:t>
            </a:r>
            <a:r>
              <a:rPr lang="ru-RU" altLang="ru-RU" sz="12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ются МЭ РК 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гласованию </a:t>
            </a:r>
            <a:r>
              <a:rPr lang="ru-RU" altLang="ru-RU" sz="12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Э РК</a:t>
            </a:r>
            <a:endParaRPr lang="ru-RU" altLang="ru-RU" sz="12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ы на транспортировку</a:t>
            </a:r>
            <a:b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хранение газа в подземных хранилищах газа утверждаются КРЕМ МНЭ РК.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8EA12FAD-1FD4-4F8B-A5A4-6C8CD7552868}"/>
              </a:ext>
            </a:extLst>
          </p:cNvPr>
          <p:cNvSpPr/>
          <p:nvPr/>
        </p:nvSpPr>
        <p:spPr>
          <a:xfrm>
            <a:off x="6969599" y="4421590"/>
            <a:ext cx="3157423" cy="1359680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b="1" u="sng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ые цены:</a:t>
            </a:r>
          </a:p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Оптовая цена + тариф по </a:t>
            </a:r>
            <a:r>
              <a:rPr lang="ru-RU" altLang="ru-RU" sz="12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.газопроводам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расходы по реализации</a:t>
            </a:r>
          </a:p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ая цена регулируется </a:t>
            </a:r>
          </a:p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М </a:t>
            </a:r>
            <a:r>
              <a:rPr lang="ru-RU" altLang="ru-RU" sz="12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Э РК</a:t>
            </a:r>
            <a:endParaRPr lang="ru-RU" sz="12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Стрелка вправо 45">
            <a:extLst>
              <a:ext uri="{FF2B5EF4-FFF2-40B4-BE49-F238E27FC236}">
                <a16:creationId xmlns:a16="http://schemas.microsoft.com/office/drawing/2014/main" id="{C92C1348-BACC-49FB-87E8-CA4BD1F784DF}"/>
              </a:ext>
            </a:extLst>
          </p:cNvPr>
          <p:cNvSpPr/>
          <p:nvPr/>
        </p:nvSpPr>
        <p:spPr>
          <a:xfrm>
            <a:off x="2347128" y="3487438"/>
            <a:ext cx="211206" cy="167097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8EA12FAD-1FD4-4F8B-A5A4-6C8CD7552868}"/>
              </a:ext>
            </a:extLst>
          </p:cNvPr>
          <p:cNvSpPr/>
          <p:nvPr/>
        </p:nvSpPr>
        <p:spPr>
          <a:xfrm>
            <a:off x="3741208" y="820858"/>
            <a:ext cx="4281156" cy="1008983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ный УБЫТОК </a:t>
            </a:r>
            <a:endParaRPr lang="ru-RU" altLang="ru-RU" b="1" kern="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ого оператора </a:t>
            </a:r>
          </a:p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2022-2023гг.: 184 млрд. </a:t>
            </a:r>
            <a:r>
              <a:rPr lang="ru-RU" altLang="ru-RU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endParaRPr lang="ru-RU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Стрелка вправо 35">
            <a:extLst>
              <a:ext uri="{FF2B5EF4-FFF2-40B4-BE49-F238E27FC236}">
                <a16:creationId xmlns:a16="http://schemas.microsoft.com/office/drawing/2014/main" id="{B9950DF6-F418-478B-B97C-8DFD151DAEF8}"/>
              </a:ext>
            </a:extLst>
          </p:cNvPr>
          <p:cNvSpPr/>
          <p:nvPr/>
        </p:nvSpPr>
        <p:spPr>
          <a:xfrm>
            <a:off x="8754052" y="3454069"/>
            <a:ext cx="219702" cy="164235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endParaRPr lang="ru-RU" sz="12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4" name="Прямая соединительная линия 53"/>
          <p:cNvCxnSpPr>
            <a:cxnSpLocks/>
          </p:cNvCxnSpPr>
          <p:nvPr/>
        </p:nvCxnSpPr>
        <p:spPr>
          <a:xfrm flipV="1">
            <a:off x="1325404" y="2396325"/>
            <a:ext cx="3398507" cy="522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A3B71A91-9505-42A3-BE19-9A498B056F8F}"/>
              </a:ext>
            </a:extLst>
          </p:cNvPr>
          <p:cNvSpPr/>
          <p:nvPr/>
        </p:nvSpPr>
        <p:spPr>
          <a:xfrm>
            <a:off x="4501276" y="2225530"/>
            <a:ext cx="1649661" cy="317506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209 </a:t>
            </a:r>
            <a:r>
              <a:rPr lang="ru-RU" alt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en-US" alt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бестоимость газа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A3B71A91-9505-42A3-BE19-9A498B056F8F}"/>
              </a:ext>
            </a:extLst>
          </p:cNvPr>
          <p:cNvSpPr/>
          <p:nvPr/>
        </p:nvSpPr>
        <p:spPr>
          <a:xfrm>
            <a:off x="7896043" y="2186997"/>
            <a:ext cx="1591224" cy="735471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 912 </a:t>
            </a:r>
            <a:r>
              <a:rPr lang="ru-RU" altLang="ru-RU" sz="14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en-US" alt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ая цена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A3B71A91-9505-42A3-BE19-9A498B056F8F}"/>
              </a:ext>
            </a:extLst>
          </p:cNvPr>
          <p:cNvSpPr/>
          <p:nvPr/>
        </p:nvSpPr>
        <p:spPr>
          <a:xfrm>
            <a:off x="6241420" y="2210983"/>
            <a:ext cx="1441957" cy="749917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algn="ctr"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327 </a:t>
            </a:r>
            <a:r>
              <a:rPr lang="ru-RU" altLang="ru-RU" sz="14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en-US" alt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овая цена</a:t>
            </a:r>
          </a:p>
        </p:txBody>
      </p:sp>
      <p:cxnSp>
        <p:nvCxnSpPr>
          <p:cNvPr id="58" name="Прямая со стрелкой 57"/>
          <p:cNvCxnSpPr>
            <a:cxnSpLocks/>
          </p:cNvCxnSpPr>
          <p:nvPr/>
        </p:nvCxnSpPr>
        <p:spPr>
          <a:xfrm>
            <a:off x="1325404" y="2396325"/>
            <a:ext cx="3740" cy="70584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A3B71A91-9505-42A3-BE19-9A498B056F8F}"/>
              </a:ext>
            </a:extLst>
          </p:cNvPr>
          <p:cNvSpPr/>
          <p:nvPr/>
        </p:nvSpPr>
        <p:spPr>
          <a:xfrm>
            <a:off x="1334282" y="2445124"/>
            <a:ext cx="1634334" cy="587447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750</a:t>
            </a:r>
            <a:r>
              <a:rPr lang="ru-RU" alt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en-US" altLang="ru-RU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endParaRPr lang="en-US" altLang="ru-RU" sz="12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а покупки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1000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3</a:t>
            </a:r>
            <a:endParaRPr lang="ru-RU" sz="10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en-US" alt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10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A3B71A91-9505-42A3-BE19-9A498B056F8F}"/>
              </a:ext>
            </a:extLst>
          </p:cNvPr>
          <p:cNvSpPr/>
          <p:nvPr/>
        </p:nvSpPr>
        <p:spPr>
          <a:xfrm>
            <a:off x="3479502" y="2485999"/>
            <a:ext cx="2035267" cy="449378"/>
          </a:xfrm>
          <a:prstGeom prst="rect">
            <a:avLst/>
          </a:prstGeom>
          <a:noFill/>
          <a:ln w="19050" cap="flat" cmpd="sng" algn="ctr">
            <a:noFill/>
            <a:prstDash val="sysDash"/>
          </a:ln>
          <a:effectLst/>
        </p:spPr>
        <p:txBody>
          <a:bodyPr/>
          <a:lstStyle/>
          <a:p>
            <a:pPr defTabSz="685800" fontAlgn="base">
              <a:spcBef>
                <a:spcPct val="20000"/>
              </a:spcBef>
              <a:spcAft>
                <a:spcPct val="0"/>
              </a:spcAft>
              <a:buClr>
                <a:srgbClr val="3333CC"/>
              </a:buClr>
              <a:defRPr/>
            </a:pPr>
            <a:r>
              <a:rPr lang="ru-RU" alt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459 </a:t>
            </a:r>
            <a:r>
              <a:rPr lang="ru-RU" altLang="ru-RU" sz="12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alt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на </a:t>
            </a:r>
            <a:r>
              <a:rPr lang="ru-RU" alt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ировку</a:t>
            </a:r>
            <a:endParaRPr lang="ru-RU" altLang="ru-RU" sz="10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 стрелкой 60">
            <a:extLst>
              <a:ext uri="{FF2B5EF4-FFF2-40B4-BE49-F238E27FC236}">
                <a16:creationId xmlns:a16="http://schemas.microsoft.com/office/drawing/2014/main" id="{4C964023-64F9-449B-B5E0-EA1A99995F00}"/>
              </a:ext>
            </a:extLst>
          </p:cNvPr>
          <p:cNvCxnSpPr>
            <a:cxnSpLocks/>
          </p:cNvCxnSpPr>
          <p:nvPr/>
        </p:nvCxnSpPr>
        <p:spPr>
          <a:xfrm>
            <a:off x="3482697" y="2409351"/>
            <a:ext cx="8422" cy="71773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73F4BD0E-8E02-458B-ABB7-88EBCE259AA3}"/>
              </a:ext>
            </a:extLst>
          </p:cNvPr>
          <p:cNvCxnSpPr/>
          <p:nvPr/>
        </p:nvCxnSpPr>
        <p:spPr>
          <a:xfrm flipH="1">
            <a:off x="5324435" y="1917799"/>
            <a:ext cx="101652" cy="301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30">
            <a:extLst>
              <a:ext uri="{FF2B5EF4-FFF2-40B4-BE49-F238E27FC236}">
                <a16:creationId xmlns:a16="http://schemas.microsoft.com/office/drawing/2014/main" id="{F0CF2FA3-113D-4141-B68E-1FA058021652}"/>
              </a:ext>
            </a:extLst>
          </p:cNvPr>
          <p:cNvSpPr/>
          <p:nvPr/>
        </p:nvSpPr>
        <p:spPr>
          <a:xfrm>
            <a:off x="9365085" y="803497"/>
            <a:ext cx="2740097" cy="135655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kk-KZ" alt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ые цены на газ в Казахстане и Европе:</a:t>
            </a:r>
          </a:p>
          <a:p>
            <a:pPr algn="just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kk-KZ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захстане </a:t>
            </a:r>
            <a:r>
              <a:rPr lang="en-US" alt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r>
              <a:rPr lang="en-US" alt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 в </a:t>
            </a:r>
            <a:r>
              <a:rPr lang="ru-RU" alt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alt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alt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з 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ьше чем в Европе </a:t>
            </a:r>
            <a:r>
              <a:rPr lang="ru-RU" alt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41,6 </a:t>
            </a:r>
            <a:r>
              <a:rPr lang="en-US" alt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endParaRPr lang="ru-RU" alt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 1000 м3 при курсе доллара и котировках на </a:t>
            </a:r>
            <a:r>
              <a:rPr lang="ru-RU" altLang="ru-RU" sz="12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.05.2022 </a:t>
            </a:r>
            <a:r>
              <a:rPr lang="ru-RU" altLang="ru-RU" sz="12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altLang="ru-RU" sz="12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9,5)</a:t>
            </a:r>
            <a:endParaRPr lang="en-US" altLang="ru-RU" sz="12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Скругленный прямоугольник 30">
            <a:extLst>
              <a:ext uri="{FF2B5EF4-FFF2-40B4-BE49-F238E27FC236}">
                <a16:creationId xmlns:a16="http://schemas.microsoft.com/office/drawing/2014/main" id="{F0CF2FA3-113D-4141-B68E-1FA058021652}"/>
              </a:ext>
            </a:extLst>
          </p:cNvPr>
          <p:cNvSpPr/>
          <p:nvPr/>
        </p:nvSpPr>
        <p:spPr>
          <a:xfrm>
            <a:off x="2673867" y="3143709"/>
            <a:ext cx="1634503" cy="879447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b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гистральная транспортировка</a:t>
            </a:r>
          </a:p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i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ЦА, АГП, ГБШ</a:t>
            </a:r>
          </a:p>
        </p:txBody>
      </p:sp>
      <p:sp>
        <p:nvSpPr>
          <p:cNvPr id="42" name="Скругленный прямоугольник 30">
            <a:extLst>
              <a:ext uri="{FF2B5EF4-FFF2-40B4-BE49-F238E27FC236}">
                <a16:creationId xmlns:a16="http://schemas.microsoft.com/office/drawing/2014/main" id="{F0CF2FA3-113D-4141-B68E-1FA058021652}"/>
              </a:ext>
            </a:extLst>
          </p:cNvPr>
          <p:cNvSpPr/>
          <p:nvPr/>
        </p:nvSpPr>
        <p:spPr>
          <a:xfrm>
            <a:off x="4807928" y="3133079"/>
            <a:ext cx="1634503" cy="879447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b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циональный оператор </a:t>
            </a:r>
          </a:p>
        </p:txBody>
      </p:sp>
      <p:sp>
        <p:nvSpPr>
          <p:cNvPr id="44" name="Скругленный прямоугольник 30">
            <a:extLst>
              <a:ext uri="{FF2B5EF4-FFF2-40B4-BE49-F238E27FC236}">
                <a16:creationId xmlns:a16="http://schemas.microsoft.com/office/drawing/2014/main" id="{F0CF2FA3-113D-4141-B68E-1FA058021652}"/>
              </a:ext>
            </a:extLst>
          </p:cNvPr>
          <p:cNvSpPr/>
          <p:nvPr/>
        </p:nvSpPr>
        <p:spPr>
          <a:xfrm>
            <a:off x="6930434" y="3112664"/>
            <a:ext cx="1634503" cy="879447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b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пределение и сбыт</a:t>
            </a:r>
            <a:br>
              <a:rPr lang="ru-RU" altLang="ru-RU" sz="1400" b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200" i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ТГ Аймак </a:t>
            </a:r>
            <a:br>
              <a:rPr lang="ru-RU" altLang="ru-RU" sz="1200" i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ru-RU" sz="1200" i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другие ГРО</a:t>
            </a:r>
          </a:p>
        </p:txBody>
      </p:sp>
      <p:sp>
        <p:nvSpPr>
          <p:cNvPr id="45" name="Скругленный прямоугольник 30">
            <a:extLst>
              <a:ext uri="{FF2B5EF4-FFF2-40B4-BE49-F238E27FC236}">
                <a16:creationId xmlns:a16="http://schemas.microsoft.com/office/drawing/2014/main" id="{F0CF2FA3-113D-4141-B68E-1FA058021652}"/>
              </a:ext>
            </a:extLst>
          </p:cNvPr>
          <p:cNvSpPr/>
          <p:nvPr/>
        </p:nvSpPr>
        <p:spPr>
          <a:xfrm>
            <a:off x="9129172" y="3085796"/>
            <a:ext cx="1634503" cy="879447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b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селение </a:t>
            </a:r>
          </a:p>
          <a:p>
            <a:pPr algn="ctr" defTabSz="6858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rgbClr val="3333CC"/>
              </a:buClr>
              <a:buNone/>
              <a:defRPr/>
            </a:pPr>
            <a:r>
              <a:rPr lang="ru-RU" altLang="ru-RU" sz="1400" b="1" kern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прочие потребители</a:t>
            </a:r>
          </a:p>
        </p:txBody>
      </p: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73F4BD0E-8E02-458B-ABB7-88EBCE259AA3}"/>
              </a:ext>
            </a:extLst>
          </p:cNvPr>
          <p:cNvCxnSpPr/>
          <p:nvPr/>
        </p:nvCxnSpPr>
        <p:spPr>
          <a:xfrm>
            <a:off x="6591418" y="1944584"/>
            <a:ext cx="109851" cy="289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1862"/>
            <a:ext cx="12191999" cy="6684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почка поставок газа на внутренний рынок, текущие цены и регулирование</a:t>
            </a:r>
          </a:p>
        </p:txBody>
      </p:sp>
      <p:sp>
        <p:nvSpPr>
          <p:cNvPr id="30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0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37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876292" y="1001156"/>
          <a:ext cx="10439415" cy="4166460"/>
        </p:xfrm>
        <a:graphic>
          <a:graphicData uri="http://schemas.openxmlformats.org/drawingml/2006/table">
            <a:tbl>
              <a:tblPr/>
              <a:tblGrid>
                <a:gridCol w="5184011">
                  <a:extLst>
                    <a:ext uri="{9D8B030D-6E8A-4147-A177-3AD203B41FA5}">
                      <a16:colId xmlns:a16="http://schemas.microsoft.com/office/drawing/2014/main" val="3650002816"/>
                    </a:ext>
                  </a:extLst>
                </a:gridCol>
                <a:gridCol w="944544">
                  <a:extLst>
                    <a:ext uri="{9D8B030D-6E8A-4147-A177-3AD203B41FA5}">
                      <a16:colId xmlns:a16="http://schemas.microsoft.com/office/drawing/2014/main" val="3499185410"/>
                    </a:ext>
                  </a:extLst>
                </a:gridCol>
                <a:gridCol w="862172">
                  <a:extLst>
                    <a:ext uri="{9D8B030D-6E8A-4147-A177-3AD203B41FA5}">
                      <a16:colId xmlns:a16="http://schemas.microsoft.com/office/drawing/2014/main" val="1939246877"/>
                    </a:ext>
                  </a:extLst>
                </a:gridCol>
                <a:gridCol w="862172">
                  <a:extLst>
                    <a:ext uri="{9D8B030D-6E8A-4147-A177-3AD203B41FA5}">
                      <a16:colId xmlns:a16="http://schemas.microsoft.com/office/drawing/2014/main" val="688565687"/>
                    </a:ext>
                  </a:extLst>
                </a:gridCol>
                <a:gridCol w="862172">
                  <a:extLst>
                    <a:ext uri="{9D8B030D-6E8A-4147-A177-3AD203B41FA5}">
                      <a16:colId xmlns:a16="http://schemas.microsoft.com/office/drawing/2014/main" val="1190303029"/>
                    </a:ext>
                  </a:extLst>
                </a:gridCol>
                <a:gridCol w="862172">
                  <a:extLst>
                    <a:ext uri="{9D8B030D-6E8A-4147-A177-3AD203B41FA5}">
                      <a16:colId xmlns:a16="http://schemas.microsoft.com/office/drawing/2014/main" val="2049404909"/>
                    </a:ext>
                  </a:extLst>
                </a:gridCol>
                <a:gridCol w="862172">
                  <a:extLst>
                    <a:ext uri="{9D8B030D-6E8A-4147-A177-3AD203B41FA5}">
                      <a16:colId xmlns:a16="http://schemas.microsoft.com/office/drawing/2014/main" val="1714259730"/>
                    </a:ext>
                  </a:extLst>
                </a:gridCol>
              </a:tblGrid>
              <a:tr h="7070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Ед. изм.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94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487872"/>
                  </a:ext>
                </a:extLst>
              </a:tr>
              <a:tr h="4472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Объем реализации газа на экспорт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млн.м3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 9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 7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 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 0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6282"/>
                  </a:ext>
                </a:extLst>
              </a:tr>
              <a:tr h="4181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1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* Средневзвешенная цена реализации газа на экспорт</a:t>
                      </a:r>
                      <a:endParaRPr lang="ru-RU" sz="1400" b="0" i="1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1207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тенге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1 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6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0 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5 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4 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6096250"/>
                  </a:ext>
                </a:extLst>
              </a:tr>
              <a:tr h="424885"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5091299"/>
                  </a:ext>
                </a:extLst>
              </a:tr>
              <a:tr h="4248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Доход от реализации газа на экспорт</a:t>
                      </a:r>
                    </a:p>
                  </a:txBody>
                  <a:tcPr marL="70604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млн. тенге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48 6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74 0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80 9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54 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11 6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332488"/>
                  </a:ext>
                </a:extLst>
              </a:tr>
              <a:tr h="4248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Себестоимость реализации газа на экспорт</a:t>
                      </a:r>
                    </a:p>
                  </a:txBody>
                  <a:tcPr marL="70604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млн. тенге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95 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50 7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60 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46 4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97 7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0718924"/>
                  </a:ext>
                </a:extLst>
              </a:tr>
              <a:tr h="4472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Валовая прибыль по реализации газа на экспорт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млн. тенге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3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3 3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0 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7 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3 9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4735471"/>
                  </a:ext>
                </a:extLst>
              </a:tr>
              <a:tr h="4248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1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удельная себестоимость на ед. </a:t>
                      </a:r>
                    </a:p>
                  </a:txBody>
                  <a:tcPr marL="141207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(тенге/м3)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1" u="none" strike="noStrike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1941455"/>
                  </a:ext>
                </a:extLst>
              </a:tr>
              <a:tr h="4472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Убыток </a:t>
                      </a:r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от реализации газа на внутренний </a:t>
                      </a:r>
                      <a:r>
                        <a:rPr lang="ru-RU" sz="14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рынок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млн. тенге</a:t>
                      </a:r>
                    </a:p>
                  </a:txBody>
                  <a:tcPr marL="7845" marR="7845" marT="78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38 8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01 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24 4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63 6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76 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542919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61145" y="5616452"/>
            <a:ext cx="10568608" cy="738664"/>
          </a:xfrm>
          <a:prstGeom prst="rect">
            <a:avLst/>
          </a:prstGeom>
          <a:noFill/>
          <a:ln w="9525">
            <a:solidFill>
              <a:srgbClr val="C00000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ериод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-21гг. </a:t>
            </a: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ыток от оптовой реализации газа на внутренний рынок составил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7 млрд. тенге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и оптовых цен на 7,6% с 1 июля 2022 года согласно предварительного расчета МНЭ </a:t>
            </a: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 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-26гг.</a:t>
            </a:r>
            <a:r>
              <a:rPr lang="ru-RU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убытки </a:t>
            </a:r>
            <a:r>
              <a:rPr lang="ru-RU" sz="14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ят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2 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ге</a:t>
            </a:r>
            <a:r>
              <a:rPr lang="ru-RU" sz="1400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1400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209676" y="3764115"/>
            <a:ext cx="4241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rgbClr val="C00000"/>
                </a:solidFill>
              </a:rPr>
              <a:t>!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76293" y="5138507"/>
            <a:ext cx="104394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* На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изменения цены реализации газа на экспорт оказывает влияние стоимость нефти марки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Brent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и курс тенге/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долл.США</a:t>
            </a:r>
            <a:endParaRPr lang="ru-RU" sz="1200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1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1103" y="5449401"/>
            <a:ext cx="424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dirty="0" smtClean="0">
                <a:solidFill>
                  <a:srgbClr val="C00000"/>
                </a:solidFill>
              </a:rPr>
              <a:t>!</a:t>
            </a:r>
            <a:endParaRPr lang="ru-RU" sz="6000" dirty="0">
              <a:solidFill>
                <a:srgbClr val="C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209677" y="4624478"/>
            <a:ext cx="4241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rgbClr val="C00000"/>
                </a:solidFill>
              </a:rPr>
              <a:t>!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1862"/>
            <a:ext cx="12191999" cy="6684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быль от реализации газа на экспорт не покрывает убытки на внутреннем рынке</a:t>
            </a:r>
          </a:p>
        </p:txBody>
      </p:sp>
    </p:spTree>
    <p:extLst>
      <p:ext uri="{BB962C8B-B14F-4D97-AF65-F5344CB8AC3E}">
        <p14:creationId xmlns:p14="http://schemas.microsoft.com/office/powerpoint/2010/main" val="4291755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/>
          <p:cNvSpPr/>
          <p:nvPr/>
        </p:nvSpPr>
        <p:spPr bwMode="auto">
          <a:xfrm>
            <a:off x="928423" y="5752515"/>
            <a:ext cx="10340710" cy="91664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928423" y="2614369"/>
            <a:ext cx="10340710" cy="299294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928423" y="785906"/>
            <a:ext cx="10340710" cy="166611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Rectangle 2"/>
          <p:cNvSpPr/>
          <p:nvPr/>
        </p:nvSpPr>
        <p:spPr bwMode="auto">
          <a:xfrm>
            <a:off x="1192768" y="813015"/>
            <a:ext cx="7719934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ТЕКУЩАЯ СИТУАЦИЯ</a:t>
            </a:r>
            <a:endParaRPr lang="ru-RU" dirty="0"/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1215559" y="1067621"/>
            <a:ext cx="10053574" cy="1157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Динамичный рост потребления товарного газа на внутреннем рынке РК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. Объем потребления вырос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на 50% в период с 2015-21 гг. </a:t>
            </a:r>
            <a:r>
              <a:rPr lang="ru-RU" sz="1200" i="1" dirty="0" smtClean="0">
                <a:solidFill>
                  <a:srgbClr val="002060"/>
                </a:solidFill>
                <a:latin typeface="Arial"/>
                <a:cs typeface="Arial"/>
              </a:rPr>
              <a:t>(2015 г. – 11,5 млрд.м3; 2021 г. – </a:t>
            </a:r>
            <a:r>
              <a:rPr lang="ru-RU" sz="1200" i="1" dirty="0">
                <a:solidFill>
                  <a:srgbClr val="002060"/>
                </a:solidFill>
                <a:latin typeface="Arial"/>
                <a:cs typeface="Arial"/>
              </a:rPr>
              <a:t>17,5 </a:t>
            </a:r>
            <a:r>
              <a:rPr lang="ru-RU" sz="1200" i="1" dirty="0" smtClean="0">
                <a:solidFill>
                  <a:srgbClr val="002060"/>
                </a:solidFill>
                <a:latin typeface="Arial"/>
                <a:cs typeface="Arial"/>
              </a:rPr>
              <a:t>млрд.м3.)</a:t>
            </a:r>
          </a:p>
          <a:p>
            <a:pPr marL="182563" lvl="1" indent="-182563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Отсутствие стимулирующих подходов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для независимых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недропользователей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в расширение ресурсной базы товарного газа</a:t>
            </a:r>
          </a:p>
          <a:p>
            <a:pPr marL="182563" lvl="1" indent="-182563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Убытки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от реализации товарного газа на внутреннем рынке за период 2015-21 гг.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составили 587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млрд.тенге</a:t>
            </a:r>
            <a:endParaRPr lang="ru-RU" sz="1200" b="1" dirty="0" smtClean="0">
              <a:solidFill>
                <a:srgbClr val="002060"/>
              </a:solidFill>
              <a:latin typeface="Arial"/>
              <a:cs typeface="Arial"/>
            </a:endParaRPr>
          </a:p>
          <a:p>
            <a:pPr marL="182563" lvl="1" indent="-182563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Угроза полного прекращения экспортных поставок газа в 2023 году</a:t>
            </a:r>
          </a:p>
        </p:txBody>
      </p:sp>
      <p:sp>
        <p:nvSpPr>
          <p:cNvPr id="47" name="Rectangle 2"/>
          <p:cNvSpPr/>
          <p:nvPr/>
        </p:nvSpPr>
        <p:spPr bwMode="auto">
          <a:xfrm>
            <a:off x="1215559" y="2636901"/>
            <a:ext cx="8927276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400" b="1" u="sng" dirty="0">
                <a:solidFill>
                  <a:srgbClr val="002060"/>
                </a:solidFill>
                <a:latin typeface="Arial"/>
                <a:cs typeface="Arial"/>
              </a:rPr>
              <a:t>НЕОТЛОЖНЫЕ </a:t>
            </a: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МЕРЫ </a:t>
            </a:r>
            <a:r>
              <a:rPr lang="ru-RU" sz="1400" b="1" u="sng" dirty="0">
                <a:solidFill>
                  <a:srgbClr val="002060"/>
                </a:solidFill>
                <a:latin typeface="Arial"/>
                <a:cs typeface="Arial"/>
              </a:rPr>
              <a:t>для выхода из кризиса: </a:t>
            </a: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достижение </a:t>
            </a:r>
            <a:r>
              <a:rPr lang="ru-RU" sz="1400" b="1" u="sng" dirty="0">
                <a:solidFill>
                  <a:srgbClr val="002060"/>
                </a:solidFill>
                <a:latin typeface="Arial"/>
                <a:cs typeface="Arial"/>
              </a:rPr>
              <a:t>безубыточности </a:t>
            </a:r>
            <a:r>
              <a:rPr lang="ru-RU" sz="1400" b="1" u="sng" dirty="0" err="1">
                <a:solidFill>
                  <a:srgbClr val="002060"/>
                </a:solidFill>
                <a:latin typeface="Arial"/>
                <a:cs typeface="Arial"/>
              </a:rPr>
              <a:t>Нацоператора</a:t>
            </a:r>
            <a:endParaRPr lang="ru-RU" sz="1400" b="1" u="sng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52" name="Rectangle 2"/>
          <p:cNvSpPr/>
          <p:nvPr/>
        </p:nvSpPr>
        <p:spPr bwMode="auto">
          <a:xfrm>
            <a:off x="1194366" y="5752515"/>
            <a:ext cx="7719934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400" b="1" u="sng" dirty="0" smtClean="0">
                <a:solidFill>
                  <a:srgbClr val="C00000"/>
                </a:solidFill>
                <a:latin typeface="Arial"/>
                <a:cs typeface="Arial"/>
              </a:rPr>
              <a:t>ВАЖНО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 bwMode="auto">
          <a:xfrm>
            <a:off x="1215559" y="6033598"/>
            <a:ext cx="10053573" cy="487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Совершенствование ценообразования на газ также необходимо с учетом присоединения к Общему рынку ЕАЭС в 2025 г. </a:t>
            </a:r>
            <a:r>
              <a:rPr lang="ru-RU" sz="1200" b="1" dirty="0" smtClean="0">
                <a:solidFill>
                  <a:srgbClr val="C00000"/>
                </a:solidFill>
                <a:latin typeface="Arial"/>
                <a:cs typeface="Arial"/>
              </a:rPr>
              <a:t>для исключения </a:t>
            </a:r>
            <a:r>
              <a:rPr lang="ru-RU" sz="1200" b="1" dirty="0" err="1" smtClean="0">
                <a:solidFill>
                  <a:srgbClr val="C00000"/>
                </a:solidFill>
                <a:latin typeface="Arial"/>
                <a:cs typeface="Arial"/>
              </a:rPr>
              <a:t>перетока</a:t>
            </a:r>
            <a:r>
              <a:rPr lang="ru-RU" sz="1200" b="1" dirty="0" smtClean="0">
                <a:solidFill>
                  <a:srgbClr val="C00000"/>
                </a:solidFill>
                <a:latin typeface="Arial"/>
                <a:cs typeface="Arial"/>
              </a:rPr>
              <a:t> дешевого казахстанского газа на другие рынки стран-импортеров газа ЕАЭС</a:t>
            </a:r>
            <a:endParaRPr sz="1200" dirty="0">
              <a:solidFill>
                <a:srgbClr val="C00000"/>
              </a:solidFill>
            </a:endParaRPr>
          </a:p>
        </p:txBody>
      </p:sp>
      <p:grpSp>
        <p:nvGrpSpPr>
          <p:cNvPr id="54" name="Группа 53"/>
          <p:cNvGrpSpPr/>
          <p:nvPr/>
        </p:nvGrpSpPr>
        <p:grpSpPr bwMode="auto">
          <a:xfrm>
            <a:off x="651458" y="3656550"/>
            <a:ext cx="590158" cy="560825"/>
            <a:chOff x="34201" y="5588871"/>
            <a:chExt cx="578839" cy="560825"/>
          </a:xfrm>
        </p:grpSpPr>
        <p:sp>
          <p:nvSpPr>
            <p:cNvPr id="55" name="Rectangle 103"/>
            <p:cNvSpPr/>
            <p:nvPr/>
          </p:nvSpPr>
          <p:spPr bwMode="auto">
            <a:xfrm>
              <a:off x="34201" y="5711031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endParaRPr lang="en-US" b="1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55857" y="5588871"/>
              <a:ext cx="557183" cy="560825"/>
            </a:xfrm>
            <a:prstGeom prst="rect">
              <a:avLst/>
            </a:prstGeom>
          </p:spPr>
        </p:pic>
        <p:sp>
          <p:nvSpPr>
            <p:cNvPr id="57" name="Rectangle 103"/>
            <p:cNvSpPr/>
            <p:nvPr/>
          </p:nvSpPr>
          <p:spPr bwMode="auto">
            <a:xfrm>
              <a:off x="51691" y="5697129"/>
              <a:ext cx="555279" cy="31927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8" name="Прямоугольник 57"/>
          <p:cNvSpPr/>
          <p:nvPr/>
        </p:nvSpPr>
        <p:spPr bwMode="auto">
          <a:xfrm>
            <a:off x="1185449" y="2929701"/>
            <a:ext cx="10083683" cy="2720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+48 </a:t>
            </a:r>
            <a:r>
              <a:rPr lang="ru-RU" sz="1200" b="1" dirty="0" err="1" smtClean="0">
                <a:solidFill>
                  <a:srgbClr val="0070C0"/>
                </a:solidFill>
                <a:latin typeface="Arial"/>
                <a:cs typeface="Arial"/>
              </a:rPr>
              <a:t>млрд.тенге</a:t>
            </a: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 в год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: введение новых категорий, в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т.ч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. крупных коммерческих потребителей (</a:t>
            </a:r>
            <a:r>
              <a:rPr lang="ru-RU" sz="1200" i="1" dirty="0" err="1" smtClean="0">
                <a:solidFill>
                  <a:srgbClr val="002060"/>
                </a:solidFill>
                <a:latin typeface="Arial"/>
                <a:cs typeface="Arial"/>
              </a:rPr>
              <a:t>Казахмыс</a:t>
            </a:r>
            <a:r>
              <a:rPr lang="ru-RU" sz="1200" i="1" dirty="0" smtClean="0">
                <a:solidFill>
                  <a:srgbClr val="002060"/>
                </a:solidFill>
                <a:latin typeface="Arial"/>
                <a:cs typeface="Arial"/>
              </a:rPr>
              <a:t>, </a:t>
            </a:r>
            <a:r>
              <a:rPr lang="ru-RU" sz="1200" i="1" dirty="0" err="1" smtClean="0">
                <a:solidFill>
                  <a:srgbClr val="002060"/>
                </a:solidFill>
                <a:latin typeface="Arial"/>
                <a:cs typeface="Arial"/>
              </a:rPr>
              <a:t>Арселор</a:t>
            </a:r>
            <a:r>
              <a:rPr lang="ru-RU" sz="1200" i="1" dirty="0" smtClean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ru-RU" sz="1200" i="1" dirty="0" err="1" smtClean="0">
                <a:solidFill>
                  <a:srgbClr val="002060"/>
                </a:solidFill>
                <a:latin typeface="Arial"/>
                <a:cs typeface="Arial"/>
              </a:rPr>
              <a:t>Миттал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),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майнеров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и другие категории, готовые платить рыночную цену за газ. Обеспечит дополнительный доход, для компенсации убытков на внутреннем рынке. 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+ </a:t>
            </a:r>
            <a:r>
              <a:rPr lang="ru-RU" sz="1200" b="1" dirty="0">
                <a:solidFill>
                  <a:srgbClr val="0070C0"/>
                </a:solidFill>
                <a:latin typeface="Arial"/>
                <a:cs typeface="Arial"/>
              </a:rPr>
              <a:t>8,6 </a:t>
            </a:r>
            <a:r>
              <a:rPr lang="ru-RU" sz="1200" b="1" dirty="0" err="1">
                <a:solidFill>
                  <a:srgbClr val="0070C0"/>
                </a:solidFill>
                <a:latin typeface="Arial"/>
                <a:cs typeface="Arial"/>
              </a:rPr>
              <a:t>млрд.тенге</a:t>
            </a:r>
            <a:r>
              <a:rPr lang="ru-RU" sz="1200" b="1" dirty="0">
                <a:solidFill>
                  <a:srgbClr val="0070C0"/>
                </a:solidFill>
                <a:latin typeface="Arial"/>
                <a:cs typeface="Arial"/>
              </a:rPr>
              <a:t>:</a:t>
            </a: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ввиду отсутствия затрат на содержание в тарифной смете необходимо расширение </a:t>
            </a: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оснований для изменения утвержденных тарифов на магистральную и распределительную транспортировку до истечения срока действия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Arial"/>
                <a:cs typeface="Arial"/>
              </a:rPr>
              <a:t>+Х </a:t>
            </a:r>
            <a:r>
              <a:rPr lang="ru-RU" sz="1200" b="1" dirty="0" err="1" smtClean="0">
                <a:solidFill>
                  <a:srgbClr val="C00000"/>
                </a:solidFill>
                <a:latin typeface="Arial"/>
                <a:cs typeface="Arial"/>
              </a:rPr>
              <a:t>млрд.тенге</a:t>
            </a:r>
            <a:r>
              <a:rPr lang="ru-RU" sz="1200" b="1" dirty="0" smtClean="0">
                <a:solidFill>
                  <a:srgbClr val="C00000"/>
                </a:solidFill>
                <a:latin typeface="Arial"/>
                <a:cs typeface="Arial"/>
              </a:rPr>
              <a:t>: Исключение посреднических структур из реализации товарного газа коммерческим потребителям 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Введение дифференцированных цен </a:t>
            </a:r>
            <a:r>
              <a:rPr lang="ru-RU" sz="1200" dirty="0" smtClean="0">
                <a:latin typeface="Arial"/>
                <a:cs typeface="Arial"/>
              </a:rPr>
              <a:t>на потребление товарного газа категориям, которым газ поставляется по сдерживаемым ценам (в </a:t>
            </a:r>
            <a:r>
              <a:rPr lang="ru-RU" sz="1200" dirty="0" err="1" smtClean="0">
                <a:latin typeface="Arial"/>
                <a:cs typeface="Arial"/>
              </a:rPr>
              <a:t>т.ч</a:t>
            </a:r>
            <a:r>
              <a:rPr lang="ru-RU" sz="1200" dirty="0" smtClean="0">
                <a:latin typeface="Arial"/>
                <a:cs typeface="Arial"/>
              </a:rPr>
              <a:t>.: население, МСБ, бюджетные организации, ТЭК, нефтегазохимия)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Исключение 15% ограничения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повышения оптовых цен на газ, возможность корректировки 2 раза в год, при изменении тарифов на магистральную транспортировку (</a:t>
            </a:r>
            <a:r>
              <a:rPr lang="ru-RU" sz="1200" i="1" dirty="0" smtClean="0">
                <a:solidFill>
                  <a:srgbClr val="002060"/>
                </a:solidFill>
                <a:latin typeface="Arial"/>
                <a:cs typeface="Arial"/>
              </a:rPr>
              <a:t>как правило, с 1 января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) и с 1 июля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Утверждение оптовых цен на долгосрочный период 5 лет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(по аналогии с тарифами на электроэнергию и тарифами естественных монополий)</a:t>
            </a:r>
            <a:endParaRPr lang="ru-RU" sz="1000" dirty="0" smtClean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59" name="Группа 58"/>
          <p:cNvGrpSpPr/>
          <p:nvPr/>
        </p:nvGrpSpPr>
        <p:grpSpPr bwMode="auto">
          <a:xfrm>
            <a:off x="661373" y="1251354"/>
            <a:ext cx="564461" cy="558725"/>
            <a:chOff x="34201" y="398342"/>
            <a:chExt cx="564461" cy="558725"/>
          </a:xfrm>
        </p:grpSpPr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43565" y="398342"/>
              <a:ext cx="555097" cy="558725"/>
            </a:xfrm>
            <a:prstGeom prst="rect">
              <a:avLst/>
            </a:prstGeom>
          </p:spPr>
        </p:pic>
        <p:sp>
          <p:nvSpPr>
            <p:cNvPr id="61" name="Rectangle 103"/>
            <p:cNvSpPr/>
            <p:nvPr/>
          </p:nvSpPr>
          <p:spPr bwMode="auto">
            <a:xfrm>
              <a:off x="34201" y="516364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  <a:endParaRPr/>
            </a:p>
          </p:txBody>
        </p:sp>
      </p:grpSp>
      <p:grpSp>
        <p:nvGrpSpPr>
          <p:cNvPr id="30" name="Группа 29"/>
          <p:cNvGrpSpPr/>
          <p:nvPr/>
        </p:nvGrpSpPr>
        <p:grpSpPr bwMode="auto">
          <a:xfrm>
            <a:off x="675372" y="5928002"/>
            <a:ext cx="632501" cy="560825"/>
            <a:chOff x="49786" y="3944690"/>
            <a:chExt cx="632501" cy="560825"/>
          </a:xfrm>
        </p:grpSpPr>
        <p:sp>
          <p:nvSpPr>
            <p:cNvPr id="31" name="Rectangle 103"/>
            <p:cNvSpPr/>
            <p:nvPr/>
          </p:nvSpPr>
          <p:spPr bwMode="auto">
            <a:xfrm>
              <a:off x="123346" y="4130689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  <a:endParaRPr/>
            </a:p>
          </p:txBody>
        </p:sp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9786" y="3944690"/>
              <a:ext cx="557184" cy="560825"/>
            </a:xfrm>
            <a:prstGeom prst="rect">
              <a:avLst/>
            </a:prstGeom>
          </p:spPr>
        </p:pic>
        <p:sp>
          <p:nvSpPr>
            <p:cNvPr id="33" name="Rectangle 103"/>
            <p:cNvSpPr/>
            <p:nvPr/>
          </p:nvSpPr>
          <p:spPr bwMode="auto">
            <a:xfrm>
              <a:off x="55857" y="4057265"/>
              <a:ext cx="555279" cy="31927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5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2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1862"/>
            <a:ext cx="12191999" cy="6684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ы для субсидирования убытков исчерпаны. Необходима социально-справедливая реформа ценообразования, без эффекта для социально-незащищенных слоев населения </a:t>
            </a:r>
          </a:p>
        </p:txBody>
      </p:sp>
    </p:spTree>
    <p:extLst>
      <p:ext uri="{BB962C8B-B14F-4D97-AF65-F5344CB8AC3E}">
        <p14:creationId xmlns:p14="http://schemas.microsoft.com/office/powerpoint/2010/main" val="48687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 bwMode="auto">
          <a:xfrm>
            <a:off x="6965101" y="724017"/>
            <a:ext cx="2969274" cy="5388764"/>
          </a:xfrm>
          <a:prstGeom prst="rect">
            <a:avLst/>
          </a:prstGeom>
          <a:solidFill>
            <a:srgbClr val="00B050">
              <a:alpha val="9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00"/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3771900" y="720281"/>
            <a:ext cx="3017519" cy="5341013"/>
          </a:xfrm>
          <a:prstGeom prst="rect">
            <a:avLst/>
          </a:prstGeom>
          <a:solidFill>
            <a:srgbClr val="FFFF00">
              <a:alpha val="9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00"/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789468"/>
              </p:ext>
            </p:extLst>
          </p:nvPr>
        </p:nvGraphicFramePr>
        <p:xfrm>
          <a:off x="3867300" y="1055842"/>
          <a:ext cx="2835480" cy="2955966"/>
        </p:xfrm>
        <a:graphic>
          <a:graphicData uri="http://schemas.openxmlformats.org/drawingml/2006/table">
            <a:tbl>
              <a:tblPr/>
              <a:tblGrid>
                <a:gridCol w="56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861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2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3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4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5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ВСЕГО</a:t>
                      </a:r>
                      <a:br>
                        <a:rPr lang="ru-RU" sz="105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</a:br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2022-2025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619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8,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5,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4,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7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21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8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40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97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7" name="Таблица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048301"/>
              </p:ext>
            </p:extLst>
          </p:nvPr>
        </p:nvGraphicFramePr>
        <p:xfrm>
          <a:off x="7012477" y="1064155"/>
          <a:ext cx="2835480" cy="2955965"/>
        </p:xfrm>
        <a:graphic>
          <a:graphicData uri="http://schemas.openxmlformats.org/drawingml/2006/table">
            <a:tbl>
              <a:tblPr/>
              <a:tblGrid>
                <a:gridCol w="56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0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15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2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3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4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5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ВСЕГО</a:t>
                      </a:r>
                      <a:br>
                        <a:rPr lang="ru-RU" sz="105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</a:br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2022-2025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003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 dirty="0"/>
                    </a:p>
                  </a:txBody>
                  <a:tcPr marL="9213" marR="9213" marT="9213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213" marR="9213" marT="9213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8,6</a:t>
                      </a:r>
                    </a:p>
                  </a:txBody>
                  <a:tcPr marL="6350" marR="6350" marT="6350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9,4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1,3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6350" marR="6350" marT="6350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43</a:t>
                      </a:r>
                    </a:p>
                  </a:txBody>
                  <a:tcPr marL="6350" marR="6350" marT="6350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63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0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6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221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6350" marR="6350" marT="6350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49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6350" marR="6350" marT="6350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06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6350" marR="6350" marT="6350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6350" marR="6350" marT="6350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1909141"/>
              </p:ext>
            </p:extLst>
          </p:nvPr>
        </p:nvGraphicFramePr>
        <p:xfrm>
          <a:off x="539241" y="1068465"/>
          <a:ext cx="2815370" cy="2955966"/>
        </p:xfrm>
        <a:graphic>
          <a:graphicData uri="http://schemas.openxmlformats.org/drawingml/2006/table">
            <a:tbl>
              <a:tblPr/>
              <a:tblGrid>
                <a:gridCol w="2240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50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69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Наименование</a:t>
                      </a:r>
                      <a:endParaRPr dirty="0"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12700" algn="ctr">
                      <a:noFill/>
                    </a:lnB>
                    <a:solidFill>
                      <a:srgbClr val="0094C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1 г</a:t>
                      </a:r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620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0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857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00" b="1" i="0" u="none" strike="noStrike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231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внутренний рынок, млрд.м</a:t>
                      </a: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Times New Roman"/>
                          <a:cs typeface="Times New Roman"/>
                        </a:rPr>
                        <a:t>³</a:t>
                      </a:r>
                      <a:endParaRPr lang="ru-RU" sz="1050" b="1" i="0" u="none" strike="noStrike">
                        <a:solidFill>
                          <a:srgbClr val="002060"/>
                        </a:solidFill>
                        <a:latin typeface="Arial"/>
                      </a:endParaRPr>
                    </a:p>
                  </a:txBody>
                  <a:tcPr marL="857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17,5</a:t>
                      </a:r>
                      <a:endParaRPr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2231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экспорт, млрд.м3 </a:t>
                      </a:r>
                      <a:endParaRPr/>
                    </a:p>
                  </a:txBody>
                  <a:tcPr marL="857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6</a:t>
                      </a:r>
                      <a:endParaRPr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2231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C00000"/>
                          </a:solidFill>
                          <a:latin typeface="Arial"/>
                        </a:rPr>
                        <a:t>убытки от внутреннего рынка, млрд. </a:t>
                      </a:r>
                      <a:r>
                        <a:rPr lang="ru-RU" sz="1050" b="1" i="0" u="none" strike="noStrike" dirty="0" err="1">
                          <a:solidFill>
                            <a:srgbClr val="C00000"/>
                          </a:solidFill>
                          <a:latin typeface="Arial"/>
                        </a:rPr>
                        <a:t>тг</a:t>
                      </a:r>
                      <a:endParaRPr lang="ru-RU" sz="1050" b="1" i="0" u="none" strike="noStrike" dirty="0">
                        <a:solidFill>
                          <a:srgbClr val="C00000"/>
                        </a:solidFill>
                        <a:latin typeface="Arial"/>
                      </a:endParaRPr>
                    </a:p>
                  </a:txBody>
                  <a:tcPr marL="857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C00000"/>
                          </a:solidFill>
                          <a:latin typeface="Arial"/>
                        </a:rPr>
                        <a:t>-</a:t>
                      </a:r>
                      <a:r>
                        <a:rPr lang="ru-RU" sz="1050" b="1" i="0" u="none" strike="noStrike" dirty="0" smtClean="0">
                          <a:solidFill>
                            <a:srgbClr val="C00000"/>
                          </a:solidFill>
                          <a:latin typeface="Arial"/>
                        </a:rPr>
                        <a:t>16</a:t>
                      </a:r>
                      <a:r>
                        <a:rPr lang="en-US" sz="1050" b="1" i="0" u="none" strike="noStrike" dirty="0" smtClean="0">
                          <a:solidFill>
                            <a:srgbClr val="C00000"/>
                          </a:solidFill>
                          <a:latin typeface="Arial"/>
                        </a:rPr>
                        <a:t>4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2231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доходы для компенсации убытков</a:t>
                      </a:r>
                      <a:endParaRPr/>
                    </a:p>
                  </a:txBody>
                  <a:tcPr marL="857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226</a:t>
                      </a:r>
                      <a:endParaRPr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2231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в. т.ч. экспорт газа в Китай</a:t>
                      </a:r>
                      <a:endParaRPr/>
                    </a:p>
                  </a:txBody>
                  <a:tcPr marL="171450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0" i="0" u="none" strike="noStrike">
                          <a:solidFill>
                            <a:srgbClr val="002060"/>
                          </a:solidFill>
                          <a:latin typeface="Arial"/>
                        </a:rPr>
                        <a:t>131</a:t>
                      </a:r>
                      <a:endParaRPr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2231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ИТОГО, млрд. </a:t>
                      </a:r>
                      <a:r>
                        <a:rPr lang="ru-RU" sz="1050" b="1" i="0" u="none" strike="noStrike" dirty="0" err="1">
                          <a:solidFill>
                            <a:srgbClr val="002060"/>
                          </a:solidFill>
                          <a:latin typeface="Arial"/>
                        </a:rPr>
                        <a:t>т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:                                                                  </a:t>
                      </a:r>
                      <a:endParaRPr dirty="0"/>
                    </a:p>
                  </a:txBody>
                  <a:tcPr marL="857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64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9" name="Овал 38"/>
          <p:cNvSpPr/>
          <p:nvPr/>
        </p:nvSpPr>
        <p:spPr bwMode="auto">
          <a:xfrm>
            <a:off x="6157181" y="2572358"/>
            <a:ext cx="521354" cy="282598"/>
          </a:xfrm>
          <a:prstGeom prst="ellipse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Овал 39"/>
          <p:cNvSpPr/>
          <p:nvPr/>
        </p:nvSpPr>
        <p:spPr bwMode="auto">
          <a:xfrm>
            <a:off x="9308541" y="2565644"/>
            <a:ext cx="521354" cy="282598"/>
          </a:xfrm>
          <a:prstGeom prst="ellipse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Овал 40"/>
          <p:cNvSpPr/>
          <p:nvPr/>
        </p:nvSpPr>
        <p:spPr bwMode="auto">
          <a:xfrm>
            <a:off x="6165494" y="3691108"/>
            <a:ext cx="521354" cy="282598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TextBox 42"/>
          <p:cNvSpPr txBox="1"/>
          <p:nvPr/>
        </p:nvSpPr>
        <p:spPr bwMode="auto">
          <a:xfrm>
            <a:off x="3825043" y="654240"/>
            <a:ext cx="2827860" cy="36933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rgbClr val="C00000"/>
                </a:solidFill>
                <a:latin typeface="Arial"/>
                <a:ea typeface="Lato Light"/>
                <a:cs typeface="Arial"/>
              </a:rPr>
              <a:t>1. КАК ЕСТЬ</a:t>
            </a:r>
            <a:endParaRPr lang="en-US" b="1" dirty="0">
              <a:solidFill>
                <a:srgbClr val="C00000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 bwMode="auto">
          <a:xfrm>
            <a:off x="7012477" y="654240"/>
            <a:ext cx="2827860" cy="36933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rgbClr val="002060"/>
                </a:solidFill>
                <a:latin typeface="Arial"/>
                <a:ea typeface="Lato Light"/>
                <a:cs typeface="Arial"/>
              </a:rPr>
              <a:t>2. КАК ПРЕДЛАГАЕТСЯ</a:t>
            </a:r>
            <a:endParaRPr lang="en-US" b="1" dirty="0">
              <a:solidFill>
                <a:srgbClr val="002060"/>
              </a:solidFill>
              <a:latin typeface="Arial"/>
              <a:ea typeface="Lato Light"/>
              <a:cs typeface="Arial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2942900"/>
              </p:ext>
            </p:extLst>
          </p:nvPr>
        </p:nvGraphicFramePr>
        <p:xfrm>
          <a:off x="7027483" y="4093702"/>
          <a:ext cx="2840756" cy="774414"/>
        </p:xfrm>
        <a:graphic>
          <a:graphicData uri="http://schemas.openxmlformats.org/drawingml/2006/table">
            <a:tbl>
              <a:tblPr/>
              <a:tblGrid>
                <a:gridCol w="7101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01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01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0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5247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2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3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4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5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475">
                <a:tc gridSpan="4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chemeClr val="bg1"/>
                          </a:solidFill>
                          <a:latin typeface="Arial"/>
                        </a:rPr>
                        <a:t>Требуемый уровень повышения опт. цен</a:t>
                      </a:r>
                      <a:endParaRPr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6350" algn="ctr">
                      <a:solidFill>
                        <a:srgbClr val="7F7F7F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532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24</a:t>
                      </a:r>
                      <a:r>
                        <a:rPr lang="en-US" sz="105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%</a:t>
                      </a:r>
                      <a:endParaRPr lang="ru-RU" sz="1050" b="1" i="0" u="none" strike="noStrike" dirty="0" smtClean="0">
                        <a:solidFill>
                          <a:schemeClr val="bg1"/>
                        </a:solidFill>
                        <a:latin typeface="Arial"/>
                      </a:endParaRPr>
                    </a:p>
                    <a:p>
                      <a:pPr algn="ctr"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+3,4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latin typeface="Arial"/>
                        </a:rPr>
                        <a:t>тг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/м3</a:t>
                      </a:r>
                      <a:endParaRPr dirty="0"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7F7F7F"/>
                      </a:solidFill>
                    </a:lnR>
                    <a:lnT w="6350" algn="ctr">
                      <a:solidFill>
                        <a:srgbClr val="7F7F7F"/>
                      </a:solidFill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17%</a:t>
                      </a:r>
                    </a:p>
                    <a:p>
                      <a:pPr algn="ctr"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+3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тг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/м3</a:t>
                      </a:r>
                      <a:endParaRPr sz="900" b="1" i="0" u="none" strike="noStrike" kern="1200" dirty="0">
                        <a:solidFill>
                          <a:schemeClr val="bg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algn="ctr">
                      <a:solidFill>
                        <a:srgbClr val="7F7F7F"/>
                      </a:solidFill>
                    </a:lnL>
                    <a:lnR w="6350" algn="ctr">
                      <a:solidFill>
                        <a:srgbClr val="7F7F7F"/>
                      </a:solidFill>
                    </a:lnR>
                    <a:lnT w="6350" algn="ctr">
                      <a:solidFill>
                        <a:srgbClr val="7F7F7F"/>
                      </a:solidFill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18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%</a:t>
                      </a:r>
                    </a:p>
                    <a:p>
                      <a:pPr marL="0" marR="0" lvl="0" indent="0" algn="ctr" defTabSz="9144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+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3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тг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/м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7F7F7F"/>
                      </a:solidFill>
                    </a:lnL>
                    <a:lnR w="6350" algn="ctr">
                      <a:solidFill>
                        <a:srgbClr val="7F7F7F"/>
                      </a:solidFill>
                    </a:lnR>
                    <a:lnT w="6350" algn="ctr">
                      <a:solidFill>
                        <a:srgbClr val="7F7F7F"/>
                      </a:solidFill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1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12% </a:t>
                      </a:r>
                    </a:p>
                    <a:p>
                      <a:pPr marL="0" marR="0" lvl="0" indent="0" algn="ctr" defTabSz="9144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+2,8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тг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/м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7F7F7F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6350" algn="ctr">
                      <a:solidFill>
                        <a:srgbClr val="7F7F7F"/>
                      </a:solidFill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6" name="Таблица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283398"/>
              </p:ext>
            </p:extLst>
          </p:nvPr>
        </p:nvGraphicFramePr>
        <p:xfrm>
          <a:off x="3874920" y="4089853"/>
          <a:ext cx="2820240" cy="740273"/>
        </p:xfrm>
        <a:graphic>
          <a:graphicData uri="http://schemas.openxmlformats.org/drawingml/2006/table">
            <a:tbl>
              <a:tblPr/>
              <a:tblGrid>
                <a:gridCol w="705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5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50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50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66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2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3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4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5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0070C0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607">
                <a:tc gridSpan="3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"заморозка" цен</a:t>
                      </a:r>
                      <a:endParaRPr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7F7F7F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FF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рост 15%</a:t>
                      </a:r>
                      <a:endParaRPr dirty="0"/>
                    </a:p>
                  </a:txBody>
                  <a:tcPr marL="9525" marR="9525" marT="9525" marB="0" anchor="ctr">
                    <a:lnL w="6350" algn="ctr">
                      <a:solidFill>
                        <a:srgbClr val="7F7F7F"/>
                      </a:solidFill>
                    </a:lnL>
                    <a:lnR w="12700" algn="ctr">
                      <a:solidFill>
                        <a:schemeClr val="tx1"/>
                      </a:solidFill>
                    </a:lnR>
                    <a:lnT w="6350" algn="ctr">
                      <a:solidFill>
                        <a:srgbClr val="7F7F7F"/>
                      </a:solidFill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7" name="Прямоугольник 46"/>
          <p:cNvSpPr/>
          <p:nvPr/>
        </p:nvSpPr>
        <p:spPr bwMode="auto">
          <a:xfrm>
            <a:off x="3762600" y="4812424"/>
            <a:ext cx="3017519" cy="1300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05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ОЛТ НАЦОПЕРАТОРА</a:t>
            </a:r>
            <a:r>
              <a:rPr lang="ru-RU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виду того, что:</a:t>
            </a:r>
            <a:endParaRPr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Bef>
                <a:spcPts val="200"/>
              </a:spcBef>
              <a:spcAft>
                <a:spcPts val="200"/>
              </a:spcAft>
              <a:buFont typeface="Arial"/>
              <a:buChar char="•"/>
              <a:defRPr/>
            </a:pPr>
            <a:r>
              <a:rPr lang="ru-RU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 внутреннего рынка значительно превышают доступные ресурсы</a:t>
            </a:r>
            <a:endParaRPr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Bef>
                <a:spcPts val="200"/>
              </a:spcBef>
              <a:spcAft>
                <a:spcPts val="200"/>
              </a:spcAft>
              <a:buFont typeface="Arial"/>
              <a:buChar char="•"/>
              <a:defRPr/>
            </a:pPr>
            <a:r>
              <a:rPr lang="ru-RU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очный уровень повышения цен для компенсации убытков внутреннего рынка</a:t>
            </a:r>
            <a:endParaRPr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 bwMode="auto">
          <a:xfrm>
            <a:off x="6965101" y="4861508"/>
            <a:ext cx="2903138" cy="1300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050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УСТОЙЧИВОСТЬ НАЦОПЕРАТОРА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 условии:</a:t>
            </a:r>
            <a:endParaRPr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spcBef>
                <a:spcPts val="200"/>
              </a:spcBef>
              <a:spcAft>
                <a:spcPts val="200"/>
              </a:spcAft>
              <a:buFont typeface="Arial"/>
              <a:buChar char="•"/>
              <a:defRPr/>
            </a:pP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я перечня новых крупных потребителей с учетом доступных ресурсов газа</a:t>
            </a:r>
            <a:endParaRPr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spcBef>
                <a:spcPts val="200"/>
              </a:spcBef>
              <a:spcAft>
                <a:spcPts val="200"/>
              </a:spcAft>
              <a:buFont typeface="Arial"/>
              <a:buChar char="•"/>
              <a:defRPr/>
            </a:pP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я необходимого </a:t>
            </a:r>
            <a:b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я повышения цен</a:t>
            </a:r>
            <a:endParaRPr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 bwMode="auto">
          <a:xfrm>
            <a:off x="469117" y="5112411"/>
            <a:ext cx="1032613" cy="481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3333CC"/>
              </a:buClr>
              <a:buNone/>
              <a:defRPr/>
            </a:pPr>
            <a:r>
              <a:rPr lang="ru-RU" sz="1100" dirty="0">
                <a:solidFill>
                  <a:srgbClr val="002060"/>
                </a:solidFill>
                <a:latin typeface="Arial"/>
                <a:cs typeface="Arial"/>
              </a:rPr>
              <a:t>П</a:t>
            </a:r>
            <a:r>
              <a:rPr lang="ru-RU" sz="1100" dirty="0" smtClean="0">
                <a:solidFill>
                  <a:srgbClr val="002060"/>
                </a:solidFill>
                <a:latin typeface="Arial"/>
                <a:cs typeface="Arial"/>
              </a:rPr>
              <a:t>овышение </a:t>
            </a:r>
            <a:r>
              <a:rPr lang="ru-RU" sz="1100" dirty="0">
                <a:solidFill>
                  <a:srgbClr val="002060"/>
                </a:solidFill>
                <a:latin typeface="Arial"/>
                <a:cs typeface="Arial"/>
              </a:rPr>
              <a:t/>
            </a:r>
            <a:br>
              <a:rPr lang="ru-RU" sz="1100" dirty="0">
                <a:solidFill>
                  <a:srgbClr val="002060"/>
                </a:solidFill>
                <a:latin typeface="Arial"/>
                <a:cs typeface="Arial"/>
              </a:rPr>
            </a:br>
            <a:r>
              <a:rPr lang="ru-RU" sz="1100" dirty="0" smtClean="0">
                <a:solidFill>
                  <a:srgbClr val="002060"/>
                </a:solidFill>
                <a:latin typeface="Arial"/>
                <a:cs typeface="Arial"/>
              </a:rPr>
              <a:t>оптовых </a:t>
            </a:r>
            <a:r>
              <a:rPr lang="ru-RU" sz="1100" dirty="0">
                <a:solidFill>
                  <a:srgbClr val="002060"/>
                </a:solidFill>
                <a:latin typeface="Arial"/>
                <a:cs typeface="Arial"/>
              </a:rPr>
              <a:t>цен</a:t>
            </a:r>
            <a:endParaRPr dirty="0"/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2075123" y="4914527"/>
            <a:ext cx="1445497" cy="257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3333CC"/>
              </a:buClr>
              <a:buNone/>
              <a:defRPr/>
            </a:pPr>
            <a:r>
              <a:rPr lang="ru-RU" sz="1000" dirty="0">
                <a:solidFill>
                  <a:srgbClr val="002060"/>
                </a:solidFill>
                <a:latin typeface="Arial"/>
                <a:cs typeface="Arial"/>
              </a:rPr>
              <a:t>д</a:t>
            </a:r>
            <a:r>
              <a:rPr lang="ru-RU" sz="1000" dirty="0" smtClean="0">
                <a:solidFill>
                  <a:srgbClr val="002060"/>
                </a:solidFill>
                <a:latin typeface="Arial"/>
                <a:cs typeface="Arial"/>
              </a:rPr>
              <a:t>ля СУСН</a:t>
            </a:r>
            <a:endParaRPr dirty="0"/>
          </a:p>
        </p:txBody>
      </p:sp>
      <p:sp>
        <p:nvSpPr>
          <p:cNvPr id="52" name="Прямоугольник 51"/>
          <p:cNvSpPr/>
          <p:nvPr/>
        </p:nvSpPr>
        <p:spPr bwMode="auto">
          <a:xfrm>
            <a:off x="1533925" y="4881592"/>
            <a:ext cx="643680" cy="324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3333CC"/>
              </a:buClr>
              <a:buNone/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/>
                <a:cs typeface="Arial"/>
              </a:rPr>
              <a:t>-20% </a:t>
            </a:r>
            <a:endParaRPr sz="1400" dirty="0"/>
          </a:p>
        </p:txBody>
      </p:sp>
      <p:sp>
        <p:nvSpPr>
          <p:cNvPr id="53" name="Прямоугольник 52"/>
          <p:cNvSpPr/>
          <p:nvPr/>
        </p:nvSpPr>
        <p:spPr bwMode="auto">
          <a:xfrm>
            <a:off x="1568957" y="5417984"/>
            <a:ext cx="1889082" cy="270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3333CC"/>
              </a:buClr>
              <a:buNone/>
              <a:defRPr/>
            </a:pPr>
            <a:r>
              <a:rPr lang="ru-RU" sz="1100" b="1">
                <a:solidFill>
                  <a:srgbClr val="002060"/>
                </a:solidFill>
                <a:latin typeface="Arial"/>
                <a:cs typeface="Arial"/>
              </a:rPr>
              <a:t>Рыночная цена </a:t>
            </a:r>
            <a:endParaRPr/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1570863" y="5617657"/>
            <a:ext cx="1831812" cy="448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3333CC"/>
              </a:buClr>
              <a:buNone/>
              <a:defRPr/>
            </a:pPr>
            <a:r>
              <a:rPr lang="ru-RU" sz="1000">
                <a:solidFill>
                  <a:srgbClr val="002060"/>
                </a:solidFill>
                <a:latin typeface="Arial"/>
                <a:cs typeface="Arial"/>
              </a:rPr>
              <a:t>Майнеры, новые крупные коммерческие предприятия</a:t>
            </a:r>
            <a:endParaRPr/>
          </a:p>
        </p:txBody>
      </p:sp>
      <p:grpSp>
        <p:nvGrpSpPr>
          <p:cNvPr id="55" name="Группа 54"/>
          <p:cNvGrpSpPr/>
          <p:nvPr/>
        </p:nvGrpSpPr>
        <p:grpSpPr bwMode="auto">
          <a:xfrm>
            <a:off x="1298470" y="5066606"/>
            <a:ext cx="305883" cy="647379"/>
            <a:chOff x="913316" y="5366325"/>
            <a:chExt cx="305883" cy="647379"/>
          </a:xfrm>
        </p:grpSpPr>
        <p:cxnSp>
          <p:nvCxnSpPr>
            <p:cNvPr id="56" name="Прямая соединительная линия 55"/>
            <p:cNvCxnSpPr>
              <a:cxnSpLocks/>
            </p:cNvCxnSpPr>
            <p:nvPr/>
          </p:nvCxnSpPr>
          <p:spPr bwMode="auto">
            <a:xfrm>
              <a:off x="1049349" y="5366325"/>
              <a:ext cx="0" cy="647379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 стрелкой 56"/>
            <p:cNvCxnSpPr>
              <a:cxnSpLocks/>
            </p:cNvCxnSpPr>
            <p:nvPr/>
          </p:nvCxnSpPr>
          <p:spPr bwMode="auto">
            <a:xfrm>
              <a:off x="1049349" y="5371659"/>
              <a:ext cx="169851" cy="0"/>
            </a:xfrm>
            <a:prstGeom prst="straightConnector1">
              <a:avLst/>
            </a:prstGeom>
            <a:ln w="158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 стрелкой 57"/>
            <p:cNvCxnSpPr>
              <a:cxnSpLocks/>
            </p:cNvCxnSpPr>
            <p:nvPr/>
          </p:nvCxnSpPr>
          <p:spPr bwMode="auto">
            <a:xfrm>
              <a:off x="1048079" y="6008183"/>
              <a:ext cx="169851" cy="0"/>
            </a:xfrm>
            <a:prstGeom prst="straightConnector1">
              <a:avLst/>
            </a:prstGeom>
            <a:ln w="158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>
              <a:cxnSpLocks/>
            </p:cNvCxnSpPr>
            <p:nvPr/>
          </p:nvCxnSpPr>
          <p:spPr bwMode="auto">
            <a:xfrm>
              <a:off x="913316" y="5670359"/>
              <a:ext cx="134453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Прямоугольник 59"/>
          <p:cNvSpPr/>
          <p:nvPr/>
        </p:nvSpPr>
        <p:spPr bwMode="auto">
          <a:xfrm>
            <a:off x="513383" y="4540253"/>
            <a:ext cx="2841227" cy="1525603"/>
          </a:xfrm>
          <a:prstGeom prst="rect">
            <a:avLst/>
          </a:prstGeom>
          <a:noFill/>
          <a:ln w="158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Прямоугольник 60"/>
          <p:cNvSpPr/>
          <p:nvPr/>
        </p:nvSpPr>
        <p:spPr bwMode="auto">
          <a:xfrm>
            <a:off x="1360788" y="4516359"/>
            <a:ext cx="2096842" cy="481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3333CC"/>
              </a:buClr>
              <a:buNone/>
              <a:defRPr/>
            </a:pPr>
            <a:r>
              <a:rPr lang="ru-RU" sz="1100" dirty="0" smtClean="0">
                <a:solidFill>
                  <a:srgbClr val="002060"/>
                </a:solidFill>
                <a:latin typeface="Arial"/>
                <a:cs typeface="Arial"/>
              </a:rPr>
              <a:t>Снижение действующих </a:t>
            </a:r>
            <a:r>
              <a:rPr lang="ru-RU" sz="1100" dirty="0">
                <a:solidFill>
                  <a:srgbClr val="002060"/>
                </a:solidFill>
                <a:latin typeface="Arial"/>
                <a:cs typeface="Arial"/>
              </a:rPr>
              <a:t>розничных цен</a:t>
            </a:r>
            <a:endParaRPr dirty="0"/>
          </a:p>
        </p:txBody>
      </p:sp>
      <p:sp>
        <p:nvSpPr>
          <p:cNvPr id="62" name="Прямоугольник 61"/>
          <p:cNvSpPr/>
          <p:nvPr/>
        </p:nvSpPr>
        <p:spPr bwMode="auto">
          <a:xfrm>
            <a:off x="91440" y="6320919"/>
            <a:ext cx="12083934" cy="518547"/>
          </a:xfrm>
          <a:prstGeom prst="rect">
            <a:avLst/>
          </a:prstGeom>
          <a:noFill/>
          <a:ln w="158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just"/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оптовых цен с 1 июля 2022 г. на 7,6% 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решает вопрос безубыточной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и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нутреннем рынке. 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срывает планы по дальнейшей газификации страны. </a:t>
            </a:r>
            <a:endParaRPr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3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 bwMode="auto">
          <a:xfrm>
            <a:off x="10119357" y="720279"/>
            <a:ext cx="1917471" cy="5392501"/>
          </a:xfrm>
          <a:prstGeom prst="rect">
            <a:avLst/>
          </a:prstGeom>
          <a:solidFill>
            <a:srgbClr val="00B050">
              <a:alpha val="9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0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473971"/>
              </p:ext>
            </p:extLst>
          </p:nvPr>
        </p:nvGraphicFramePr>
        <p:xfrm>
          <a:off x="10722958" y="1082094"/>
          <a:ext cx="781859" cy="2955965"/>
        </p:xfrm>
        <a:graphic>
          <a:graphicData uri="http://schemas.openxmlformats.org/drawingml/2006/table">
            <a:tbl>
              <a:tblPr/>
              <a:tblGrid>
                <a:gridCol w="781859">
                  <a:extLst>
                    <a:ext uri="{9D8B030D-6E8A-4147-A177-3AD203B41FA5}">
                      <a16:colId xmlns:a16="http://schemas.microsoft.com/office/drawing/2014/main" val="2859015055"/>
                    </a:ext>
                  </a:extLst>
                </a:gridCol>
              </a:tblGrid>
              <a:tr h="5115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2022 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213" marR="9213" marT="9213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0070C0"/>
                      </a:solidFill>
                    </a:lnB>
                    <a:solidFill>
                      <a:srgbClr val="0094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997401"/>
                  </a:ext>
                </a:extLst>
              </a:tr>
              <a:tr h="179003"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203764"/>
                          </a:solidFill>
                          <a:latin typeface="Arial"/>
                        </a:rPr>
                        <a:t> </a:t>
                      </a:r>
                      <a:endParaRPr dirty="0"/>
                    </a:p>
                  </a:txBody>
                  <a:tcPr marL="9213" marR="9213" marT="9213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6350" algn="ctr">
                      <a:solidFill>
                        <a:srgbClr val="0070C0"/>
                      </a:solidFill>
                    </a:lnT>
                    <a:lnB w="12700" algn="ctr">
                      <a:noFill/>
                    </a:lnB>
                    <a:solidFill>
                      <a:srgbClr val="DFF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5921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3057164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851646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164</a:t>
                      </a:r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2054410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580836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9533049"/>
                  </a:ext>
                </a:extLst>
              </a:tr>
              <a:tr h="3775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noFill/>
                    </a:lnT>
                    <a:lnB w="12700" algn="ctr">
                      <a:solidFill>
                        <a:schemeClr val="tx1"/>
                      </a:solidFill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735637"/>
                  </a:ext>
                </a:extLst>
              </a:tr>
            </a:tbl>
          </a:graphicData>
        </a:graphic>
      </p:graphicFrame>
      <p:sp>
        <p:nvSpPr>
          <p:cNvPr id="65" name="TextBox 64"/>
          <p:cNvSpPr txBox="1"/>
          <p:nvPr/>
        </p:nvSpPr>
        <p:spPr bwMode="auto">
          <a:xfrm>
            <a:off x="10139693" y="666434"/>
            <a:ext cx="1897136" cy="36933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rgbClr val="002060"/>
                </a:solidFill>
                <a:latin typeface="Arial"/>
                <a:ea typeface="Lato Light"/>
                <a:cs typeface="Arial"/>
              </a:rPr>
              <a:t>3</a:t>
            </a:r>
            <a:r>
              <a:rPr lang="ru-RU" b="1" dirty="0" smtClean="0">
                <a:solidFill>
                  <a:srgbClr val="002060"/>
                </a:solidFill>
                <a:latin typeface="Arial"/>
                <a:ea typeface="Lato Light"/>
                <a:cs typeface="Arial"/>
              </a:rPr>
              <a:t>. МНЭ</a:t>
            </a:r>
            <a:endParaRPr lang="en-US" b="1" dirty="0">
              <a:solidFill>
                <a:srgbClr val="002060"/>
              </a:solidFill>
              <a:latin typeface="Arial"/>
              <a:ea typeface="Lato Light"/>
              <a:cs typeface="Arial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160285"/>
              </p:ext>
            </p:extLst>
          </p:nvPr>
        </p:nvGraphicFramePr>
        <p:xfrm>
          <a:off x="10706334" y="4115317"/>
          <a:ext cx="806797" cy="750471"/>
        </p:xfrm>
        <a:graphic>
          <a:graphicData uri="http://schemas.openxmlformats.org/drawingml/2006/table">
            <a:tbl>
              <a:tblPr/>
              <a:tblGrid>
                <a:gridCol w="806797">
                  <a:extLst>
                    <a:ext uri="{9D8B030D-6E8A-4147-A177-3AD203B41FA5}">
                      <a16:colId xmlns:a16="http://schemas.microsoft.com/office/drawing/2014/main" val="2205699348"/>
                    </a:ext>
                  </a:extLst>
                </a:gridCol>
              </a:tblGrid>
              <a:tr h="31721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2022 г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latin typeface="Arial"/>
                        </a:rPr>
                        <a:t>.</a:t>
                      </a:r>
                      <a:endParaRPr dirty="0"/>
                    </a:p>
                  </a:txBody>
                  <a:tcPr marL="9525" marR="9525" marT="9525" marB="0">
                    <a:lnL w="12700" algn="ctr">
                      <a:solidFill>
                        <a:schemeClr val="tx1"/>
                      </a:solidFill>
                    </a:lnL>
                    <a:lnR w="6350" algn="ctr">
                      <a:solidFill>
                        <a:srgbClr val="0070C0"/>
                      </a:solidFill>
                    </a:lnR>
                    <a:lnT w="12700" algn="ctr">
                      <a:solidFill>
                        <a:schemeClr val="tx1"/>
                      </a:solidFill>
                    </a:lnT>
                    <a:lnB w="6350" algn="ctr">
                      <a:solidFill>
                        <a:srgbClr val="7F7F7F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163456"/>
                  </a:ext>
                </a:extLst>
              </a:tr>
              <a:tr h="43325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05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7,6%</a:t>
                      </a:r>
                      <a:endParaRPr lang="ru-RU" sz="1050" b="1" i="0" u="none" strike="noStrike" dirty="0" smtClean="0">
                        <a:solidFill>
                          <a:schemeClr val="bg1"/>
                        </a:solidFill>
                        <a:latin typeface="Arial"/>
                      </a:endParaRPr>
                    </a:p>
                    <a:p>
                      <a:pPr algn="ctr"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+1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latin typeface="Arial"/>
                        </a:rPr>
                        <a:t>тг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/м3</a:t>
                      </a:r>
                      <a:endParaRPr dirty="0"/>
                    </a:p>
                  </a:txBody>
                  <a:tcPr marL="9525" marR="9525" marT="9525" marB="0" anchor="ctr">
                    <a:lnL w="12700" algn="ctr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algn="ctr">
                      <a:solidFill>
                        <a:srgbClr val="7F7F7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379171"/>
                  </a:ext>
                </a:extLst>
              </a:tr>
            </a:tbl>
          </a:graphicData>
        </a:graphic>
      </p:graphicFrame>
      <p:sp>
        <p:nvSpPr>
          <p:cNvPr id="66" name="Прямоугольник 65"/>
          <p:cNvSpPr/>
          <p:nvPr/>
        </p:nvSpPr>
        <p:spPr bwMode="auto">
          <a:xfrm>
            <a:off x="10161877" y="4968687"/>
            <a:ext cx="1874951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300" dirty="0">
                <a:solidFill>
                  <a:srgbClr val="002060"/>
                </a:solidFill>
                <a:latin typeface="Arial"/>
                <a:cs typeface="Arial"/>
              </a:rPr>
              <a:t>По предварительным расчетам МНЭ прогноз повышения оптовых цен с 1 июля 2022 </a:t>
            </a:r>
            <a:r>
              <a:rPr lang="ru-RU" sz="1300" dirty="0" smtClean="0">
                <a:solidFill>
                  <a:srgbClr val="002060"/>
                </a:solidFill>
                <a:latin typeface="Arial"/>
                <a:cs typeface="Arial"/>
              </a:rPr>
              <a:t>года</a:t>
            </a:r>
            <a:endParaRPr sz="13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1192" y="4669815"/>
            <a:ext cx="424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dirty="0" smtClean="0">
                <a:solidFill>
                  <a:srgbClr val="C00000"/>
                </a:solidFill>
              </a:rPr>
              <a:t>!</a:t>
            </a:r>
            <a:endParaRPr lang="ru-RU" sz="6000" dirty="0">
              <a:solidFill>
                <a:srgbClr val="C00000"/>
              </a:solidFill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1862"/>
            <a:ext cx="12191999" cy="6684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беспечения финансовой устойчивости Национального оператора необходимо повысить оптовые цены на газ без существенного повышения розничных цен для населения </a:t>
            </a:r>
          </a:p>
        </p:txBody>
      </p:sp>
    </p:spTree>
    <p:extLst>
      <p:ext uri="{BB962C8B-B14F-4D97-AF65-F5344CB8AC3E}">
        <p14:creationId xmlns:p14="http://schemas.microsoft.com/office/powerpoint/2010/main" val="243412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4094" y="588937"/>
            <a:ext cx="9699420" cy="5747654"/>
          </a:xfrm>
          <a:prstGeom prst="rect">
            <a:avLst/>
          </a:prstGeom>
          <a:solidFill>
            <a:srgbClr val="00B050"/>
          </a:solidFill>
          <a:ln>
            <a:solidFill>
              <a:srgbClr val="626262"/>
            </a:solidFill>
          </a:ln>
        </p:spPr>
      </p:pic>
      <p:cxnSp>
        <p:nvCxnSpPr>
          <p:cNvPr id="5" name="Прямая соединительная линия 4"/>
          <p:cNvCxnSpPr/>
          <p:nvPr/>
        </p:nvCxnSpPr>
        <p:spPr>
          <a:xfrm flipH="1">
            <a:off x="4298526" y="3082221"/>
            <a:ext cx="64161" cy="41373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 flipH="1">
            <a:off x="4274557" y="3082221"/>
            <a:ext cx="64161" cy="41373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H="1">
            <a:off x="4373749" y="2823365"/>
            <a:ext cx="32081" cy="17257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4351810" y="2823365"/>
            <a:ext cx="24890" cy="17257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4389791" y="2356535"/>
            <a:ext cx="56970" cy="38054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4418276" y="2356535"/>
            <a:ext cx="56970" cy="38054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вал 23"/>
          <p:cNvSpPr/>
          <p:nvPr/>
        </p:nvSpPr>
        <p:spPr>
          <a:xfrm>
            <a:off x="4310970" y="2995936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4238236" y="3495952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H="1">
            <a:off x="5659188" y="3383116"/>
            <a:ext cx="595889" cy="788373"/>
          </a:xfrm>
          <a:prstGeom prst="line">
            <a:avLst/>
          </a:prstGeom>
          <a:ln w="285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H="1">
            <a:off x="6297032" y="2626589"/>
            <a:ext cx="1062774" cy="722895"/>
          </a:xfrm>
          <a:prstGeom prst="line">
            <a:avLst/>
          </a:prstGeom>
          <a:ln w="285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H="1" flipV="1">
            <a:off x="7080251" y="2167071"/>
            <a:ext cx="289082" cy="412001"/>
          </a:xfrm>
          <a:prstGeom prst="line">
            <a:avLst/>
          </a:prstGeom>
          <a:ln w="285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716066" y="2984688"/>
            <a:ext cx="214055" cy="30661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2705277" y="2995936"/>
            <a:ext cx="214055" cy="30661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2694488" y="3007182"/>
            <a:ext cx="214055" cy="30661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683981" y="3018429"/>
            <a:ext cx="214055" cy="306610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675796" y="3032441"/>
            <a:ext cx="214055" cy="306610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2416738" y="2591056"/>
            <a:ext cx="272907" cy="38847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2431450" y="2585801"/>
            <a:ext cx="272907" cy="38847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2397041" y="2594098"/>
            <a:ext cx="272907" cy="38847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2411754" y="2586631"/>
            <a:ext cx="272907" cy="38847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2386076" y="2629128"/>
            <a:ext cx="272907" cy="388471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>
            <a:off x="2394060" y="2612258"/>
            <a:ext cx="272907" cy="388471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2013097" y="1914595"/>
            <a:ext cx="23438" cy="11529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2174565" y="2229317"/>
            <a:ext cx="241295" cy="33472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2168250" y="2244345"/>
            <a:ext cx="241295" cy="33472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2154624" y="2252779"/>
            <a:ext cx="241295" cy="33472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140861" y="2259372"/>
            <a:ext cx="241295" cy="33472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2125379" y="2265965"/>
            <a:ext cx="241295" cy="33472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1995356" y="2010559"/>
            <a:ext cx="179208" cy="21792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1980155" y="2018834"/>
            <a:ext cx="179208" cy="21792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1960529" y="2018834"/>
            <a:ext cx="179208" cy="21792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1947548" y="2025426"/>
            <a:ext cx="179208" cy="21792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1934192" y="2032020"/>
            <a:ext cx="179208" cy="21792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 flipH="1">
            <a:off x="2261509" y="3008290"/>
            <a:ext cx="400833" cy="12970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 flipH="1">
            <a:off x="1760265" y="3190169"/>
            <a:ext cx="214232" cy="2793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Овал 97"/>
          <p:cNvSpPr/>
          <p:nvPr/>
        </p:nvSpPr>
        <p:spPr>
          <a:xfrm>
            <a:off x="1954555" y="3160488"/>
            <a:ext cx="57107" cy="56879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Овал 98"/>
          <p:cNvSpPr/>
          <p:nvPr/>
        </p:nvSpPr>
        <p:spPr>
          <a:xfrm>
            <a:off x="1715637" y="3185746"/>
            <a:ext cx="57107" cy="56879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Овал 99"/>
          <p:cNvSpPr/>
          <p:nvPr/>
        </p:nvSpPr>
        <p:spPr>
          <a:xfrm>
            <a:off x="2354681" y="2552018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Овал 100"/>
          <p:cNvSpPr/>
          <p:nvPr/>
        </p:nvSpPr>
        <p:spPr>
          <a:xfrm>
            <a:off x="2105485" y="2206641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>
            <a:off x="2939973" y="3305035"/>
            <a:ext cx="152763" cy="26835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>
            <a:off x="2932882" y="3325040"/>
            <a:ext cx="152763" cy="26835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>
            <a:off x="2920273" y="3334075"/>
            <a:ext cx="152763" cy="26835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>
            <a:off x="2907717" y="3341448"/>
            <a:ext cx="152763" cy="268353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2893384" y="3349516"/>
            <a:ext cx="152763" cy="268353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Овал 107"/>
          <p:cNvSpPr/>
          <p:nvPr/>
        </p:nvSpPr>
        <p:spPr>
          <a:xfrm>
            <a:off x="2861412" y="3264380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>
            <a:off x="3106067" y="3598740"/>
            <a:ext cx="170304" cy="302092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/>
        </p:nvCxnSpPr>
        <p:spPr>
          <a:xfrm>
            <a:off x="3093417" y="3607589"/>
            <a:ext cx="170304" cy="302092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/>
        </p:nvCxnSpPr>
        <p:spPr>
          <a:xfrm>
            <a:off x="3082355" y="3620865"/>
            <a:ext cx="170304" cy="302092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/>
          <p:cNvCxnSpPr/>
          <p:nvPr/>
        </p:nvCxnSpPr>
        <p:spPr>
          <a:xfrm>
            <a:off x="3069251" y="3626212"/>
            <a:ext cx="170304" cy="302092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3056148" y="3635200"/>
            <a:ext cx="170304" cy="302092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3282228" y="3918533"/>
            <a:ext cx="133527" cy="3053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>
            <a:off x="3266913" y="3922958"/>
            <a:ext cx="133527" cy="3053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3251597" y="3927382"/>
            <a:ext cx="133527" cy="3053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>
          <a:xfrm>
            <a:off x="3235394" y="3925170"/>
            <a:ext cx="133527" cy="30531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3220651" y="3929597"/>
            <a:ext cx="133527" cy="30531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Овал 122"/>
          <p:cNvSpPr/>
          <p:nvPr/>
        </p:nvSpPr>
        <p:spPr>
          <a:xfrm>
            <a:off x="3029057" y="3558824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5" name="Прямая соединительная линия 124"/>
          <p:cNvCxnSpPr/>
          <p:nvPr/>
        </p:nvCxnSpPr>
        <p:spPr>
          <a:xfrm flipH="1">
            <a:off x="2883215" y="3945260"/>
            <a:ext cx="336076" cy="20460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/>
          <p:cNvCxnSpPr/>
          <p:nvPr/>
        </p:nvCxnSpPr>
        <p:spPr>
          <a:xfrm flipH="1">
            <a:off x="2394059" y="4171488"/>
            <a:ext cx="464556" cy="530639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единительная линия 131"/>
          <p:cNvCxnSpPr/>
          <p:nvPr/>
        </p:nvCxnSpPr>
        <p:spPr>
          <a:xfrm flipH="1">
            <a:off x="2105485" y="4702126"/>
            <a:ext cx="288357" cy="594765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Овал 134"/>
          <p:cNvSpPr/>
          <p:nvPr/>
        </p:nvSpPr>
        <p:spPr>
          <a:xfrm>
            <a:off x="2841587" y="4123736"/>
            <a:ext cx="64972" cy="57339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 flipH="1">
            <a:off x="3920300" y="3508255"/>
            <a:ext cx="375480" cy="62723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 flipH="1">
            <a:off x="3898947" y="3544256"/>
            <a:ext cx="347178" cy="57948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 flipH="1">
            <a:off x="1974497" y="1851775"/>
            <a:ext cx="268415" cy="7114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единительная линия 149"/>
          <p:cNvCxnSpPr/>
          <p:nvPr/>
        </p:nvCxnSpPr>
        <p:spPr>
          <a:xfrm flipH="1">
            <a:off x="1974768" y="1832224"/>
            <a:ext cx="277892" cy="7219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единительная линия 152"/>
          <p:cNvCxnSpPr/>
          <p:nvPr/>
        </p:nvCxnSpPr>
        <p:spPr>
          <a:xfrm flipH="1">
            <a:off x="2257085" y="1735805"/>
            <a:ext cx="369253" cy="9570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/>
          <p:cNvCxnSpPr/>
          <p:nvPr/>
        </p:nvCxnSpPr>
        <p:spPr>
          <a:xfrm flipH="1">
            <a:off x="2257085" y="1753727"/>
            <a:ext cx="369253" cy="9570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 flipH="1">
            <a:off x="2541038" y="1661751"/>
            <a:ext cx="369253" cy="9570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158"/>
          <p:cNvCxnSpPr/>
          <p:nvPr/>
        </p:nvCxnSpPr>
        <p:spPr>
          <a:xfrm flipH="1">
            <a:off x="2543251" y="1679673"/>
            <a:ext cx="369253" cy="9570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Овал 159"/>
          <p:cNvSpPr/>
          <p:nvPr/>
        </p:nvSpPr>
        <p:spPr>
          <a:xfrm>
            <a:off x="2186009" y="1804251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Овал 160"/>
          <p:cNvSpPr/>
          <p:nvPr/>
        </p:nvSpPr>
        <p:spPr>
          <a:xfrm>
            <a:off x="2588127" y="1702056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3" name="Прямая соединительная линия 162"/>
          <p:cNvCxnSpPr/>
          <p:nvPr/>
        </p:nvCxnSpPr>
        <p:spPr>
          <a:xfrm>
            <a:off x="8303076" y="5093643"/>
            <a:ext cx="380542" cy="3288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/>
          <p:cNvCxnSpPr/>
          <p:nvPr/>
        </p:nvCxnSpPr>
        <p:spPr>
          <a:xfrm flipV="1">
            <a:off x="6024025" y="5803546"/>
            <a:ext cx="363062" cy="13385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/>
          <p:cNvCxnSpPr/>
          <p:nvPr/>
        </p:nvCxnSpPr>
        <p:spPr>
          <a:xfrm>
            <a:off x="6387087" y="5803546"/>
            <a:ext cx="37612" cy="442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/>
          <p:nvPr/>
        </p:nvCxnSpPr>
        <p:spPr>
          <a:xfrm flipV="1">
            <a:off x="6423407" y="5593361"/>
            <a:ext cx="326742" cy="21460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Прямая соединительная линия 178"/>
          <p:cNvCxnSpPr/>
          <p:nvPr/>
        </p:nvCxnSpPr>
        <p:spPr>
          <a:xfrm flipV="1">
            <a:off x="6423408" y="6097803"/>
            <a:ext cx="78727" cy="6463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/>
          <p:cNvCxnSpPr/>
          <p:nvPr/>
        </p:nvCxnSpPr>
        <p:spPr>
          <a:xfrm flipV="1">
            <a:off x="6438895" y="6113290"/>
            <a:ext cx="78727" cy="6463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Овал 92"/>
          <p:cNvSpPr/>
          <p:nvPr/>
        </p:nvSpPr>
        <p:spPr>
          <a:xfrm>
            <a:off x="5586328" y="4159185"/>
            <a:ext cx="85457" cy="81861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 flipV="1">
            <a:off x="6502135" y="6082314"/>
            <a:ext cx="84644" cy="1793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 flipV="1">
            <a:off x="6507573" y="6084040"/>
            <a:ext cx="114771" cy="3538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 flipH="1" flipV="1">
            <a:off x="6592678" y="6036030"/>
            <a:ext cx="21341" cy="539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 flipH="1" flipV="1">
            <a:off x="6568387" y="6030095"/>
            <a:ext cx="21341" cy="539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 flipV="1">
            <a:off x="6567494" y="5884235"/>
            <a:ext cx="122700" cy="14647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/>
        </p:nvCxnSpPr>
        <p:spPr>
          <a:xfrm flipV="1">
            <a:off x="6589192" y="5891595"/>
            <a:ext cx="122700" cy="14647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/>
        </p:nvCxnSpPr>
        <p:spPr>
          <a:xfrm>
            <a:off x="6957154" y="5480371"/>
            <a:ext cx="123908" cy="2079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/>
          <p:nvPr/>
        </p:nvCxnSpPr>
        <p:spPr>
          <a:xfrm>
            <a:off x="6949030" y="5461713"/>
            <a:ext cx="131221" cy="1785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единительная линия 143"/>
          <p:cNvCxnSpPr/>
          <p:nvPr/>
        </p:nvCxnSpPr>
        <p:spPr>
          <a:xfrm flipV="1">
            <a:off x="7080252" y="5436277"/>
            <a:ext cx="78983" cy="46241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 flipV="1">
            <a:off x="7080252" y="5458684"/>
            <a:ext cx="78983" cy="46241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>
            <a:off x="7159235" y="5460111"/>
            <a:ext cx="83577" cy="1945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/>
          <p:cNvCxnSpPr/>
          <p:nvPr/>
        </p:nvCxnSpPr>
        <p:spPr>
          <a:xfrm>
            <a:off x="7154530" y="5439942"/>
            <a:ext cx="83577" cy="1945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единительная линия 148"/>
          <p:cNvCxnSpPr/>
          <p:nvPr/>
        </p:nvCxnSpPr>
        <p:spPr>
          <a:xfrm flipV="1">
            <a:off x="7238923" y="5414585"/>
            <a:ext cx="50722" cy="40343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единительная линия 150"/>
          <p:cNvCxnSpPr/>
          <p:nvPr/>
        </p:nvCxnSpPr>
        <p:spPr>
          <a:xfrm flipV="1">
            <a:off x="7240867" y="5435540"/>
            <a:ext cx="57015" cy="3729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/>
          <p:cNvCxnSpPr/>
          <p:nvPr/>
        </p:nvCxnSpPr>
        <p:spPr>
          <a:xfrm flipV="1">
            <a:off x="7340094" y="5296892"/>
            <a:ext cx="39421" cy="6686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единительная линия 153"/>
          <p:cNvCxnSpPr/>
          <p:nvPr/>
        </p:nvCxnSpPr>
        <p:spPr>
          <a:xfrm flipV="1">
            <a:off x="7305319" y="5272466"/>
            <a:ext cx="64014" cy="10354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единительная линия 154"/>
          <p:cNvCxnSpPr/>
          <p:nvPr/>
        </p:nvCxnSpPr>
        <p:spPr>
          <a:xfrm>
            <a:off x="7369334" y="5272466"/>
            <a:ext cx="146844" cy="12577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/>
          <p:cNvCxnSpPr/>
          <p:nvPr/>
        </p:nvCxnSpPr>
        <p:spPr>
          <a:xfrm>
            <a:off x="7376431" y="5295353"/>
            <a:ext cx="146844" cy="12577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единительная линия 161"/>
          <p:cNvCxnSpPr/>
          <p:nvPr/>
        </p:nvCxnSpPr>
        <p:spPr>
          <a:xfrm>
            <a:off x="7530166" y="5308603"/>
            <a:ext cx="371138" cy="3695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>
          <a:xfrm>
            <a:off x="7530166" y="5292741"/>
            <a:ext cx="371138" cy="3433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>
          <a:xfrm flipV="1">
            <a:off x="7901304" y="5265319"/>
            <a:ext cx="243212" cy="56783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единительная линия 165"/>
          <p:cNvCxnSpPr/>
          <p:nvPr/>
        </p:nvCxnSpPr>
        <p:spPr>
          <a:xfrm flipV="1">
            <a:off x="7901303" y="5285044"/>
            <a:ext cx="243212" cy="60517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единительная линия 166"/>
          <p:cNvCxnSpPr/>
          <p:nvPr/>
        </p:nvCxnSpPr>
        <p:spPr>
          <a:xfrm flipV="1">
            <a:off x="8144516" y="5222985"/>
            <a:ext cx="58999" cy="67545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 flipV="1">
            <a:off x="8145990" y="5212961"/>
            <a:ext cx="35400" cy="53993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единительная линия 169"/>
          <p:cNvCxnSpPr/>
          <p:nvPr/>
        </p:nvCxnSpPr>
        <p:spPr>
          <a:xfrm flipV="1">
            <a:off x="7291367" y="5363496"/>
            <a:ext cx="45961" cy="78845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/>
          <p:cNvCxnSpPr/>
          <p:nvPr/>
        </p:nvCxnSpPr>
        <p:spPr>
          <a:xfrm flipV="1">
            <a:off x="7286604" y="5374411"/>
            <a:ext cx="25361" cy="40722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единительная линия 171"/>
          <p:cNvCxnSpPr/>
          <p:nvPr/>
        </p:nvCxnSpPr>
        <p:spPr>
          <a:xfrm flipV="1">
            <a:off x="8179177" y="5071221"/>
            <a:ext cx="110624" cy="14823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/>
          <p:cNvCxnSpPr/>
          <p:nvPr/>
        </p:nvCxnSpPr>
        <p:spPr>
          <a:xfrm flipV="1">
            <a:off x="8194665" y="5087006"/>
            <a:ext cx="108411" cy="14823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/>
          <p:cNvCxnSpPr/>
          <p:nvPr/>
        </p:nvCxnSpPr>
        <p:spPr>
          <a:xfrm>
            <a:off x="8289801" y="5073433"/>
            <a:ext cx="380542" cy="3288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единительная линия 175"/>
          <p:cNvCxnSpPr/>
          <p:nvPr/>
        </p:nvCxnSpPr>
        <p:spPr>
          <a:xfrm flipV="1">
            <a:off x="8670343" y="5060457"/>
            <a:ext cx="77437" cy="4616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единительная линия 177"/>
          <p:cNvCxnSpPr/>
          <p:nvPr/>
        </p:nvCxnSpPr>
        <p:spPr>
          <a:xfrm flipV="1">
            <a:off x="8682512" y="5080369"/>
            <a:ext cx="77437" cy="4616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/>
          <p:cNvCxnSpPr/>
          <p:nvPr/>
        </p:nvCxnSpPr>
        <p:spPr>
          <a:xfrm>
            <a:off x="4935438" y="1329061"/>
            <a:ext cx="371970" cy="8054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/>
          <p:cNvCxnSpPr/>
          <p:nvPr/>
        </p:nvCxnSpPr>
        <p:spPr>
          <a:xfrm>
            <a:off x="5364656" y="1421985"/>
            <a:ext cx="75499" cy="1416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/>
        </p:nvCxnSpPr>
        <p:spPr>
          <a:xfrm flipV="1">
            <a:off x="5468640" y="1409603"/>
            <a:ext cx="250283" cy="2655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Овал 183"/>
          <p:cNvSpPr/>
          <p:nvPr/>
        </p:nvSpPr>
        <p:spPr>
          <a:xfrm>
            <a:off x="5422386" y="1421237"/>
            <a:ext cx="46254" cy="4690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Овал 184"/>
          <p:cNvSpPr/>
          <p:nvPr/>
        </p:nvSpPr>
        <p:spPr>
          <a:xfrm>
            <a:off x="5701156" y="1380173"/>
            <a:ext cx="46254" cy="4690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Овал 185"/>
          <p:cNvSpPr/>
          <p:nvPr/>
        </p:nvSpPr>
        <p:spPr>
          <a:xfrm>
            <a:off x="4238236" y="3495952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472261" y="3784495"/>
            <a:ext cx="734390" cy="206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43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 Устюрт 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4695047" y="3512266"/>
            <a:ext cx="581754" cy="206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4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 Арал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4679616" y="3811085"/>
            <a:ext cx="817690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4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 </a:t>
            </a:r>
            <a:r>
              <a:rPr lang="ru-RU" sz="743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кыт-ата</a:t>
            </a:r>
            <a:endParaRPr lang="ru-RU" sz="743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Овал 195"/>
          <p:cNvSpPr/>
          <p:nvPr/>
        </p:nvSpPr>
        <p:spPr>
          <a:xfrm>
            <a:off x="7446184" y="5248464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6329347" y="3354254"/>
            <a:ext cx="636910" cy="194741"/>
          </a:xfrm>
          <a:prstGeom prst="rect">
            <a:avLst/>
          </a:prstGeom>
          <a:solidFill>
            <a:srgbClr val="F5F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H="1">
            <a:off x="8212367" y="5006749"/>
            <a:ext cx="33186" cy="159604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Равнобедренный треугольник 10"/>
          <p:cNvSpPr/>
          <p:nvPr/>
        </p:nvSpPr>
        <p:spPr>
          <a:xfrm rot="6249075" flipV="1">
            <a:off x="8210302" y="5051803"/>
            <a:ext cx="42478" cy="42478"/>
          </a:xfrm>
          <a:prstGeom prst="triangle">
            <a:avLst/>
          </a:prstGeom>
          <a:solidFill>
            <a:srgbClr val="FFC0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7" name="Прямая соединительная линия 196"/>
          <p:cNvCxnSpPr/>
          <p:nvPr/>
        </p:nvCxnSpPr>
        <p:spPr>
          <a:xfrm flipH="1">
            <a:off x="7194933" y="5255330"/>
            <a:ext cx="45600" cy="196552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Равнобедренный треугольник 197"/>
          <p:cNvSpPr/>
          <p:nvPr/>
        </p:nvSpPr>
        <p:spPr>
          <a:xfrm rot="6158057">
            <a:off x="7201569" y="5327801"/>
            <a:ext cx="42478" cy="42478"/>
          </a:xfrm>
          <a:prstGeom prst="triangle">
            <a:avLst/>
          </a:prstGeom>
          <a:solidFill>
            <a:srgbClr val="FFC0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9" name="Прямая соединительная линия 198"/>
          <p:cNvCxnSpPr/>
          <p:nvPr/>
        </p:nvCxnSpPr>
        <p:spPr>
          <a:xfrm>
            <a:off x="6642585" y="5599422"/>
            <a:ext cx="23003" cy="42568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Box 202"/>
          <p:cNvSpPr txBox="1"/>
          <p:nvPr/>
        </p:nvSpPr>
        <p:spPr>
          <a:xfrm>
            <a:off x="8485754" y="5088404"/>
            <a:ext cx="325969" cy="235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6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-04</a:t>
            </a:r>
            <a:endParaRPr lang="ru-RU" sz="464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6793994" y="5546901"/>
            <a:ext cx="95321" cy="303107"/>
          </a:xfrm>
          <a:custGeom>
            <a:avLst/>
            <a:gdLst>
              <a:gd name="connsiteX0" fmla="*/ 102593 w 102593"/>
              <a:gd name="connsiteY0" fmla="*/ 0 h 326231"/>
              <a:gd name="connsiteX1" fmla="*/ 90686 w 102593"/>
              <a:gd name="connsiteY1" fmla="*/ 11906 h 326231"/>
              <a:gd name="connsiteX2" fmla="*/ 83543 w 102593"/>
              <a:gd name="connsiteY2" fmla="*/ 14287 h 326231"/>
              <a:gd name="connsiteX3" fmla="*/ 90686 w 102593"/>
              <a:gd name="connsiteY3" fmla="*/ 9525 h 326231"/>
              <a:gd name="connsiteX4" fmla="*/ 88305 w 102593"/>
              <a:gd name="connsiteY4" fmla="*/ 23812 h 326231"/>
              <a:gd name="connsiteX5" fmla="*/ 81161 w 102593"/>
              <a:gd name="connsiteY5" fmla="*/ 45243 h 326231"/>
              <a:gd name="connsiteX6" fmla="*/ 78780 w 102593"/>
              <a:gd name="connsiteY6" fmla="*/ 52387 h 326231"/>
              <a:gd name="connsiteX7" fmla="*/ 71636 w 102593"/>
              <a:gd name="connsiteY7" fmla="*/ 85725 h 326231"/>
              <a:gd name="connsiteX8" fmla="*/ 66874 w 102593"/>
              <a:gd name="connsiteY8" fmla="*/ 100012 h 326231"/>
              <a:gd name="connsiteX9" fmla="*/ 64493 w 102593"/>
              <a:gd name="connsiteY9" fmla="*/ 107156 h 326231"/>
              <a:gd name="connsiteX10" fmla="*/ 54968 w 102593"/>
              <a:gd name="connsiteY10" fmla="*/ 121443 h 326231"/>
              <a:gd name="connsiteX11" fmla="*/ 47824 w 102593"/>
              <a:gd name="connsiteY11" fmla="*/ 145256 h 326231"/>
              <a:gd name="connsiteX12" fmla="*/ 45443 w 102593"/>
              <a:gd name="connsiteY12" fmla="*/ 152400 h 326231"/>
              <a:gd name="connsiteX13" fmla="*/ 43061 w 102593"/>
              <a:gd name="connsiteY13" fmla="*/ 166687 h 326231"/>
              <a:gd name="connsiteX14" fmla="*/ 40680 w 102593"/>
              <a:gd name="connsiteY14" fmla="*/ 178593 h 326231"/>
              <a:gd name="connsiteX15" fmla="*/ 38299 w 102593"/>
              <a:gd name="connsiteY15" fmla="*/ 188118 h 326231"/>
              <a:gd name="connsiteX16" fmla="*/ 33536 w 102593"/>
              <a:gd name="connsiteY16" fmla="*/ 219075 h 326231"/>
              <a:gd name="connsiteX17" fmla="*/ 31155 w 102593"/>
              <a:gd name="connsiteY17" fmla="*/ 230981 h 326231"/>
              <a:gd name="connsiteX18" fmla="*/ 24011 w 102593"/>
              <a:gd name="connsiteY18" fmla="*/ 252412 h 326231"/>
              <a:gd name="connsiteX19" fmla="*/ 21630 w 102593"/>
              <a:gd name="connsiteY19" fmla="*/ 259556 h 326231"/>
              <a:gd name="connsiteX20" fmla="*/ 19249 w 102593"/>
              <a:gd name="connsiteY20" fmla="*/ 266700 h 326231"/>
              <a:gd name="connsiteX21" fmla="*/ 9724 w 102593"/>
              <a:gd name="connsiteY21" fmla="*/ 280987 h 326231"/>
              <a:gd name="connsiteX22" fmla="*/ 4961 w 102593"/>
              <a:gd name="connsiteY22" fmla="*/ 300037 h 326231"/>
              <a:gd name="connsiteX23" fmla="*/ 2580 w 102593"/>
              <a:gd name="connsiteY23" fmla="*/ 309562 h 326231"/>
              <a:gd name="connsiteX24" fmla="*/ 199 w 102593"/>
              <a:gd name="connsiteY24" fmla="*/ 316706 h 326231"/>
              <a:gd name="connsiteX25" fmla="*/ 199 w 102593"/>
              <a:gd name="connsiteY25" fmla="*/ 326231 h 326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02593" h="326231">
                <a:moveTo>
                  <a:pt x="102593" y="0"/>
                </a:moveTo>
                <a:cubicBezTo>
                  <a:pt x="98624" y="3969"/>
                  <a:pt x="95176" y="8538"/>
                  <a:pt x="90686" y="11906"/>
                </a:cubicBezTo>
                <a:cubicBezTo>
                  <a:pt x="88678" y="13412"/>
                  <a:pt x="83543" y="16797"/>
                  <a:pt x="83543" y="14287"/>
                </a:cubicBezTo>
                <a:cubicBezTo>
                  <a:pt x="83543" y="11425"/>
                  <a:pt x="88305" y="11112"/>
                  <a:pt x="90686" y="9525"/>
                </a:cubicBezTo>
                <a:cubicBezTo>
                  <a:pt x="89892" y="14287"/>
                  <a:pt x="89476" y="19128"/>
                  <a:pt x="88305" y="23812"/>
                </a:cubicBezTo>
                <a:cubicBezTo>
                  <a:pt x="88294" y="23857"/>
                  <a:pt x="82359" y="41649"/>
                  <a:pt x="81161" y="45243"/>
                </a:cubicBezTo>
                <a:cubicBezTo>
                  <a:pt x="80367" y="47624"/>
                  <a:pt x="79272" y="49926"/>
                  <a:pt x="78780" y="52387"/>
                </a:cubicBezTo>
                <a:cubicBezTo>
                  <a:pt x="77667" y="57954"/>
                  <a:pt x="74247" y="77022"/>
                  <a:pt x="71636" y="85725"/>
                </a:cubicBezTo>
                <a:cubicBezTo>
                  <a:pt x="70193" y="90533"/>
                  <a:pt x="68461" y="95250"/>
                  <a:pt x="66874" y="100012"/>
                </a:cubicBezTo>
                <a:cubicBezTo>
                  <a:pt x="66080" y="102393"/>
                  <a:pt x="65885" y="105067"/>
                  <a:pt x="64493" y="107156"/>
                </a:cubicBezTo>
                <a:cubicBezTo>
                  <a:pt x="61318" y="111918"/>
                  <a:pt x="56778" y="116013"/>
                  <a:pt x="54968" y="121443"/>
                </a:cubicBezTo>
                <a:cubicBezTo>
                  <a:pt x="43657" y="155374"/>
                  <a:pt x="55016" y="120079"/>
                  <a:pt x="47824" y="145256"/>
                </a:cubicBezTo>
                <a:cubicBezTo>
                  <a:pt x="47134" y="147670"/>
                  <a:pt x="45988" y="149950"/>
                  <a:pt x="45443" y="152400"/>
                </a:cubicBezTo>
                <a:cubicBezTo>
                  <a:pt x="44396" y="157113"/>
                  <a:pt x="43925" y="161937"/>
                  <a:pt x="43061" y="166687"/>
                </a:cubicBezTo>
                <a:cubicBezTo>
                  <a:pt x="42337" y="170669"/>
                  <a:pt x="41558" y="174642"/>
                  <a:pt x="40680" y="178593"/>
                </a:cubicBezTo>
                <a:cubicBezTo>
                  <a:pt x="39970" y="181788"/>
                  <a:pt x="38941" y="184909"/>
                  <a:pt x="38299" y="188118"/>
                </a:cubicBezTo>
                <a:cubicBezTo>
                  <a:pt x="35668" y="201276"/>
                  <a:pt x="35819" y="205376"/>
                  <a:pt x="33536" y="219075"/>
                </a:cubicBezTo>
                <a:cubicBezTo>
                  <a:pt x="32871" y="223067"/>
                  <a:pt x="32220" y="227076"/>
                  <a:pt x="31155" y="230981"/>
                </a:cubicBezTo>
                <a:cubicBezTo>
                  <a:pt x="31144" y="231021"/>
                  <a:pt x="25208" y="248821"/>
                  <a:pt x="24011" y="252412"/>
                </a:cubicBezTo>
                <a:lnTo>
                  <a:pt x="21630" y="259556"/>
                </a:lnTo>
                <a:cubicBezTo>
                  <a:pt x="20836" y="261937"/>
                  <a:pt x="20641" y="264611"/>
                  <a:pt x="19249" y="266700"/>
                </a:cubicBezTo>
                <a:lnTo>
                  <a:pt x="9724" y="280987"/>
                </a:lnTo>
                <a:lnTo>
                  <a:pt x="4961" y="300037"/>
                </a:lnTo>
                <a:cubicBezTo>
                  <a:pt x="4167" y="303212"/>
                  <a:pt x="3615" y="306457"/>
                  <a:pt x="2580" y="309562"/>
                </a:cubicBezTo>
                <a:cubicBezTo>
                  <a:pt x="1786" y="311943"/>
                  <a:pt x="554" y="314221"/>
                  <a:pt x="199" y="316706"/>
                </a:cubicBezTo>
                <a:cubicBezTo>
                  <a:pt x="-250" y="319849"/>
                  <a:pt x="199" y="323056"/>
                  <a:pt x="199" y="326231"/>
                </a:cubicBezTo>
              </a:path>
            </a:pathLst>
          </a:custGeom>
          <a:noFill/>
          <a:ln>
            <a:solidFill>
              <a:srgbClr val="F5F5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6789753" y="5511501"/>
            <a:ext cx="106198" cy="321416"/>
          </a:xfrm>
          <a:custGeom>
            <a:avLst/>
            <a:gdLst>
              <a:gd name="connsiteX0" fmla="*/ 114300 w 114300"/>
              <a:gd name="connsiteY0" fmla="*/ 52387 h 345938"/>
              <a:gd name="connsiteX1" fmla="*/ 100013 w 114300"/>
              <a:gd name="connsiteY1" fmla="*/ 33337 h 345938"/>
              <a:gd name="connsiteX2" fmla="*/ 97632 w 114300"/>
              <a:gd name="connsiteY2" fmla="*/ 26193 h 345938"/>
              <a:gd name="connsiteX3" fmla="*/ 104775 w 114300"/>
              <a:gd name="connsiteY3" fmla="*/ 33337 h 345938"/>
              <a:gd name="connsiteX4" fmla="*/ 95250 w 114300"/>
              <a:gd name="connsiteY4" fmla="*/ 73818 h 345938"/>
              <a:gd name="connsiteX5" fmla="*/ 90488 w 114300"/>
              <a:gd name="connsiteY5" fmla="*/ 90487 h 345938"/>
              <a:gd name="connsiteX6" fmla="*/ 85725 w 114300"/>
              <a:gd name="connsiteY6" fmla="*/ 104775 h 345938"/>
              <a:gd name="connsiteX7" fmla="*/ 80963 w 114300"/>
              <a:gd name="connsiteY7" fmla="*/ 111918 h 345938"/>
              <a:gd name="connsiteX8" fmla="*/ 73819 w 114300"/>
              <a:gd name="connsiteY8" fmla="*/ 114300 h 345938"/>
              <a:gd name="connsiteX9" fmla="*/ 69057 w 114300"/>
              <a:gd name="connsiteY9" fmla="*/ 121443 h 345938"/>
              <a:gd name="connsiteX10" fmla="*/ 64294 w 114300"/>
              <a:gd name="connsiteY10" fmla="*/ 145256 h 345938"/>
              <a:gd name="connsiteX11" fmla="*/ 61913 w 114300"/>
              <a:gd name="connsiteY11" fmla="*/ 164306 h 345938"/>
              <a:gd name="connsiteX12" fmla="*/ 59532 w 114300"/>
              <a:gd name="connsiteY12" fmla="*/ 173831 h 345938"/>
              <a:gd name="connsiteX13" fmla="*/ 57150 w 114300"/>
              <a:gd name="connsiteY13" fmla="*/ 190500 h 345938"/>
              <a:gd name="connsiteX14" fmla="*/ 54769 w 114300"/>
              <a:gd name="connsiteY14" fmla="*/ 202406 h 345938"/>
              <a:gd name="connsiteX15" fmla="*/ 52388 w 114300"/>
              <a:gd name="connsiteY15" fmla="*/ 216693 h 345938"/>
              <a:gd name="connsiteX16" fmla="*/ 47625 w 114300"/>
              <a:gd name="connsiteY16" fmla="*/ 230981 h 345938"/>
              <a:gd name="connsiteX17" fmla="*/ 40482 w 114300"/>
              <a:gd name="connsiteY17" fmla="*/ 252412 h 345938"/>
              <a:gd name="connsiteX18" fmla="*/ 38100 w 114300"/>
              <a:gd name="connsiteY18" fmla="*/ 259556 h 345938"/>
              <a:gd name="connsiteX19" fmla="*/ 30957 w 114300"/>
              <a:gd name="connsiteY19" fmla="*/ 264318 h 345938"/>
              <a:gd name="connsiteX20" fmla="*/ 33338 w 114300"/>
              <a:gd name="connsiteY20" fmla="*/ 238125 h 345938"/>
              <a:gd name="connsiteX21" fmla="*/ 30957 w 114300"/>
              <a:gd name="connsiteY21" fmla="*/ 269081 h 345938"/>
              <a:gd name="connsiteX22" fmla="*/ 23813 w 114300"/>
              <a:gd name="connsiteY22" fmla="*/ 285750 h 345938"/>
              <a:gd name="connsiteX23" fmla="*/ 19050 w 114300"/>
              <a:gd name="connsiteY23" fmla="*/ 300037 h 345938"/>
              <a:gd name="connsiteX24" fmla="*/ 11907 w 114300"/>
              <a:gd name="connsiteY24" fmla="*/ 314325 h 345938"/>
              <a:gd name="connsiteX25" fmla="*/ 14288 w 114300"/>
              <a:gd name="connsiteY25" fmla="*/ 338137 h 345938"/>
              <a:gd name="connsiteX26" fmla="*/ 19050 w 114300"/>
              <a:gd name="connsiteY26" fmla="*/ 345281 h 345938"/>
              <a:gd name="connsiteX27" fmla="*/ 16669 w 114300"/>
              <a:gd name="connsiteY27" fmla="*/ 290512 h 345938"/>
              <a:gd name="connsiteX28" fmla="*/ 11907 w 114300"/>
              <a:gd name="connsiteY28" fmla="*/ 276225 h 345938"/>
              <a:gd name="connsiteX29" fmla="*/ 9525 w 114300"/>
              <a:gd name="connsiteY29" fmla="*/ 269081 h 345938"/>
              <a:gd name="connsiteX30" fmla="*/ 14288 w 114300"/>
              <a:gd name="connsiteY30" fmla="*/ 242887 h 345938"/>
              <a:gd name="connsiteX31" fmla="*/ 23813 w 114300"/>
              <a:gd name="connsiteY31" fmla="*/ 228600 h 345938"/>
              <a:gd name="connsiteX32" fmla="*/ 28575 w 114300"/>
              <a:gd name="connsiteY32" fmla="*/ 214312 h 345938"/>
              <a:gd name="connsiteX33" fmla="*/ 23813 w 114300"/>
              <a:gd name="connsiteY33" fmla="*/ 221456 h 345938"/>
              <a:gd name="connsiteX34" fmla="*/ 21432 w 114300"/>
              <a:gd name="connsiteY34" fmla="*/ 228600 h 345938"/>
              <a:gd name="connsiteX35" fmla="*/ 30957 w 114300"/>
              <a:gd name="connsiteY35" fmla="*/ 214312 h 345938"/>
              <a:gd name="connsiteX36" fmla="*/ 33338 w 114300"/>
              <a:gd name="connsiteY36" fmla="*/ 200025 h 345938"/>
              <a:gd name="connsiteX37" fmla="*/ 38100 w 114300"/>
              <a:gd name="connsiteY37" fmla="*/ 180975 h 345938"/>
              <a:gd name="connsiteX38" fmla="*/ 35719 w 114300"/>
              <a:gd name="connsiteY38" fmla="*/ 188118 h 345938"/>
              <a:gd name="connsiteX39" fmla="*/ 30957 w 114300"/>
              <a:gd name="connsiteY39" fmla="*/ 195262 h 345938"/>
              <a:gd name="connsiteX40" fmla="*/ 26194 w 114300"/>
              <a:gd name="connsiteY40" fmla="*/ 209550 h 345938"/>
              <a:gd name="connsiteX41" fmla="*/ 23813 w 114300"/>
              <a:gd name="connsiteY41" fmla="*/ 202406 h 345938"/>
              <a:gd name="connsiteX42" fmla="*/ 30957 w 114300"/>
              <a:gd name="connsiteY42" fmla="*/ 183356 h 345938"/>
              <a:gd name="connsiteX43" fmla="*/ 33338 w 114300"/>
              <a:gd name="connsiteY43" fmla="*/ 176212 h 345938"/>
              <a:gd name="connsiteX44" fmla="*/ 45244 w 114300"/>
              <a:gd name="connsiteY44" fmla="*/ 161925 h 345938"/>
              <a:gd name="connsiteX45" fmla="*/ 50007 w 114300"/>
              <a:gd name="connsiteY45" fmla="*/ 147637 h 345938"/>
              <a:gd name="connsiteX46" fmla="*/ 54769 w 114300"/>
              <a:gd name="connsiteY46" fmla="*/ 116681 h 345938"/>
              <a:gd name="connsiteX47" fmla="*/ 64294 w 114300"/>
              <a:gd name="connsiteY47" fmla="*/ 102393 h 345938"/>
              <a:gd name="connsiteX48" fmla="*/ 66675 w 114300"/>
              <a:gd name="connsiteY48" fmla="*/ 95250 h 345938"/>
              <a:gd name="connsiteX49" fmla="*/ 59532 w 114300"/>
              <a:gd name="connsiteY49" fmla="*/ 100012 h 345938"/>
              <a:gd name="connsiteX50" fmla="*/ 52388 w 114300"/>
              <a:gd name="connsiteY50" fmla="*/ 114300 h 345938"/>
              <a:gd name="connsiteX51" fmla="*/ 45244 w 114300"/>
              <a:gd name="connsiteY51" fmla="*/ 128587 h 345938"/>
              <a:gd name="connsiteX52" fmla="*/ 54769 w 114300"/>
              <a:gd name="connsiteY52" fmla="*/ 100012 h 345938"/>
              <a:gd name="connsiteX53" fmla="*/ 57150 w 114300"/>
              <a:gd name="connsiteY53" fmla="*/ 92868 h 345938"/>
              <a:gd name="connsiteX54" fmla="*/ 64294 w 114300"/>
              <a:gd name="connsiteY54" fmla="*/ 88106 h 345938"/>
              <a:gd name="connsiteX55" fmla="*/ 73819 w 114300"/>
              <a:gd name="connsiteY55" fmla="*/ 59531 h 345938"/>
              <a:gd name="connsiteX56" fmla="*/ 78582 w 114300"/>
              <a:gd name="connsiteY56" fmla="*/ 45243 h 345938"/>
              <a:gd name="connsiteX57" fmla="*/ 83344 w 114300"/>
              <a:gd name="connsiteY57" fmla="*/ 38100 h 345938"/>
              <a:gd name="connsiteX58" fmla="*/ 85725 w 114300"/>
              <a:gd name="connsiteY58" fmla="*/ 7143 h 345938"/>
              <a:gd name="connsiteX59" fmla="*/ 76200 w 114300"/>
              <a:gd name="connsiteY59" fmla="*/ 21431 h 345938"/>
              <a:gd name="connsiteX60" fmla="*/ 69057 w 114300"/>
              <a:gd name="connsiteY60" fmla="*/ 35718 h 345938"/>
              <a:gd name="connsiteX61" fmla="*/ 59532 w 114300"/>
              <a:gd name="connsiteY61" fmla="*/ 61912 h 345938"/>
              <a:gd name="connsiteX62" fmla="*/ 64294 w 114300"/>
              <a:gd name="connsiteY62" fmla="*/ 40481 h 345938"/>
              <a:gd name="connsiteX63" fmla="*/ 69057 w 114300"/>
              <a:gd name="connsiteY63" fmla="*/ 33337 h 345938"/>
              <a:gd name="connsiteX64" fmla="*/ 73819 w 114300"/>
              <a:gd name="connsiteY64" fmla="*/ 19050 h 345938"/>
              <a:gd name="connsiteX65" fmla="*/ 76200 w 114300"/>
              <a:gd name="connsiteY65" fmla="*/ 4762 h 345938"/>
              <a:gd name="connsiteX66" fmla="*/ 83344 w 114300"/>
              <a:gd name="connsiteY66" fmla="*/ 0 h 345938"/>
              <a:gd name="connsiteX67" fmla="*/ 88107 w 114300"/>
              <a:gd name="connsiteY67" fmla="*/ 7143 h 345938"/>
              <a:gd name="connsiteX68" fmla="*/ 85725 w 114300"/>
              <a:gd name="connsiteY68" fmla="*/ 16668 h 345938"/>
              <a:gd name="connsiteX69" fmla="*/ 83344 w 114300"/>
              <a:gd name="connsiteY69" fmla="*/ 23812 h 345938"/>
              <a:gd name="connsiteX70" fmla="*/ 73819 w 114300"/>
              <a:gd name="connsiteY70" fmla="*/ 42862 h 345938"/>
              <a:gd name="connsiteX71" fmla="*/ 64294 w 114300"/>
              <a:gd name="connsiteY71" fmla="*/ 64293 h 345938"/>
              <a:gd name="connsiteX72" fmla="*/ 54769 w 114300"/>
              <a:gd name="connsiteY72" fmla="*/ 85725 h 345938"/>
              <a:gd name="connsiteX73" fmla="*/ 45244 w 114300"/>
              <a:gd name="connsiteY73" fmla="*/ 107156 h 345938"/>
              <a:gd name="connsiteX74" fmla="*/ 40482 w 114300"/>
              <a:gd name="connsiteY74" fmla="*/ 126206 h 345938"/>
              <a:gd name="connsiteX75" fmla="*/ 35719 w 114300"/>
              <a:gd name="connsiteY75" fmla="*/ 140493 h 345938"/>
              <a:gd name="connsiteX76" fmla="*/ 33338 w 114300"/>
              <a:gd name="connsiteY76" fmla="*/ 147637 h 345938"/>
              <a:gd name="connsiteX77" fmla="*/ 26194 w 114300"/>
              <a:gd name="connsiteY77" fmla="*/ 171450 h 345938"/>
              <a:gd name="connsiteX78" fmla="*/ 23813 w 114300"/>
              <a:gd name="connsiteY78" fmla="*/ 178593 h 345938"/>
              <a:gd name="connsiteX79" fmla="*/ 16669 w 114300"/>
              <a:gd name="connsiteY79" fmla="*/ 185737 h 345938"/>
              <a:gd name="connsiteX80" fmla="*/ 9525 w 114300"/>
              <a:gd name="connsiteY80" fmla="*/ 207168 h 345938"/>
              <a:gd name="connsiteX81" fmla="*/ 7144 w 114300"/>
              <a:gd name="connsiteY81" fmla="*/ 214312 h 345938"/>
              <a:gd name="connsiteX82" fmla="*/ 9525 w 114300"/>
              <a:gd name="connsiteY82" fmla="*/ 233362 h 345938"/>
              <a:gd name="connsiteX83" fmla="*/ 14288 w 114300"/>
              <a:gd name="connsiteY83" fmla="*/ 247650 h 345938"/>
              <a:gd name="connsiteX84" fmla="*/ 11907 w 114300"/>
              <a:gd name="connsiteY84" fmla="*/ 297656 h 345938"/>
              <a:gd name="connsiteX85" fmla="*/ 7144 w 114300"/>
              <a:gd name="connsiteY85" fmla="*/ 311943 h 345938"/>
              <a:gd name="connsiteX86" fmla="*/ 0 w 114300"/>
              <a:gd name="connsiteY86" fmla="*/ 326231 h 345938"/>
              <a:gd name="connsiteX87" fmla="*/ 2382 w 114300"/>
              <a:gd name="connsiteY87" fmla="*/ 323850 h 34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14300" h="345938">
                <a:moveTo>
                  <a:pt x="114300" y="52387"/>
                </a:moveTo>
                <a:cubicBezTo>
                  <a:pt x="109538" y="46037"/>
                  <a:pt x="104274" y="40034"/>
                  <a:pt x="100013" y="33337"/>
                </a:cubicBezTo>
                <a:cubicBezTo>
                  <a:pt x="98665" y="31219"/>
                  <a:pt x="95122" y="26193"/>
                  <a:pt x="97632" y="26193"/>
                </a:cubicBezTo>
                <a:cubicBezTo>
                  <a:pt x="100999" y="26193"/>
                  <a:pt x="102394" y="30956"/>
                  <a:pt x="104775" y="33337"/>
                </a:cubicBezTo>
                <a:cubicBezTo>
                  <a:pt x="99608" y="69508"/>
                  <a:pt x="106241" y="57335"/>
                  <a:pt x="95250" y="73818"/>
                </a:cubicBezTo>
                <a:cubicBezTo>
                  <a:pt x="87238" y="97856"/>
                  <a:pt x="99470" y="60548"/>
                  <a:pt x="90488" y="90487"/>
                </a:cubicBezTo>
                <a:cubicBezTo>
                  <a:pt x="89045" y="95296"/>
                  <a:pt x="88510" y="100598"/>
                  <a:pt x="85725" y="104775"/>
                </a:cubicBezTo>
                <a:cubicBezTo>
                  <a:pt x="84138" y="107156"/>
                  <a:pt x="83198" y="110130"/>
                  <a:pt x="80963" y="111918"/>
                </a:cubicBezTo>
                <a:cubicBezTo>
                  <a:pt x="79003" y="113486"/>
                  <a:pt x="76200" y="113506"/>
                  <a:pt x="73819" y="114300"/>
                </a:cubicBezTo>
                <a:cubicBezTo>
                  <a:pt x="72232" y="116681"/>
                  <a:pt x="70337" y="118884"/>
                  <a:pt x="69057" y="121443"/>
                </a:cubicBezTo>
                <a:cubicBezTo>
                  <a:pt x="65766" y="128024"/>
                  <a:pt x="65093" y="139266"/>
                  <a:pt x="64294" y="145256"/>
                </a:cubicBezTo>
                <a:cubicBezTo>
                  <a:pt x="63448" y="151599"/>
                  <a:pt x="62965" y="157994"/>
                  <a:pt x="61913" y="164306"/>
                </a:cubicBezTo>
                <a:cubicBezTo>
                  <a:pt x="61375" y="167534"/>
                  <a:pt x="60117" y="170611"/>
                  <a:pt x="59532" y="173831"/>
                </a:cubicBezTo>
                <a:cubicBezTo>
                  <a:pt x="58528" y="179353"/>
                  <a:pt x="58073" y="184964"/>
                  <a:pt x="57150" y="190500"/>
                </a:cubicBezTo>
                <a:cubicBezTo>
                  <a:pt x="56485" y="194492"/>
                  <a:pt x="55493" y="198424"/>
                  <a:pt x="54769" y="202406"/>
                </a:cubicBezTo>
                <a:cubicBezTo>
                  <a:pt x="53905" y="207156"/>
                  <a:pt x="53559" y="212009"/>
                  <a:pt x="52388" y="216693"/>
                </a:cubicBezTo>
                <a:cubicBezTo>
                  <a:pt x="51170" y="221563"/>
                  <a:pt x="49213" y="226218"/>
                  <a:pt x="47625" y="230981"/>
                </a:cubicBezTo>
                <a:lnTo>
                  <a:pt x="40482" y="252412"/>
                </a:lnTo>
                <a:cubicBezTo>
                  <a:pt x="39688" y="254793"/>
                  <a:pt x="40189" y="258164"/>
                  <a:pt x="38100" y="259556"/>
                </a:cubicBezTo>
                <a:lnTo>
                  <a:pt x="30957" y="264318"/>
                </a:lnTo>
                <a:cubicBezTo>
                  <a:pt x="31751" y="255587"/>
                  <a:pt x="33338" y="229358"/>
                  <a:pt x="33338" y="238125"/>
                </a:cubicBezTo>
                <a:cubicBezTo>
                  <a:pt x="33338" y="248474"/>
                  <a:pt x="32166" y="258803"/>
                  <a:pt x="30957" y="269081"/>
                </a:cubicBezTo>
                <a:cubicBezTo>
                  <a:pt x="29194" y="284068"/>
                  <a:pt x="29242" y="273535"/>
                  <a:pt x="23813" y="285750"/>
                </a:cubicBezTo>
                <a:cubicBezTo>
                  <a:pt x="21774" y="290337"/>
                  <a:pt x="21834" y="295860"/>
                  <a:pt x="19050" y="300037"/>
                </a:cubicBezTo>
                <a:cubicBezTo>
                  <a:pt x="12896" y="309270"/>
                  <a:pt x="15193" y="304466"/>
                  <a:pt x="11907" y="314325"/>
                </a:cubicBezTo>
                <a:cubicBezTo>
                  <a:pt x="12701" y="322262"/>
                  <a:pt x="12494" y="330364"/>
                  <a:pt x="14288" y="338137"/>
                </a:cubicBezTo>
                <a:cubicBezTo>
                  <a:pt x="14931" y="340926"/>
                  <a:pt x="18907" y="348139"/>
                  <a:pt x="19050" y="345281"/>
                </a:cubicBezTo>
                <a:cubicBezTo>
                  <a:pt x="19962" y="327030"/>
                  <a:pt x="18549" y="308689"/>
                  <a:pt x="16669" y="290512"/>
                </a:cubicBezTo>
                <a:cubicBezTo>
                  <a:pt x="16153" y="285519"/>
                  <a:pt x="13494" y="280987"/>
                  <a:pt x="11907" y="276225"/>
                </a:cubicBezTo>
                <a:lnTo>
                  <a:pt x="9525" y="269081"/>
                </a:lnTo>
                <a:cubicBezTo>
                  <a:pt x="10043" y="264935"/>
                  <a:pt x="10737" y="249279"/>
                  <a:pt x="14288" y="242887"/>
                </a:cubicBezTo>
                <a:cubicBezTo>
                  <a:pt x="17068" y="237884"/>
                  <a:pt x="23813" y="228600"/>
                  <a:pt x="23813" y="228600"/>
                </a:cubicBezTo>
                <a:cubicBezTo>
                  <a:pt x="25400" y="223837"/>
                  <a:pt x="31359" y="210135"/>
                  <a:pt x="28575" y="214312"/>
                </a:cubicBezTo>
                <a:cubicBezTo>
                  <a:pt x="26988" y="216693"/>
                  <a:pt x="25093" y="218896"/>
                  <a:pt x="23813" y="221456"/>
                </a:cubicBezTo>
                <a:cubicBezTo>
                  <a:pt x="22691" y="223701"/>
                  <a:pt x="19657" y="230375"/>
                  <a:pt x="21432" y="228600"/>
                </a:cubicBezTo>
                <a:cubicBezTo>
                  <a:pt x="25479" y="224553"/>
                  <a:pt x="30957" y="214312"/>
                  <a:pt x="30957" y="214312"/>
                </a:cubicBezTo>
                <a:cubicBezTo>
                  <a:pt x="31751" y="209550"/>
                  <a:pt x="32291" y="204738"/>
                  <a:pt x="33338" y="200025"/>
                </a:cubicBezTo>
                <a:cubicBezTo>
                  <a:pt x="35217" y="191570"/>
                  <a:pt x="38100" y="191265"/>
                  <a:pt x="38100" y="180975"/>
                </a:cubicBezTo>
                <a:cubicBezTo>
                  <a:pt x="38100" y="178465"/>
                  <a:pt x="36841" y="185873"/>
                  <a:pt x="35719" y="188118"/>
                </a:cubicBezTo>
                <a:cubicBezTo>
                  <a:pt x="34439" y="190678"/>
                  <a:pt x="32119" y="192647"/>
                  <a:pt x="30957" y="195262"/>
                </a:cubicBezTo>
                <a:cubicBezTo>
                  <a:pt x="28918" y="199850"/>
                  <a:pt x="26194" y="209550"/>
                  <a:pt x="26194" y="209550"/>
                </a:cubicBezTo>
                <a:cubicBezTo>
                  <a:pt x="25400" y="207169"/>
                  <a:pt x="23813" y="204916"/>
                  <a:pt x="23813" y="202406"/>
                </a:cubicBezTo>
                <a:cubicBezTo>
                  <a:pt x="23813" y="192107"/>
                  <a:pt x="26030" y="190747"/>
                  <a:pt x="30957" y="183356"/>
                </a:cubicBezTo>
                <a:cubicBezTo>
                  <a:pt x="31751" y="180975"/>
                  <a:pt x="32216" y="178457"/>
                  <a:pt x="33338" y="176212"/>
                </a:cubicBezTo>
                <a:cubicBezTo>
                  <a:pt x="36654" y="169579"/>
                  <a:pt x="39976" y="167193"/>
                  <a:pt x="45244" y="161925"/>
                </a:cubicBezTo>
                <a:cubicBezTo>
                  <a:pt x="46832" y="157162"/>
                  <a:pt x="49508" y="152632"/>
                  <a:pt x="50007" y="147637"/>
                </a:cubicBezTo>
                <a:cubicBezTo>
                  <a:pt x="50357" y="144136"/>
                  <a:pt x="50583" y="124215"/>
                  <a:pt x="54769" y="116681"/>
                </a:cubicBezTo>
                <a:cubicBezTo>
                  <a:pt x="57549" y="111677"/>
                  <a:pt x="62484" y="107823"/>
                  <a:pt x="64294" y="102393"/>
                </a:cubicBezTo>
                <a:cubicBezTo>
                  <a:pt x="65088" y="100012"/>
                  <a:pt x="68920" y="96372"/>
                  <a:pt x="66675" y="95250"/>
                </a:cubicBezTo>
                <a:cubicBezTo>
                  <a:pt x="64116" y="93970"/>
                  <a:pt x="61913" y="98425"/>
                  <a:pt x="59532" y="100012"/>
                </a:cubicBezTo>
                <a:cubicBezTo>
                  <a:pt x="53543" y="117973"/>
                  <a:pt x="61622" y="95831"/>
                  <a:pt x="52388" y="114300"/>
                </a:cubicBezTo>
                <a:cubicBezTo>
                  <a:pt x="42534" y="134009"/>
                  <a:pt x="58889" y="108121"/>
                  <a:pt x="45244" y="128587"/>
                </a:cubicBezTo>
                <a:lnTo>
                  <a:pt x="54769" y="100012"/>
                </a:lnTo>
                <a:cubicBezTo>
                  <a:pt x="55563" y="97631"/>
                  <a:pt x="55061" y="94260"/>
                  <a:pt x="57150" y="92868"/>
                </a:cubicBezTo>
                <a:lnTo>
                  <a:pt x="64294" y="88106"/>
                </a:lnTo>
                <a:lnTo>
                  <a:pt x="73819" y="59531"/>
                </a:lnTo>
                <a:cubicBezTo>
                  <a:pt x="73821" y="59526"/>
                  <a:pt x="78579" y="45247"/>
                  <a:pt x="78582" y="45243"/>
                </a:cubicBezTo>
                <a:lnTo>
                  <a:pt x="83344" y="38100"/>
                </a:lnTo>
                <a:cubicBezTo>
                  <a:pt x="89882" y="18487"/>
                  <a:pt x="88817" y="28782"/>
                  <a:pt x="85725" y="7143"/>
                </a:cubicBezTo>
                <a:cubicBezTo>
                  <a:pt x="82550" y="11906"/>
                  <a:pt x="78010" y="16001"/>
                  <a:pt x="76200" y="21431"/>
                </a:cubicBezTo>
                <a:cubicBezTo>
                  <a:pt x="72914" y="31290"/>
                  <a:pt x="75211" y="26486"/>
                  <a:pt x="69057" y="35718"/>
                </a:cubicBezTo>
                <a:cubicBezTo>
                  <a:pt x="63600" y="57544"/>
                  <a:pt x="67924" y="49322"/>
                  <a:pt x="59532" y="61912"/>
                </a:cubicBezTo>
                <a:cubicBezTo>
                  <a:pt x="60446" y="56427"/>
                  <a:pt x="61364" y="46342"/>
                  <a:pt x="64294" y="40481"/>
                </a:cubicBezTo>
                <a:cubicBezTo>
                  <a:pt x="65574" y="37921"/>
                  <a:pt x="67469" y="35718"/>
                  <a:pt x="69057" y="33337"/>
                </a:cubicBezTo>
                <a:cubicBezTo>
                  <a:pt x="70644" y="28575"/>
                  <a:pt x="72994" y="24002"/>
                  <a:pt x="73819" y="19050"/>
                </a:cubicBezTo>
                <a:cubicBezTo>
                  <a:pt x="74613" y="14287"/>
                  <a:pt x="74041" y="9081"/>
                  <a:pt x="76200" y="4762"/>
                </a:cubicBezTo>
                <a:cubicBezTo>
                  <a:pt x="77480" y="2202"/>
                  <a:pt x="80963" y="1587"/>
                  <a:pt x="83344" y="0"/>
                </a:cubicBezTo>
                <a:cubicBezTo>
                  <a:pt x="84932" y="2381"/>
                  <a:pt x="87702" y="4310"/>
                  <a:pt x="88107" y="7143"/>
                </a:cubicBezTo>
                <a:cubicBezTo>
                  <a:pt x="88570" y="10383"/>
                  <a:pt x="86624" y="13521"/>
                  <a:pt x="85725" y="16668"/>
                </a:cubicBezTo>
                <a:cubicBezTo>
                  <a:pt x="85035" y="19082"/>
                  <a:pt x="84383" y="21527"/>
                  <a:pt x="83344" y="23812"/>
                </a:cubicBezTo>
                <a:cubicBezTo>
                  <a:pt x="80406" y="30275"/>
                  <a:pt x="76064" y="36127"/>
                  <a:pt x="73819" y="42862"/>
                </a:cubicBezTo>
                <a:cubicBezTo>
                  <a:pt x="68152" y="59865"/>
                  <a:pt x="71842" y="52973"/>
                  <a:pt x="64294" y="64293"/>
                </a:cubicBezTo>
                <a:cubicBezTo>
                  <a:pt x="58627" y="81296"/>
                  <a:pt x="62317" y="74404"/>
                  <a:pt x="54769" y="85725"/>
                </a:cubicBezTo>
                <a:cubicBezTo>
                  <a:pt x="49102" y="102727"/>
                  <a:pt x="52792" y="95835"/>
                  <a:pt x="45244" y="107156"/>
                </a:cubicBezTo>
                <a:cubicBezTo>
                  <a:pt x="43657" y="113506"/>
                  <a:pt x="42552" y="119997"/>
                  <a:pt x="40482" y="126206"/>
                </a:cubicBezTo>
                <a:lnTo>
                  <a:pt x="35719" y="140493"/>
                </a:lnTo>
                <a:cubicBezTo>
                  <a:pt x="34925" y="142874"/>
                  <a:pt x="33947" y="145202"/>
                  <a:pt x="33338" y="147637"/>
                </a:cubicBezTo>
                <a:cubicBezTo>
                  <a:pt x="29739" y="162034"/>
                  <a:pt x="31992" y="154056"/>
                  <a:pt x="26194" y="171450"/>
                </a:cubicBezTo>
                <a:cubicBezTo>
                  <a:pt x="25400" y="173831"/>
                  <a:pt x="25588" y="176818"/>
                  <a:pt x="23813" y="178593"/>
                </a:cubicBezTo>
                <a:lnTo>
                  <a:pt x="16669" y="185737"/>
                </a:lnTo>
                <a:lnTo>
                  <a:pt x="9525" y="207168"/>
                </a:lnTo>
                <a:lnTo>
                  <a:pt x="7144" y="214312"/>
                </a:lnTo>
                <a:cubicBezTo>
                  <a:pt x="7938" y="220662"/>
                  <a:pt x="8184" y="227105"/>
                  <a:pt x="9525" y="233362"/>
                </a:cubicBezTo>
                <a:cubicBezTo>
                  <a:pt x="10577" y="238271"/>
                  <a:pt x="14288" y="247650"/>
                  <a:pt x="14288" y="247650"/>
                </a:cubicBezTo>
                <a:cubicBezTo>
                  <a:pt x="13494" y="264319"/>
                  <a:pt x="13750" y="281071"/>
                  <a:pt x="11907" y="297656"/>
                </a:cubicBezTo>
                <a:cubicBezTo>
                  <a:pt x="11353" y="302645"/>
                  <a:pt x="9928" y="307766"/>
                  <a:pt x="7144" y="311943"/>
                </a:cubicBezTo>
                <a:cubicBezTo>
                  <a:pt x="4737" y="315553"/>
                  <a:pt x="0" y="321304"/>
                  <a:pt x="0" y="326231"/>
                </a:cubicBezTo>
                <a:lnTo>
                  <a:pt x="2382" y="323850"/>
                </a:lnTo>
              </a:path>
            </a:pathLst>
          </a:custGeom>
          <a:noFill/>
          <a:ln>
            <a:solidFill>
              <a:srgbClr val="F5F5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3" name="Прямая соединительная линия 132"/>
          <p:cNvCxnSpPr/>
          <p:nvPr/>
        </p:nvCxnSpPr>
        <p:spPr>
          <a:xfrm flipV="1">
            <a:off x="6786470" y="5458772"/>
            <a:ext cx="163370" cy="10730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/>
          <p:cNvCxnSpPr/>
          <p:nvPr/>
        </p:nvCxnSpPr>
        <p:spPr>
          <a:xfrm flipV="1">
            <a:off x="6795404" y="5479568"/>
            <a:ext cx="163370" cy="10730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олилиния 12"/>
          <p:cNvSpPr/>
          <p:nvPr/>
        </p:nvSpPr>
        <p:spPr>
          <a:xfrm>
            <a:off x="6767630" y="5630953"/>
            <a:ext cx="84073" cy="248401"/>
          </a:xfrm>
          <a:custGeom>
            <a:avLst/>
            <a:gdLst>
              <a:gd name="connsiteX0" fmla="*/ 71437 w 90487"/>
              <a:gd name="connsiteY0" fmla="*/ 7166 h 267352"/>
              <a:gd name="connsiteX1" fmla="*/ 69056 w 90487"/>
              <a:gd name="connsiteY1" fmla="*/ 23835 h 267352"/>
              <a:gd name="connsiteX2" fmla="*/ 66675 w 90487"/>
              <a:gd name="connsiteY2" fmla="*/ 30978 h 267352"/>
              <a:gd name="connsiteX3" fmla="*/ 61912 w 90487"/>
              <a:gd name="connsiteY3" fmla="*/ 47647 h 267352"/>
              <a:gd name="connsiteX4" fmla="*/ 64294 w 90487"/>
              <a:gd name="connsiteY4" fmla="*/ 21453 h 267352"/>
              <a:gd name="connsiteX5" fmla="*/ 69056 w 90487"/>
              <a:gd name="connsiteY5" fmla="*/ 7166 h 267352"/>
              <a:gd name="connsiteX6" fmla="*/ 69056 w 90487"/>
              <a:gd name="connsiteY6" fmla="*/ 9547 h 267352"/>
              <a:gd name="connsiteX7" fmla="*/ 61912 w 90487"/>
              <a:gd name="connsiteY7" fmla="*/ 30978 h 267352"/>
              <a:gd name="connsiteX8" fmla="*/ 57150 w 90487"/>
              <a:gd name="connsiteY8" fmla="*/ 57172 h 267352"/>
              <a:gd name="connsiteX9" fmla="*/ 54769 w 90487"/>
              <a:gd name="connsiteY9" fmla="*/ 64316 h 267352"/>
              <a:gd name="connsiteX10" fmla="*/ 52387 w 90487"/>
              <a:gd name="connsiteY10" fmla="*/ 73841 h 267352"/>
              <a:gd name="connsiteX11" fmla="*/ 47625 w 90487"/>
              <a:gd name="connsiteY11" fmla="*/ 102416 h 267352"/>
              <a:gd name="connsiteX12" fmla="*/ 45244 w 90487"/>
              <a:gd name="connsiteY12" fmla="*/ 114322 h 267352"/>
              <a:gd name="connsiteX13" fmla="*/ 42862 w 90487"/>
              <a:gd name="connsiteY13" fmla="*/ 121466 h 267352"/>
              <a:gd name="connsiteX14" fmla="*/ 38100 w 90487"/>
              <a:gd name="connsiteY14" fmla="*/ 140516 h 267352"/>
              <a:gd name="connsiteX15" fmla="*/ 23812 w 90487"/>
              <a:gd name="connsiteY15" fmla="*/ 161947 h 267352"/>
              <a:gd name="connsiteX16" fmla="*/ 19050 w 90487"/>
              <a:gd name="connsiteY16" fmla="*/ 169091 h 267352"/>
              <a:gd name="connsiteX17" fmla="*/ 7144 w 90487"/>
              <a:gd name="connsiteY17" fmla="*/ 204810 h 267352"/>
              <a:gd name="connsiteX18" fmla="*/ 2381 w 90487"/>
              <a:gd name="connsiteY18" fmla="*/ 219097 h 267352"/>
              <a:gd name="connsiteX19" fmla="*/ 0 w 90487"/>
              <a:gd name="connsiteY19" fmla="*/ 226241 h 267352"/>
              <a:gd name="connsiteX20" fmla="*/ 2381 w 90487"/>
              <a:gd name="connsiteY20" fmla="*/ 266722 h 267352"/>
              <a:gd name="connsiteX21" fmla="*/ 7144 w 90487"/>
              <a:gd name="connsiteY21" fmla="*/ 259578 h 267352"/>
              <a:gd name="connsiteX22" fmla="*/ 9525 w 90487"/>
              <a:gd name="connsiteY22" fmla="*/ 247672 h 267352"/>
              <a:gd name="connsiteX23" fmla="*/ 14287 w 90487"/>
              <a:gd name="connsiteY23" fmla="*/ 233385 h 267352"/>
              <a:gd name="connsiteX24" fmla="*/ 16669 w 90487"/>
              <a:gd name="connsiteY24" fmla="*/ 226241 h 267352"/>
              <a:gd name="connsiteX25" fmla="*/ 26194 w 90487"/>
              <a:gd name="connsiteY25" fmla="*/ 228622 h 267352"/>
              <a:gd name="connsiteX26" fmla="*/ 16669 w 90487"/>
              <a:gd name="connsiteY26" fmla="*/ 259578 h 267352"/>
              <a:gd name="connsiteX27" fmla="*/ 16669 w 90487"/>
              <a:gd name="connsiteY27" fmla="*/ 221478 h 267352"/>
              <a:gd name="connsiteX28" fmla="*/ 14287 w 90487"/>
              <a:gd name="connsiteY28" fmla="*/ 214335 h 267352"/>
              <a:gd name="connsiteX29" fmla="*/ 7144 w 90487"/>
              <a:gd name="connsiteY29" fmla="*/ 211953 h 267352"/>
              <a:gd name="connsiteX30" fmla="*/ 7144 w 90487"/>
              <a:gd name="connsiteY30" fmla="*/ 238147 h 267352"/>
              <a:gd name="connsiteX31" fmla="*/ 19050 w 90487"/>
              <a:gd name="connsiteY31" fmla="*/ 235766 h 267352"/>
              <a:gd name="connsiteX32" fmla="*/ 23812 w 90487"/>
              <a:gd name="connsiteY32" fmla="*/ 226241 h 267352"/>
              <a:gd name="connsiteX33" fmla="*/ 30956 w 90487"/>
              <a:gd name="connsiteY33" fmla="*/ 221478 h 267352"/>
              <a:gd name="connsiteX34" fmla="*/ 33337 w 90487"/>
              <a:gd name="connsiteY34" fmla="*/ 214335 h 267352"/>
              <a:gd name="connsiteX35" fmla="*/ 40481 w 90487"/>
              <a:gd name="connsiteY35" fmla="*/ 202428 h 267352"/>
              <a:gd name="connsiteX36" fmla="*/ 42862 w 90487"/>
              <a:gd name="connsiteY36" fmla="*/ 192903 h 267352"/>
              <a:gd name="connsiteX37" fmla="*/ 47625 w 90487"/>
              <a:gd name="connsiteY37" fmla="*/ 183378 h 267352"/>
              <a:gd name="connsiteX38" fmla="*/ 50006 w 90487"/>
              <a:gd name="connsiteY38" fmla="*/ 161947 h 267352"/>
              <a:gd name="connsiteX39" fmla="*/ 54769 w 90487"/>
              <a:gd name="connsiteY39" fmla="*/ 145278 h 267352"/>
              <a:gd name="connsiteX40" fmla="*/ 61912 w 90487"/>
              <a:gd name="connsiteY40" fmla="*/ 147660 h 267352"/>
              <a:gd name="connsiteX41" fmla="*/ 69056 w 90487"/>
              <a:gd name="connsiteY41" fmla="*/ 161947 h 267352"/>
              <a:gd name="connsiteX42" fmla="*/ 73819 w 90487"/>
              <a:gd name="connsiteY42" fmla="*/ 190522 h 267352"/>
              <a:gd name="connsiteX43" fmla="*/ 76200 w 90487"/>
              <a:gd name="connsiteY43" fmla="*/ 197666 h 267352"/>
              <a:gd name="connsiteX44" fmla="*/ 83344 w 90487"/>
              <a:gd name="connsiteY44" fmla="*/ 195285 h 267352"/>
              <a:gd name="connsiteX45" fmla="*/ 85725 w 90487"/>
              <a:gd name="connsiteY45" fmla="*/ 188141 h 267352"/>
              <a:gd name="connsiteX46" fmla="*/ 90487 w 90487"/>
              <a:gd name="connsiteY46" fmla="*/ 171472 h 267352"/>
              <a:gd name="connsiteX47" fmla="*/ 78581 w 90487"/>
              <a:gd name="connsiteY47" fmla="*/ 150041 h 267352"/>
              <a:gd name="connsiteX48" fmla="*/ 78581 w 90487"/>
              <a:gd name="connsiteY48" fmla="*/ 142897 h 26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90487" h="267352">
                <a:moveTo>
                  <a:pt x="71437" y="7166"/>
                </a:moveTo>
                <a:cubicBezTo>
                  <a:pt x="70643" y="12722"/>
                  <a:pt x="70157" y="18331"/>
                  <a:pt x="69056" y="23835"/>
                </a:cubicBezTo>
                <a:cubicBezTo>
                  <a:pt x="68564" y="26296"/>
                  <a:pt x="67364" y="28565"/>
                  <a:pt x="66675" y="30978"/>
                </a:cubicBezTo>
                <a:cubicBezTo>
                  <a:pt x="60700" y="51890"/>
                  <a:pt x="67619" y="30532"/>
                  <a:pt x="61912" y="47647"/>
                </a:cubicBezTo>
                <a:cubicBezTo>
                  <a:pt x="62706" y="38916"/>
                  <a:pt x="62770" y="30087"/>
                  <a:pt x="64294" y="21453"/>
                </a:cubicBezTo>
                <a:cubicBezTo>
                  <a:pt x="65166" y="16509"/>
                  <a:pt x="67469" y="11928"/>
                  <a:pt x="69056" y="7166"/>
                </a:cubicBezTo>
                <a:cubicBezTo>
                  <a:pt x="73236" y="-5374"/>
                  <a:pt x="71050" y="575"/>
                  <a:pt x="69056" y="9547"/>
                </a:cubicBezTo>
                <a:cubicBezTo>
                  <a:pt x="65364" y="26164"/>
                  <a:pt x="69025" y="16754"/>
                  <a:pt x="61912" y="30978"/>
                </a:cubicBezTo>
                <a:cubicBezTo>
                  <a:pt x="54854" y="59213"/>
                  <a:pt x="65681" y="14513"/>
                  <a:pt x="57150" y="57172"/>
                </a:cubicBezTo>
                <a:cubicBezTo>
                  <a:pt x="56658" y="59633"/>
                  <a:pt x="55459" y="61902"/>
                  <a:pt x="54769" y="64316"/>
                </a:cubicBezTo>
                <a:cubicBezTo>
                  <a:pt x="53870" y="67463"/>
                  <a:pt x="52990" y="70624"/>
                  <a:pt x="52387" y="73841"/>
                </a:cubicBezTo>
                <a:cubicBezTo>
                  <a:pt x="50607" y="83332"/>
                  <a:pt x="49519" y="92947"/>
                  <a:pt x="47625" y="102416"/>
                </a:cubicBezTo>
                <a:cubicBezTo>
                  <a:pt x="46831" y="106385"/>
                  <a:pt x="46226" y="110396"/>
                  <a:pt x="45244" y="114322"/>
                </a:cubicBezTo>
                <a:cubicBezTo>
                  <a:pt x="44635" y="116757"/>
                  <a:pt x="43471" y="119031"/>
                  <a:pt x="42862" y="121466"/>
                </a:cubicBezTo>
                <a:cubicBezTo>
                  <a:pt x="41903" y="125303"/>
                  <a:pt x="40574" y="136063"/>
                  <a:pt x="38100" y="140516"/>
                </a:cubicBezTo>
                <a:cubicBezTo>
                  <a:pt x="38096" y="140524"/>
                  <a:pt x="26196" y="158372"/>
                  <a:pt x="23812" y="161947"/>
                </a:cubicBezTo>
                <a:cubicBezTo>
                  <a:pt x="22225" y="164328"/>
                  <a:pt x="19955" y="166376"/>
                  <a:pt x="19050" y="169091"/>
                </a:cubicBezTo>
                <a:lnTo>
                  <a:pt x="7144" y="204810"/>
                </a:lnTo>
                <a:lnTo>
                  <a:pt x="2381" y="219097"/>
                </a:lnTo>
                <a:lnTo>
                  <a:pt x="0" y="226241"/>
                </a:lnTo>
                <a:cubicBezTo>
                  <a:pt x="794" y="239735"/>
                  <a:pt x="-451" y="253505"/>
                  <a:pt x="2381" y="266722"/>
                </a:cubicBezTo>
                <a:cubicBezTo>
                  <a:pt x="2981" y="269521"/>
                  <a:pt x="6139" y="262258"/>
                  <a:pt x="7144" y="259578"/>
                </a:cubicBezTo>
                <a:cubicBezTo>
                  <a:pt x="8565" y="255788"/>
                  <a:pt x="8460" y="251577"/>
                  <a:pt x="9525" y="247672"/>
                </a:cubicBezTo>
                <a:cubicBezTo>
                  <a:pt x="10846" y="242829"/>
                  <a:pt x="12700" y="238147"/>
                  <a:pt x="14287" y="233385"/>
                </a:cubicBezTo>
                <a:lnTo>
                  <a:pt x="16669" y="226241"/>
                </a:lnTo>
                <a:cubicBezTo>
                  <a:pt x="19844" y="227035"/>
                  <a:pt x="25400" y="225447"/>
                  <a:pt x="26194" y="228622"/>
                </a:cubicBezTo>
                <a:cubicBezTo>
                  <a:pt x="32040" y="252008"/>
                  <a:pt x="28337" y="251799"/>
                  <a:pt x="16669" y="259578"/>
                </a:cubicBezTo>
                <a:cubicBezTo>
                  <a:pt x="20346" y="241190"/>
                  <a:pt x="20333" y="247121"/>
                  <a:pt x="16669" y="221478"/>
                </a:cubicBezTo>
                <a:cubicBezTo>
                  <a:pt x="16314" y="218993"/>
                  <a:pt x="16062" y="216110"/>
                  <a:pt x="14287" y="214335"/>
                </a:cubicBezTo>
                <a:cubicBezTo>
                  <a:pt x="12512" y="212560"/>
                  <a:pt x="9525" y="212747"/>
                  <a:pt x="7144" y="211953"/>
                </a:cubicBezTo>
                <a:cubicBezTo>
                  <a:pt x="4470" y="219972"/>
                  <a:pt x="34" y="229852"/>
                  <a:pt x="7144" y="238147"/>
                </a:cubicBezTo>
                <a:cubicBezTo>
                  <a:pt x="9778" y="241220"/>
                  <a:pt x="15081" y="236560"/>
                  <a:pt x="19050" y="235766"/>
                </a:cubicBezTo>
                <a:cubicBezTo>
                  <a:pt x="20637" y="232591"/>
                  <a:pt x="21540" y="228968"/>
                  <a:pt x="23812" y="226241"/>
                </a:cubicBezTo>
                <a:cubicBezTo>
                  <a:pt x="25644" y="224042"/>
                  <a:pt x="29168" y="223713"/>
                  <a:pt x="30956" y="221478"/>
                </a:cubicBezTo>
                <a:cubicBezTo>
                  <a:pt x="32524" y="219518"/>
                  <a:pt x="32215" y="216580"/>
                  <a:pt x="33337" y="214335"/>
                </a:cubicBezTo>
                <a:cubicBezTo>
                  <a:pt x="35407" y="210195"/>
                  <a:pt x="38100" y="206397"/>
                  <a:pt x="40481" y="202428"/>
                </a:cubicBezTo>
                <a:cubicBezTo>
                  <a:pt x="41275" y="199253"/>
                  <a:pt x="41713" y="195967"/>
                  <a:pt x="42862" y="192903"/>
                </a:cubicBezTo>
                <a:cubicBezTo>
                  <a:pt x="44108" y="189579"/>
                  <a:pt x="46827" y="186837"/>
                  <a:pt x="47625" y="183378"/>
                </a:cubicBezTo>
                <a:cubicBezTo>
                  <a:pt x="49241" y="176374"/>
                  <a:pt x="48913" y="169051"/>
                  <a:pt x="50006" y="161947"/>
                </a:cubicBezTo>
                <a:cubicBezTo>
                  <a:pt x="50861" y="156389"/>
                  <a:pt x="52989" y="150616"/>
                  <a:pt x="54769" y="145278"/>
                </a:cubicBezTo>
                <a:cubicBezTo>
                  <a:pt x="57150" y="146072"/>
                  <a:pt x="59952" y="146092"/>
                  <a:pt x="61912" y="147660"/>
                </a:cubicBezTo>
                <a:cubicBezTo>
                  <a:pt x="65779" y="150754"/>
                  <a:pt x="67777" y="157471"/>
                  <a:pt x="69056" y="161947"/>
                </a:cubicBezTo>
                <a:cubicBezTo>
                  <a:pt x="73787" y="178507"/>
                  <a:pt x="69471" y="166608"/>
                  <a:pt x="73819" y="190522"/>
                </a:cubicBezTo>
                <a:cubicBezTo>
                  <a:pt x="74268" y="192992"/>
                  <a:pt x="75406" y="195285"/>
                  <a:pt x="76200" y="197666"/>
                </a:cubicBezTo>
                <a:cubicBezTo>
                  <a:pt x="78581" y="196872"/>
                  <a:pt x="81569" y="197060"/>
                  <a:pt x="83344" y="195285"/>
                </a:cubicBezTo>
                <a:cubicBezTo>
                  <a:pt x="85119" y="193510"/>
                  <a:pt x="85035" y="190555"/>
                  <a:pt x="85725" y="188141"/>
                </a:cubicBezTo>
                <a:cubicBezTo>
                  <a:pt x="91704" y="167210"/>
                  <a:pt x="84778" y="188601"/>
                  <a:pt x="90487" y="171472"/>
                </a:cubicBezTo>
                <a:cubicBezTo>
                  <a:pt x="85940" y="164652"/>
                  <a:pt x="79978" y="158425"/>
                  <a:pt x="78581" y="150041"/>
                </a:cubicBezTo>
                <a:cubicBezTo>
                  <a:pt x="78190" y="147692"/>
                  <a:pt x="78581" y="145278"/>
                  <a:pt x="78581" y="142897"/>
                </a:cubicBezTo>
              </a:path>
            </a:pathLst>
          </a:custGeom>
          <a:noFill/>
          <a:ln>
            <a:solidFill>
              <a:srgbClr val="F5F5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0" name="Прямая соединительная линия 129"/>
          <p:cNvCxnSpPr>
            <a:endCxn id="195" idx="4"/>
          </p:cNvCxnSpPr>
          <p:nvPr/>
        </p:nvCxnSpPr>
        <p:spPr>
          <a:xfrm flipH="1" flipV="1">
            <a:off x="6752676" y="5608994"/>
            <a:ext cx="13997" cy="25066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/>
          <p:cNvCxnSpPr>
            <a:endCxn id="195" idx="5"/>
          </p:cNvCxnSpPr>
          <p:nvPr/>
        </p:nvCxnSpPr>
        <p:spPr>
          <a:xfrm flipH="1" flipV="1">
            <a:off x="6782888" y="5597005"/>
            <a:ext cx="3582" cy="27232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/>
        </p:nvCxnSpPr>
        <p:spPr>
          <a:xfrm flipV="1">
            <a:off x="6713746" y="5873747"/>
            <a:ext cx="72724" cy="2353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 flipV="1">
            <a:off x="6690193" y="5858701"/>
            <a:ext cx="72724" cy="2353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H="1" flipV="1">
            <a:off x="6787313" y="5650888"/>
            <a:ext cx="106427" cy="45131"/>
          </a:xfrm>
          <a:prstGeom prst="line">
            <a:avLst/>
          </a:prstGeom>
          <a:ln w="12700">
            <a:solidFill>
              <a:srgbClr val="5151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единительная линия 205"/>
          <p:cNvCxnSpPr/>
          <p:nvPr/>
        </p:nvCxnSpPr>
        <p:spPr>
          <a:xfrm>
            <a:off x="6402764" y="5075626"/>
            <a:ext cx="435651" cy="363112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Овал 193"/>
          <p:cNvSpPr/>
          <p:nvPr/>
        </p:nvSpPr>
        <p:spPr>
          <a:xfrm>
            <a:off x="6320244" y="5006750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5789005" y="5030654"/>
            <a:ext cx="817690" cy="206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4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 Туркестан</a:t>
            </a:r>
          </a:p>
        </p:txBody>
      </p:sp>
      <p:cxnSp>
        <p:nvCxnSpPr>
          <p:cNvPr id="209" name="Прямая соединительная линия 208"/>
          <p:cNvCxnSpPr/>
          <p:nvPr/>
        </p:nvCxnSpPr>
        <p:spPr>
          <a:xfrm>
            <a:off x="5303216" y="3819623"/>
            <a:ext cx="300869" cy="347124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Овал 210"/>
          <p:cNvSpPr/>
          <p:nvPr/>
        </p:nvSpPr>
        <p:spPr>
          <a:xfrm>
            <a:off x="5777399" y="4388521"/>
            <a:ext cx="75942" cy="73409"/>
          </a:xfrm>
          <a:prstGeom prst="ellipse">
            <a:avLst/>
          </a:prstGeom>
          <a:solidFill>
            <a:srgbClr val="F5F5F7"/>
          </a:solidFill>
          <a:ln>
            <a:solidFill>
              <a:srgbClr val="F5F5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4" name="Прямая соединительная линия 203"/>
          <p:cNvCxnSpPr>
            <a:stCxn id="193" idx="5"/>
          </p:cNvCxnSpPr>
          <p:nvPr/>
        </p:nvCxnSpPr>
        <p:spPr>
          <a:xfrm>
            <a:off x="5662299" y="4229056"/>
            <a:ext cx="674688" cy="782116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H="1">
            <a:off x="5824523" y="4342341"/>
            <a:ext cx="67347" cy="72417"/>
          </a:xfrm>
          <a:prstGeom prst="line">
            <a:avLst/>
          </a:prstGeom>
          <a:ln w="9525">
            <a:solidFill>
              <a:srgbClr val="3E3E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Овал 192"/>
          <p:cNvSpPr/>
          <p:nvPr/>
        </p:nvSpPr>
        <p:spPr>
          <a:xfrm>
            <a:off x="5589357" y="4159184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3" name="Прямая соединительная линия 212"/>
          <p:cNvCxnSpPr/>
          <p:nvPr/>
        </p:nvCxnSpPr>
        <p:spPr>
          <a:xfrm>
            <a:off x="5013341" y="3487819"/>
            <a:ext cx="314912" cy="356819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Прямая соединительная линия 213"/>
          <p:cNvCxnSpPr/>
          <p:nvPr/>
        </p:nvCxnSpPr>
        <p:spPr>
          <a:xfrm flipH="1">
            <a:off x="4304620" y="3495301"/>
            <a:ext cx="722361" cy="138009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Овал 188"/>
          <p:cNvSpPr/>
          <p:nvPr/>
        </p:nvSpPr>
        <p:spPr>
          <a:xfrm>
            <a:off x="4783244" y="3491527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5" name="Прямая соединительная линия 214"/>
          <p:cNvCxnSpPr/>
          <p:nvPr/>
        </p:nvCxnSpPr>
        <p:spPr>
          <a:xfrm flipH="1">
            <a:off x="3763138" y="3643987"/>
            <a:ext cx="498187" cy="133871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Прямая соединительная линия 215"/>
          <p:cNvCxnSpPr/>
          <p:nvPr/>
        </p:nvCxnSpPr>
        <p:spPr>
          <a:xfrm flipH="1">
            <a:off x="3253796" y="3778484"/>
            <a:ext cx="498187" cy="133871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Овал 123"/>
          <p:cNvSpPr/>
          <p:nvPr/>
        </p:nvSpPr>
        <p:spPr>
          <a:xfrm>
            <a:off x="3211200" y="3877599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Овал 187"/>
          <p:cNvSpPr/>
          <p:nvPr/>
        </p:nvSpPr>
        <p:spPr>
          <a:xfrm>
            <a:off x="3708437" y="3745316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Овал 186"/>
          <p:cNvSpPr/>
          <p:nvPr/>
        </p:nvSpPr>
        <p:spPr>
          <a:xfrm>
            <a:off x="4254170" y="3607590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Овал 190"/>
          <p:cNvSpPr/>
          <p:nvPr/>
        </p:nvSpPr>
        <p:spPr>
          <a:xfrm>
            <a:off x="5225368" y="3766097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H="1">
            <a:off x="4143654" y="2613642"/>
            <a:ext cx="81859" cy="19202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Прямая соединительная линия 207"/>
          <p:cNvCxnSpPr/>
          <p:nvPr/>
        </p:nvCxnSpPr>
        <p:spPr>
          <a:xfrm flipH="1">
            <a:off x="4127237" y="2609377"/>
            <a:ext cx="81859" cy="192023"/>
          </a:xfrm>
          <a:prstGeom prst="line">
            <a:avLst/>
          </a:prstGeom>
          <a:ln w="127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3445254" y="2228487"/>
            <a:ext cx="182897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Прямоугольник 217"/>
          <p:cNvSpPr/>
          <p:nvPr/>
        </p:nvSpPr>
        <p:spPr>
          <a:xfrm>
            <a:off x="2906057" y="2228487"/>
            <a:ext cx="54110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Прямоугольник 218"/>
          <p:cNvSpPr/>
          <p:nvPr/>
        </p:nvSpPr>
        <p:spPr>
          <a:xfrm>
            <a:off x="4640373" y="3199945"/>
            <a:ext cx="54110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1" name="Прямоугольник 220"/>
          <p:cNvSpPr/>
          <p:nvPr/>
        </p:nvSpPr>
        <p:spPr>
          <a:xfrm>
            <a:off x="9414675" y="3807027"/>
            <a:ext cx="54110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2" name="Прямоугольник 221"/>
          <p:cNvSpPr/>
          <p:nvPr/>
        </p:nvSpPr>
        <p:spPr>
          <a:xfrm>
            <a:off x="9242103" y="3940257"/>
            <a:ext cx="54110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Прямоугольник 222"/>
          <p:cNvSpPr/>
          <p:nvPr/>
        </p:nvSpPr>
        <p:spPr>
          <a:xfrm>
            <a:off x="8982424" y="4082389"/>
            <a:ext cx="54110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Прямоугольник 223"/>
          <p:cNvSpPr/>
          <p:nvPr/>
        </p:nvSpPr>
        <p:spPr>
          <a:xfrm>
            <a:off x="9081289" y="4239147"/>
            <a:ext cx="17776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Прямоугольник 224"/>
          <p:cNvSpPr/>
          <p:nvPr/>
        </p:nvSpPr>
        <p:spPr>
          <a:xfrm>
            <a:off x="4657523" y="3199945"/>
            <a:ext cx="541109" cy="165660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6" name="Прямая соединительная линия 225"/>
          <p:cNvCxnSpPr/>
          <p:nvPr/>
        </p:nvCxnSpPr>
        <p:spPr>
          <a:xfrm flipH="1">
            <a:off x="4246120" y="2567825"/>
            <a:ext cx="143670" cy="14174"/>
          </a:xfrm>
          <a:prstGeom prst="line">
            <a:avLst/>
          </a:prstGeom>
          <a:ln w="127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Прямая соединительная линия 226"/>
          <p:cNvCxnSpPr>
            <a:endCxn id="217" idx="2"/>
          </p:cNvCxnSpPr>
          <p:nvPr/>
        </p:nvCxnSpPr>
        <p:spPr>
          <a:xfrm flipH="1">
            <a:off x="4101173" y="2779115"/>
            <a:ext cx="252526" cy="36218"/>
          </a:xfrm>
          <a:prstGeom prst="line">
            <a:avLst/>
          </a:prstGeom>
          <a:ln w="127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Овал 216"/>
          <p:cNvSpPr/>
          <p:nvPr/>
        </p:nvSpPr>
        <p:spPr>
          <a:xfrm>
            <a:off x="4101174" y="2794094"/>
            <a:ext cx="42478" cy="42478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Овал 211"/>
          <p:cNvSpPr/>
          <p:nvPr/>
        </p:nvSpPr>
        <p:spPr>
          <a:xfrm>
            <a:off x="4202753" y="2570137"/>
            <a:ext cx="42478" cy="42478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4353698" y="2741503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4389789" y="2526895"/>
            <a:ext cx="85457" cy="81861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8" name="Прямая соединительная линия 227"/>
          <p:cNvCxnSpPr/>
          <p:nvPr/>
        </p:nvCxnSpPr>
        <p:spPr>
          <a:xfrm flipV="1">
            <a:off x="5766576" y="5733167"/>
            <a:ext cx="427203" cy="15583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Прямая соединительная линия 228"/>
          <p:cNvCxnSpPr/>
          <p:nvPr/>
        </p:nvCxnSpPr>
        <p:spPr>
          <a:xfrm flipV="1">
            <a:off x="5772810" y="5754999"/>
            <a:ext cx="427203" cy="15583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Прямая соединительная линия 229"/>
          <p:cNvCxnSpPr/>
          <p:nvPr/>
        </p:nvCxnSpPr>
        <p:spPr>
          <a:xfrm flipV="1">
            <a:off x="5779289" y="5774618"/>
            <a:ext cx="427203" cy="15583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/>
          <p:nvPr/>
        </p:nvCxnSpPr>
        <p:spPr>
          <a:xfrm flipV="1">
            <a:off x="6205340" y="5531307"/>
            <a:ext cx="518308" cy="19653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Прямая соединительная линия 231"/>
          <p:cNvCxnSpPr/>
          <p:nvPr/>
        </p:nvCxnSpPr>
        <p:spPr>
          <a:xfrm flipV="1">
            <a:off x="6211860" y="5551976"/>
            <a:ext cx="518308" cy="19653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/>
          <p:nvPr/>
        </p:nvCxnSpPr>
        <p:spPr>
          <a:xfrm flipV="1">
            <a:off x="6221165" y="5570132"/>
            <a:ext cx="518308" cy="19653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Равнобедренный треугольник 199"/>
          <p:cNvSpPr/>
          <p:nvPr/>
        </p:nvSpPr>
        <p:spPr>
          <a:xfrm rot="3712942">
            <a:off x="6641276" y="5604196"/>
            <a:ext cx="42478" cy="42478"/>
          </a:xfrm>
          <a:prstGeom prst="triangle">
            <a:avLst/>
          </a:prstGeom>
          <a:solidFill>
            <a:srgbClr val="FFC0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4" name="Овал 233"/>
          <p:cNvSpPr/>
          <p:nvPr/>
        </p:nvSpPr>
        <p:spPr>
          <a:xfrm>
            <a:off x="6149910" y="5717694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5" name="Прямая соединительная линия 234"/>
          <p:cNvCxnSpPr/>
          <p:nvPr/>
        </p:nvCxnSpPr>
        <p:spPr>
          <a:xfrm flipV="1">
            <a:off x="6748543" y="5340159"/>
            <a:ext cx="182981" cy="18597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Прямая соединительная линия 235"/>
          <p:cNvCxnSpPr/>
          <p:nvPr/>
        </p:nvCxnSpPr>
        <p:spPr>
          <a:xfrm flipV="1">
            <a:off x="6764952" y="5349039"/>
            <a:ext cx="182981" cy="18597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Прямая соединительная линия 236"/>
          <p:cNvCxnSpPr/>
          <p:nvPr/>
        </p:nvCxnSpPr>
        <p:spPr>
          <a:xfrm flipV="1">
            <a:off x="6784938" y="5358895"/>
            <a:ext cx="182981" cy="18597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Овал 194"/>
          <p:cNvSpPr/>
          <p:nvPr/>
        </p:nvSpPr>
        <p:spPr>
          <a:xfrm>
            <a:off x="6709946" y="5527133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Прямая соединительная линия 238"/>
          <p:cNvCxnSpPr/>
          <p:nvPr/>
        </p:nvCxnSpPr>
        <p:spPr>
          <a:xfrm flipV="1">
            <a:off x="6979130" y="5204202"/>
            <a:ext cx="294067" cy="8692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Прямая соединительная линия 245"/>
          <p:cNvCxnSpPr/>
          <p:nvPr/>
        </p:nvCxnSpPr>
        <p:spPr>
          <a:xfrm flipV="1">
            <a:off x="6989142" y="5224797"/>
            <a:ext cx="294067" cy="8692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Прямая соединительная линия 246"/>
          <p:cNvCxnSpPr/>
          <p:nvPr/>
        </p:nvCxnSpPr>
        <p:spPr>
          <a:xfrm flipV="1">
            <a:off x="6999154" y="5242964"/>
            <a:ext cx="294067" cy="8692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Прямая соединительная линия 247"/>
          <p:cNvCxnSpPr/>
          <p:nvPr/>
        </p:nvCxnSpPr>
        <p:spPr>
          <a:xfrm flipV="1">
            <a:off x="7291367" y="5229232"/>
            <a:ext cx="334048" cy="1742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Прямая соединительная линия 250"/>
          <p:cNvCxnSpPr/>
          <p:nvPr/>
        </p:nvCxnSpPr>
        <p:spPr>
          <a:xfrm flipV="1">
            <a:off x="7279168" y="5205627"/>
            <a:ext cx="327533" cy="2064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Прямая соединительная линия 251"/>
          <p:cNvCxnSpPr/>
          <p:nvPr/>
        </p:nvCxnSpPr>
        <p:spPr>
          <a:xfrm flipV="1">
            <a:off x="7271939" y="5183526"/>
            <a:ext cx="327533" cy="2064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Прямая соединительная линия 252"/>
          <p:cNvCxnSpPr/>
          <p:nvPr/>
        </p:nvCxnSpPr>
        <p:spPr>
          <a:xfrm flipV="1">
            <a:off x="7663676" y="5148403"/>
            <a:ext cx="221752" cy="7458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Прямая соединительная линия 255"/>
          <p:cNvCxnSpPr/>
          <p:nvPr/>
        </p:nvCxnSpPr>
        <p:spPr>
          <a:xfrm flipV="1">
            <a:off x="7657552" y="5126751"/>
            <a:ext cx="221752" cy="7458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Прямая соединительная линия 256"/>
          <p:cNvCxnSpPr/>
          <p:nvPr/>
        </p:nvCxnSpPr>
        <p:spPr>
          <a:xfrm flipV="1">
            <a:off x="7645384" y="5108535"/>
            <a:ext cx="221752" cy="7458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Прямая соединительная линия 257"/>
          <p:cNvCxnSpPr/>
          <p:nvPr/>
        </p:nvCxnSpPr>
        <p:spPr>
          <a:xfrm flipV="1">
            <a:off x="7885155" y="4987985"/>
            <a:ext cx="84415" cy="15757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Прямая соединительная линия 258"/>
          <p:cNvCxnSpPr/>
          <p:nvPr/>
        </p:nvCxnSpPr>
        <p:spPr>
          <a:xfrm flipV="1">
            <a:off x="7873567" y="4956336"/>
            <a:ext cx="94483" cy="17340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Прямая соединительная линия 259"/>
          <p:cNvCxnSpPr/>
          <p:nvPr/>
        </p:nvCxnSpPr>
        <p:spPr>
          <a:xfrm flipV="1">
            <a:off x="7862446" y="4940120"/>
            <a:ext cx="94483" cy="17340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Прямая соединительная линия 260"/>
          <p:cNvCxnSpPr/>
          <p:nvPr/>
        </p:nvCxnSpPr>
        <p:spPr>
          <a:xfrm flipV="1">
            <a:off x="7954717" y="4914448"/>
            <a:ext cx="65980" cy="2981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Прямая соединительная линия 261"/>
          <p:cNvCxnSpPr/>
          <p:nvPr/>
        </p:nvCxnSpPr>
        <p:spPr>
          <a:xfrm flipV="1">
            <a:off x="7964371" y="4929805"/>
            <a:ext cx="72268" cy="3479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Прямая соединительная линия 262"/>
          <p:cNvCxnSpPr/>
          <p:nvPr/>
        </p:nvCxnSpPr>
        <p:spPr>
          <a:xfrm flipV="1">
            <a:off x="7969570" y="4951357"/>
            <a:ext cx="72268" cy="3479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Овал 263"/>
          <p:cNvSpPr/>
          <p:nvPr/>
        </p:nvSpPr>
        <p:spPr>
          <a:xfrm>
            <a:off x="6935367" y="5280551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5" name="Овал 264"/>
          <p:cNvSpPr/>
          <p:nvPr/>
        </p:nvSpPr>
        <p:spPr>
          <a:xfrm>
            <a:off x="7592459" y="5163241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6" name="Прямая соединительная линия 265"/>
          <p:cNvCxnSpPr/>
          <p:nvPr/>
        </p:nvCxnSpPr>
        <p:spPr>
          <a:xfrm>
            <a:off x="8145519" y="4920829"/>
            <a:ext cx="172595" cy="9869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Прямая соединительная линия 266"/>
          <p:cNvCxnSpPr/>
          <p:nvPr/>
        </p:nvCxnSpPr>
        <p:spPr>
          <a:xfrm>
            <a:off x="8078068" y="4911267"/>
            <a:ext cx="69797" cy="1032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Прямая соединительная линия 267"/>
          <p:cNvCxnSpPr/>
          <p:nvPr/>
        </p:nvCxnSpPr>
        <p:spPr>
          <a:xfrm>
            <a:off x="8089630" y="4931615"/>
            <a:ext cx="69797" cy="1032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Прямая соединительная линия 268"/>
          <p:cNvCxnSpPr/>
          <p:nvPr/>
        </p:nvCxnSpPr>
        <p:spPr>
          <a:xfrm>
            <a:off x="8091842" y="4951873"/>
            <a:ext cx="69797" cy="1032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Прямая соединительная линия 269"/>
          <p:cNvCxnSpPr/>
          <p:nvPr/>
        </p:nvCxnSpPr>
        <p:spPr>
          <a:xfrm>
            <a:off x="8157670" y="4942030"/>
            <a:ext cx="155624" cy="9430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Прямая соединительная линия 270"/>
          <p:cNvCxnSpPr/>
          <p:nvPr/>
        </p:nvCxnSpPr>
        <p:spPr>
          <a:xfrm>
            <a:off x="8160514" y="4962150"/>
            <a:ext cx="164927" cy="9716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Прямая соединительная линия 271"/>
          <p:cNvCxnSpPr/>
          <p:nvPr/>
        </p:nvCxnSpPr>
        <p:spPr>
          <a:xfrm flipV="1">
            <a:off x="8313021" y="4936778"/>
            <a:ext cx="460788" cy="7976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Прямая соединительная линия 272"/>
          <p:cNvCxnSpPr/>
          <p:nvPr/>
        </p:nvCxnSpPr>
        <p:spPr>
          <a:xfrm flipV="1">
            <a:off x="8313021" y="4956741"/>
            <a:ext cx="460788" cy="7976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Прямая соединительная линия 273"/>
          <p:cNvCxnSpPr/>
          <p:nvPr/>
        </p:nvCxnSpPr>
        <p:spPr>
          <a:xfrm flipV="1">
            <a:off x="8321131" y="4978947"/>
            <a:ext cx="460788" cy="7976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Прямая соединительная линия 274"/>
          <p:cNvCxnSpPr/>
          <p:nvPr/>
        </p:nvCxnSpPr>
        <p:spPr>
          <a:xfrm>
            <a:off x="8771795" y="4935657"/>
            <a:ext cx="180246" cy="358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Прямая соединительная линия 275"/>
          <p:cNvCxnSpPr/>
          <p:nvPr/>
        </p:nvCxnSpPr>
        <p:spPr>
          <a:xfrm>
            <a:off x="8771795" y="4955597"/>
            <a:ext cx="190656" cy="470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Прямая соединительная линия 276"/>
          <p:cNvCxnSpPr/>
          <p:nvPr/>
        </p:nvCxnSpPr>
        <p:spPr>
          <a:xfrm>
            <a:off x="8778268" y="4977943"/>
            <a:ext cx="190656" cy="470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Прямая соединительная линия 277"/>
          <p:cNvCxnSpPr/>
          <p:nvPr/>
        </p:nvCxnSpPr>
        <p:spPr>
          <a:xfrm flipV="1">
            <a:off x="8968923" y="4918405"/>
            <a:ext cx="184183" cy="6410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Прямая соединительная линия 281"/>
          <p:cNvCxnSpPr/>
          <p:nvPr/>
        </p:nvCxnSpPr>
        <p:spPr>
          <a:xfrm flipV="1">
            <a:off x="8960040" y="4896989"/>
            <a:ext cx="184183" cy="6410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Прямая соединительная линия 282"/>
          <p:cNvCxnSpPr/>
          <p:nvPr/>
        </p:nvCxnSpPr>
        <p:spPr>
          <a:xfrm flipV="1">
            <a:off x="8951157" y="4876705"/>
            <a:ext cx="184183" cy="6410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Прямая соединительная линия 283"/>
          <p:cNvCxnSpPr/>
          <p:nvPr/>
        </p:nvCxnSpPr>
        <p:spPr>
          <a:xfrm flipV="1">
            <a:off x="9196739" y="4772540"/>
            <a:ext cx="254603" cy="8419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Прямая соединительная линия 285"/>
          <p:cNvCxnSpPr/>
          <p:nvPr/>
        </p:nvCxnSpPr>
        <p:spPr>
          <a:xfrm flipV="1">
            <a:off x="9201164" y="4792507"/>
            <a:ext cx="254603" cy="8419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Прямая соединительная линия 286"/>
          <p:cNvCxnSpPr/>
          <p:nvPr/>
        </p:nvCxnSpPr>
        <p:spPr>
          <a:xfrm flipV="1">
            <a:off x="9210047" y="4814639"/>
            <a:ext cx="254603" cy="84198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Прямая соединительная линия 287"/>
          <p:cNvCxnSpPr/>
          <p:nvPr/>
        </p:nvCxnSpPr>
        <p:spPr>
          <a:xfrm flipV="1">
            <a:off x="9446917" y="4719375"/>
            <a:ext cx="37612" cy="5219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Прямая соединительная линия 288"/>
          <p:cNvCxnSpPr/>
          <p:nvPr/>
        </p:nvCxnSpPr>
        <p:spPr>
          <a:xfrm flipV="1">
            <a:off x="9453554" y="4733506"/>
            <a:ext cx="46460" cy="5959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/>
          <p:cNvCxnSpPr/>
          <p:nvPr/>
        </p:nvCxnSpPr>
        <p:spPr>
          <a:xfrm flipV="1">
            <a:off x="9457978" y="4757895"/>
            <a:ext cx="46460" cy="5959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Прямая соединительная линия 290"/>
          <p:cNvCxnSpPr/>
          <p:nvPr/>
        </p:nvCxnSpPr>
        <p:spPr>
          <a:xfrm flipV="1">
            <a:off x="9485532" y="4663441"/>
            <a:ext cx="297680" cy="56517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Прямая соединительная линия 291"/>
          <p:cNvCxnSpPr/>
          <p:nvPr/>
        </p:nvCxnSpPr>
        <p:spPr>
          <a:xfrm flipV="1">
            <a:off x="9500015" y="4681002"/>
            <a:ext cx="297680" cy="56517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Прямая соединительная линия 292"/>
          <p:cNvCxnSpPr/>
          <p:nvPr/>
        </p:nvCxnSpPr>
        <p:spPr>
          <a:xfrm flipV="1">
            <a:off x="9505442" y="4704112"/>
            <a:ext cx="297680" cy="56517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Овал 293"/>
          <p:cNvSpPr/>
          <p:nvPr/>
        </p:nvSpPr>
        <p:spPr>
          <a:xfrm>
            <a:off x="8018054" y="4894726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Овал 294"/>
          <p:cNvSpPr/>
          <p:nvPr/>
        </p:nvSpPr>
        <p:spPr>
          <a:xfrm>
            <a:off x="9129947" y="4853189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6" name="Овал 295"/>
          <p:cNvSpPr/>
          <p:nvPr/>
        </p:nvSpPr>
        <p:spPr>
          <a:xfrm>
            <a:off x="9780812" y="4637860"/>
            <a:ext cx="85457" cy="81861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8951157" y="4513682"/>
            <a:ext cx="572376" cy="178017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7" name="Прямоугольник 296"/>
          <p:cNvSpPr/>
          <p:nvPr/>
        </p:nvSpPr>
        <p:spPr>
          <a:xfrm>
            <a:off x="8791484" y="4635932"/>
            <a:ext cx="338465" cy="77184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 rot="20451452">
            <a:off x="7190748" y="4709766"/>
            <a:ext cx="1024647" cy="12196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2" name="TextBox 301"/>
          <p:cNvSpPr txBox="1"/>
          <p:nvPr/>
        </p:nvSpPr>
        <p:spPr>
          <a:xfrm rot="20402959">
            <a:off x="6820436" y="4828172"/>
            <a:ext cx="1181788" cy="206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4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Г «Казахстан-Китай»</a:t>
            </a: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 flipV="1">
            <a:off x="5898204" y="4022012"/>
            <a:ext cx="270234" cy="309578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Овал 209"/>
          <p:cNvSpPr/>
          <p:nvPr/>
        </p:nvSpPr>
        <p:spPr>
          <a:xfrm>
            <a:off x="5844746" y="4316104"/>
            <a:ext cx="75942" cy="734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4" name="Овал 303"/>
          <p:cNvSpPr/>
          <p:nvPr/>
        </p:nvSpPr>
        <p:spPr>
          <a:xfrm>
            <a:off x="6110259" y="3997782"/>
            <a:ext cx="81308" cy="82395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2" name="Прямая соединительная линия 321"/>
          <p:cNvCxnSpPr/>
          <p:nvPr/>
        </p:nvCxnSpPr>
        <p:spPr>
          <a:xfrm flipV="1">
            <a:off x="8578252" y="4928936"/>
            <a:ext cx="68114" cy="183557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Прямая соединительная линия 322"/>
          <p:cNvCxnSpPr/>
          <p:nvPr/>
        </p:nvCxnSpPr>
        <p:spPr>
          <a:xfrm flipH="1" flipV="1">
            <a:off x="8612078" y="4856564"/>
            <a:ext cx="35162" cy="71034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Прямая соединительная линия 324"/>
          <p:cNvCxnSpPr/>
          <p:nvPr/>
        </p:nvCxnSpPr>
        <p:spPr>
          <a:xfrm flipV="1">
            <a:off x="8613259" y="4678789"/>
            <a:ext cx="124505" cy="176546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Прямая соединительная линия 326"/>
          <p:cNvCxnSpPr/>
          <p:nvPr/>
        </p:nvCxnSpPr>
        <p:spPr>
          <a:xfrm flipV="1">
            <a:off x="8737413" y="4460235"/>
            <a:ext cx="257046" cy="220253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Прямая соединительная линия 328"/>
          <p:cNvCxnSpPr/>
          <p:nvPr/>
        </p:nvCxnSpPr>
        <p:spPr>
          <a:xfrm flipV="1">
            <a:off x="8994460" y="4454475"/>
            <a:ext cx="66555" cy="6611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6285498" y="1956080"/>
            <a:ext cx="671656" cy="272407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358109" y="1827665"/>
            <a:ext cx="1229311" cy="292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1" dirty="0">
                <a:solidFill>
                  <a:srgbClr val="567A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Р-СУЛТАН</a:t>
            </a:r>
          </a:p>
        </p:txBody>
      </p:sp>
      <p:sp>
        <p:nvSpPr>
          <p:cNvPr id="309" name="Овал 308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4222571" y="3471128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0" name="Овал 309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4312198" y="2733526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2" name="Овал 311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2082119" y="2191268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5" name="Овал 314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2349613" y="2545953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0" name="Овал 319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3183236" y="3847429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5" name="Овал 784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4362443" y="2508965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7" name="TextBox 786"/>
          <p:cNvSpPr txBox="1"/>
          <p:nvPr/>
        </p:nvSpPr>
        <p:spPr>
          <a:xfrm>
            <a:off x="5879885" y="6362092"/>
            <a:ext cx="3604643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ru-RU" sz="9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компрессорные станции с неудовлетворительным                        </a:t>
            </a:r>
          </a:p>
          <a:p>
            <a:r>
              <a:rPr lang="ru-RU" sz="9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техническим состоянием (аналогично КС «</a:t>
            </a:r>
            <a:r>
              <a:rPr lang="ru-RU" sz="9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ульсары</a:t>
            </a:r>
            <a:r>
              <a:rPr lang="ru-RU" sz="9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  <a:endParaRPr lang="ru-RU" sz="9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8" name="Овал 787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6018489" y="6497570"/>
            <a:ext cx="162732" cy="124934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9" name="Прямоугольная выноска 278"/>
          <p:cNvSpPr/>
          <p:nvPr/>
        </p:nvSpPr>
        <p:spPr>
          <a:xfrm>
            <a:off x="419833" y="3342869"/>
            <a:ext cx="1144769" cy="1033101"/>
          </a:xfrm>
          <a:prstGeom prst="wedgeRectCallout">
            <a:avLst>
              <a:gd name="adj1" fmla="val 132282"/>
              <a:gd name="adj2" fmla="val -3229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3 </a:t>
            </a:r>
            <a:r>
              <a:rPr lang="ru-RU" sz="1400" b="1" dirty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</a:t>
            </a:r>
            <a:r>
              <a:rPr lang="ru-RU" sz="14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3/год</a:t>
            </a:r>
          </a:p>
          <a:p>
            <a:pPr algn="ctr"/>
            <a:r>
              <a:rPr lang="ru-RU" sz="14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ШО</a:t>
            </a:r>
          </a:p>
          <a:p>
            <a:pPr algn="ctr"/>
            <a:r>
              <a:rPr lang="ru-RU" sz="14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Тенгиз»</a:t>
            </a:r>
            <a:endParaRPr lang="ru-RU" sz="1400" b="1" dirty="0">
              <a:solidFill>
                <a:srgbClr val="2F52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Стрелка вверх 242"/>
          <p:cNvSpPr/>
          <p:nvPr/>
        </p:nvSpPr>
        <p:spPr>
          <a:xfrm rot="2992778">
            <a:off x="2715806" y="3306944"/>
            <a:ext cx="45719" cy="1095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0" name="Рисунок 279"/>
          <p:cNvPicPr>
            <a:picLocks noChangeAspect="1"/>
          </p:cNvPicPr>
          <p:nvPr/>
        </p:nvPicPr>
        <p:blipFill rotWithShape="1">
          <a:blip r:embed="rId4"/>
          <a:srcRect l="28300" t="-1046" r="27763" b="7158"/>
          <a:stretch/>
        </p:blipFill>
        <p:spPr>
          <a:xfrm>
            <a:off x="2203155" y="3139296"/>
            <a:ext cx="221859" cy="308673"/>
          </a:xfrm>
          <a:prstGeom prst="rect">
            <a:avLst/>
          </a:prstGeom>
        </p:spPr>
      </p:pic>
      <p:sp>
        <p:nvSpPr>
          <p:cNvPr id="281" name="Прямоугольная выноска 280"/>
          <p:cNvSpPr/>
          <p:nvPr/>
        </p:nvSpPr>
        <p:spPr>
          <a:xfrm>
            <a:off x="784270" y="2032020"/>
            <a:ext cx="1087071" cy="951849"/>
          </a:xfrm>
          <a:prstGeom prst="wedgeRectCallout">
            <a:avLst>
              <a:gd name="adj1" fmla="val 84670"/>
              <a:gd name="adj2" fmla="val 73189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</a:t>
            </a:r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1200" b="1" dirty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</a:t>
            </a:r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3/год</a:t>
            </a:r>
            <a:endParaRPr lang="ru-RU" sz="1200" b="1" dirty="0">
              <a:solidFill>
                <a:srgbClr val="2F52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COC</a:t>
            </a:r>
            <a:endParaRPr lang="ru-RU" sz="1200" b="1" dirty="0" smtClean="0">
              <a:solidFill>
                <a:srgbClr val="2F52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2F52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5" name="Прямая соединительная линия 284"/>
          <p:cNvCxnSpPr/>
          <p:nvPr/>
        </p:nvCxnSpPr>
        <p:spPr>
          <a:xfrm flipH="1">
            <a:off x="2378011" y="3018035"/>
            <a:ext cx="304761" cy="248954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Прямая соединительная линия 298"/>
          <p:cNvCxnSpPr>
            <a:stCxn id="303" idx="7"/>
            <a:endCxn id="238" idx="3"/>
          </p:cNvCxnSpPr>
          <p:nvPr/>
        </p:nvCxnSpPr>
        <p:spPr>
          <a:xfrm flipH="1">
            <a:off x="2682558" y="3250304"/>
            <a:ext cx="265848" cy="239311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Овал 302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2841257" y="3230854"/>
            <a:ext cx="125533" cy="132811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8" name="Рисунок 237"/>
          <p:cNvPicPr>
            <a:picLocks noChangeAspect="1"/>
          </p:cNvPicPr>
          <p:nvPr/>
        </p:nvPicPr>
        <p:blipFill rotWithShape="1">
          <a:blip r:embed="rId4"/>
          <a:srcRect l="28300" t="-1046" r="27763" b="7158"/>
          <a:stretch/>
        </p:blipFill>
        <p:spPr>
          <a:xfrm>
            <a:off x="2472003" y="3343142"/>
            <a:ext cx="210555" cy="292946"/>
          </a:xfrm>
          <a:prstGeom prst="rect">
            <a:avLst/>
          </a:prstGeom>
        </p:spPr>
      </p:pic>
      <p:sp>
        <p:nvSpPr>
          <p:cNvPr id="301" name="Стрелка вверх 300"/>
          <p:cNvSpPr/>
          <p:nvPr/>
        </p:nvSpPr>
        <p:spPr>
          <a:xfrm rot="2400000">
            <a:off x="2922363" y="1921122"/>
            <a:ext cx="45719" cy="187693"/>
          </a:xfrm>
          <a:prstGeom prst="up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 flipH="1">
            <a:off x="2013098" y="3137993"/>
            <a:ext cx="243986" cy="47752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Овал 96"/>
          <p:cNvSpPr/>
          <p:nvPr/>
        </p:nvSpPr>
        <p:spPr>
          <a:xfrm>
            <a:off x="2242912" y="3109554"/>
            <a:ext cx="57107" cy="56879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Овал 87"/>
          <p:cNvSpPr/>
          <p:nvPr/>
        </p:nvSpPr>
        <p:spPr>
          <a:xfrm>
            <a:off x="2651207" y="2964037"/>
            <a:ext cx="85457" cy="81861"/>
          </a:xfrm>
          <a:prstGeom prst="ellips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7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5" name="Рисунок 304"/>
          <p:cNvPicPr>
            <a:picLocks noChangeAspect="1"/>
          </p:cNvPicPr>
          <p:nvPr/>
        </p:nvPicPr>
        <p:blipFill rotWithShape="1">
          <a:blip r:embed="rId4"/>
          <a:srcRect l="28300" t="-1046" r="27763" b="7158"/>
          <a:stretch/>
        </p:blipFill>
        <p:spPr>
          <a:xfrm>
            <a:off x="2627838" y="2012716"/>
            <a:ext cx="202911" cy="282310"/>
          </a:xfrm>
          <a:prstGeom prst="rect">
            <a:avLst/>
          </a:prstGeom>
        </p:spPr>
      </p:pic>
      <p:sp>
        <p:nvSpPr>
          <p:cNvPr id="306" name="Прямоугольная выноска 305"/>
          <p:cNvSpPr/>
          <p:nvPr/>
        </p:nvSpPr>
        <p:spPr>
          <a:xfrm>
            <a:off x="1110508" y="617864"/>
            <a:ext cx="1278541" cy="955409"/>
          </a:xfrm>
          <a:prstGeom prst="wedgeRectCallout">
            <a:avLst>
              <a:gd name="adj1" fmla="val 73245"/>
              <a:gd name="adj2" fmla="val 100089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1 </a:t>
            </a:r>
            <a:r>
              <a:rPr lang="ru-RU" sz="1200" b="1" dirty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</a:t>
            </a:r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3/год</a:t>
            </a:r>
            <a:endParaRPr lang="ru-RU" sz="1200" b="1" dirty="0">
              <a:solidFill>
                <a:srgbClr val="2F52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 «</a:t>
            </a:r>
            <a:r>
              <a:rPr lang="ru-RU" sz="1200" b="1" dirty="0" err="1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чаганак</a:t>
            </a:r>
            <a:r>
              <a:rPr lang="ru-RU" sz="1200" b="1" dirty="0" smtClean="0">
                <a:solidFill>
                  <a:srgbClr val="2F52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2F52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7" name="Прямая соединительная линия 306"/>
          <p:cNvCxnSpPr/>
          <p:nvPr/>
        </p:nvCxnSpPr>
        <p:spPr>
          <a:xfrm flipH="1">
            <a:off x="2789451" y="1659719"/>
            <a:ext cx="347515" cy="432564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Стрелка вверх 312"/>
          <p:cNvSpPr/>
          <p:nvPr/>
        </p:nvSpPr>
        <p:spPr>
          <a:xfrm rot="4320000" flipV="1">
            <a:off x="2881281" y="1643784"/>
            <a:ext cx="45720" cy="17304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4" name="Стрелка вверх 313"/>
          <p:cNvSpPr/>
          <p:nvPr/>
        </p:nvSpPr>
        <p:spPr>
          <a:xfrm rot="2992778">
            <a:off x="2418852" y="3093804"/>
            <a:ext cx="45719" cy="1095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1" name="Стрелка вверх 320"/>
          <p:cNvSpPr/>
          <p:nvPr/>
        </p:nvSpPr>
        <p:spPr>
          <a:xfrm rot="4320000" flipV="1">
            <a:off x="2083956" y="1901333"/>
            <a:ext cx="45719" cy="10082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 rot="19586094">
            <a:off x="6233027" y="2824185"/>
            <a:ext cx="9911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Г Сарыарка</a:t>
            </a:r>
            <a:endParaRPr lang="ru-RU" sz="8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Стрелка вправо 51"/>
          <p:cNvSpPr/>
          <p:nvPr/>
        </p:nvSpPr>
        <p:spPr>
          <a:xfrm rot="3196612">
            <a:off x="2253735" y="2345988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0" y="0"/>
            <a:ext cx="12170527" cy="56738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удовлетворительное состояние объектов газотранспортной</a:t>
            </a:r>
          </a:p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ы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К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примере КС «</a:t>
            </a:r>
            <a:r>
              <a:rPr lang="ru-RU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ульсары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cxnSp>
        <p:nvCxnSpPr>
          <p:cNvPr id="330" name="Прямая соединительная линия 329"/>
          <p:cNvCxnSpPr/>
          <p:nvPr/>
        </p:nvCxnSpPr>
        <p:spPr>
          <a:xfrm flipH="1" flipV="1">
            <a:off x="3209577" y="1652213"/>
            <a:ext cx="1300707" cy="417564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Стрелка вправо 333"/>
          <p:cNvSpPr/>
          <p:nvPr/>
        </p:nvSpPr>
        <p:spPr>
          <a:xfrm rot="1162625">
            <a:off x="4079027" y="1866027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5" name="Стрелка вправо 334"/>
          <p:cNvSpPr/>
          <p:nvPr/>
        </p:nvSpPr>
        <p:spPr>
          <a:xfrm rot="1162625">
            <a:off x="3703541" y="1730700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6" name="Стрелка вправо 335"/>
          <p:cNvSpPr/>
          <p:nvPr/>
        </p:nvSpPr>
        <p:spPr>
          <a:xfrm rot="5929703">
            <a:off x="4452215" y="2362077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7" name="Стрелка вправо 336"/>
          <p:cNvSpPr/>
          <p:nvPr/>
        </p:nvSpPr>
        <p:spPr>
          <a:xfrm rot="20647938">
            <a:off x="3309166" y="3796939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923365" y="3379706"/>
            <a:ext cx="142288" cy="96263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Овал 76"/>
          <p:cNvSpPr/>
          <p:nvPr/>
        </p:nvSpPr>
        <p:spPr>
          <a:xfrm>
            <a:off x="4800150" y="3361463"/>
            <a:ext cx="174799" cy="9749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8" name="Овал 307">
            <a:extLst>
              <a:ext uri="{FF2B5EF4-FFF2-40B4-BE49-F238E27FC236}">
                <a16:creationId xmlns:a16="http://schemas.microsoft.com/office/drawing/2014/main" id="{EDA49ECB-228C-4C79-8F16-1AE567247201}"/>
              </a:ext>
            </a:extLst>
          </p:cNvPr>
          <p:cNvSpPr/>
          <p:nvPr/>
        </p:nvSpPr>
        <p:spPr>
          <a:xfrm>
            <a:off x="1948961" y="3126838"/>
            <a:ext cx="118937" cy="117813"/>
          </a:xfrm>
          <a:prstGeom prst="ellipse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8" name="Стрелка вправо 337"/>
          <p:cNvSpPr/>
          <p:nvPr/>
        </p:nvSpPr>
        <p:spPr>
          <a:xfrm rot="20925460">
            <a:off x="4613345" y="3461841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9" name="Стрелка вправо 338"/>
          <p:cNvSpPr/>
          <p:nvPr/>
        </p:nvSpPr>
        <p:spPr>
          <a:xfrm rot="2984698">
            <a:off x="6068665" y="4673158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0" name="Стрелка вправо 339"/>
          <p:cNvSpPr/>
          <p:nvPr/>
        </p:nvSpPr>
        <p:spPr>
          <a:xfrm rot="18459408">
            <a:off x="5694180" y="3879918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1" name="Стрелка вправо 340"/>
          <p:cNvSpPr/>
          <p:nvPr/>
        </p:nvSpPr>
        <p:spPr>
          <a:xfrm rot="2364208">
            <a:off x="6608162" y="5211182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2" name="Стрелка вправо 341"/>
          <p:cNvSpPr/>
          <p:nvPr/>
        </p:nvSpPr>
        <p:spPr>
          <a:xfrm rot="20752468">
            <a:off x="9401203" y="4640654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3" name="Стрелка вправо 342"/>
          <p:cNvSpPr/>
          <p:nvPr/>
        </p:nvSpPr>
        <p:spPr>
          <a:xfrm rot="20978471">
            <a:off x="8367413" y="4908380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4" name="Стрелка вправо 343"/>
          <p:cNvSpPr/>
          <p:nvPr/>
        </p:nvSpPr>
        <p:spPr>
          <a:xfrm rot="14036838">
            <a:off x="7064925" y="2337450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5" name="Стрелка вправо 344"/>
          <p:cNvSpPr/>
          <p:nvPr/>
        </p:nvSpPr>
        <p:spPr>
          <a:xfrm rot="19534371">
            <a:off x="6720054" y="3065228"/>
            <a:ext cx="179207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556" y="4829259"/>
            <a:ext cx="2633700" cy="180457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9057" y="5038548"/>
            <a:ext cx="2743200" cy="1786128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616" y="4908758"/>
            <a:ext cx="2694432" cy="1981200"/>
          </a:xfrm>
          <a:prstGeom prst="rect">
            <a:avLst/>
          </a:prstGeom>
        </p:spPr>
      </p:pic>
      <p:pic>
        <p:nvPicPr>
          <p:cNvPr id="242" name="Рисунок 24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360" y="171250"/>
            <a:ext cx="3218688" cy="1719072"/>
          </a:xfrm>
          <a:prstGeom prst="rect">
            <a:avLst/>
          </a:prstGeom>
        </p:spPr>
      </p:pic>
      <p:sp>
        <p:nvSpPr>
          <p:cNvPr id="56" name="Скругленный прямоугольник 55"/>
          <p:cNvSpPr/>
          <p:nvPr/>
        </p:nvSpPr>
        <p:spPr>
          <a:xfrm>
            <a:off x="3035207" y="4334732"/>
            <a:ext cx="2272232" cy="782147"/>
          </a:xfrm>
          <a:prstGeom prst="roundRect">
            <a:avLst/>
          </a:prstGeom>
          <a:solidFill>
            <a:srgbClr val="FFE6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 «</a:t>
            </a:r>
            <a:r>
              <a:rPr lang="ru-RU" sz="100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ьсары</a:t>
            </a:r>
            <a:r>
              <a:rPr lang="ru-RU" sz="10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а в эксплуатацию в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68г. </a:t>
            </a:r>
            <a:r>
              <a:rPr lang="ru-RU" sz="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4 </a:t>
            </a:r>
            <a:r>
              <a:rPr lang="ru-RU" sz="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8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е работы зависит объем прокачки газа  ТШО, а также энергетическая безопасность внутреннего рынка РК</a:t>
            </a:r>
          </a:p>
        </p:txBody>
      </p:sp>
      <p:pic>
        <p:nvPicPr>
          <p:cNvPr id="241" name="Рисунок 24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659" y="1746171"/>
            <a:ext cx="3540868" cy="1949450"/>
          </a:xfrm>
          <a:prstGeom prst="rect">
            <a:avLst/>
          </a:prstGeom>
        </p:spPr>
      </p:pic>
      <p:pic>
        <p:nvPicPr>
          <p:cNvPr id="240" name="Рисунок 23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728" y="3391490"/>
            <a:ext cx="2170364" cy="1585097"/>
          </a:xfrm>
          <a:prstGeom prst="rect">
            <a:avLst/>
          </a:prstGeom>
        </p:spPr>
      </p:pic>
      <p:sp>
        <p:nvSpPr>
          <p:cNvPr id="298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bg1"/>
                </a:solidFill>
              </a:rPr>
              <a:pPr/>
              <a:t>14</a:t>
            </a:fld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247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10" y="1152737"/>
            <a:ext cx="6009977" cy="288305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 bwMode="auto">
          <a:xfrm>
            <a:off x="5836204" y="838604"/>
            <a:ext cx="2653551" cy="12629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3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454139" y="5480851"/>
            <a:ext cx="8534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600" b="1" dirty="0">
                <a:solidFill>
                  <a:srgbClr val="1F4E79"/>
                </a:solidFill>
                <a:latin typeface="Arial"/>
                <a:cs typeface="Arial"/>
              </a:rPr>
              <a:t>Актуализация Генеральной схемы газификации на 2022 – 2030 гг.</a:t>
            </a:r>
            <a:endParaRPr dirty="0"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73389" y="5836891"/>
            <a:ext cx="8661163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/>
              <a:buChar char="§"/>
              <a:defRPr/>
            </a:pP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Обеспечить к 2025 году доступ к газу </a:t>
            </a:r>
            <a:r>
              <a:rPr lang="ru-RU" sz="1200" b="1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246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 сел с общим населением около </a:t>
            </a:r>
            <a:r>
              <a:rPr lang="ru-RU" sz="1200" b="1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900 тыс. человек</a:t>
            </a:r>
            <a:endParaRPr dirty="0"/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/>
              <a:buChar char="§"/>
              <a:defRPr/>
            </a:pP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Предусмотреть газификацию </a:t>
            </a:r>
            <a:r>
              <a:rPr lang="ru-RU" sz="1200" b="0" i="0" u="none" strike="noStrike" cap="none" spc="0" dirty="0" smtClean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Казахстана </a:t>
            </a:r>
            <a:r>
              <a:rPr lang="ru-RU" sz="1200" b="1" i="0" u="none" strike="noStrike" cap="none" spc="0" dirty="0" smtClean="0">
                <a:ln>
                  <a:noFill/>
                </a:ln>
                <a:solidFill>
                  <a:srgbClr val="FF0000"/>
                </a:solidFill>
                <a:latin typeface="Arial"/>
                <a:ea typeface="Arial"/>
                <a:cs typeface="Arial"/>
              </a:rPr>
              <a:t>с учетом привлечения частных инвестиций - независимые ГРО!!!</a:t>
            </a:r>
            <a:endParaRPr lang="ru-RU" sz="1200" b="1" i="0" u="none" strike="noStrike" cap="none" spc="0" dirty="0">
              <a:ln>
                <a:noFill/>
              </a:ln>
              <a:solidFill>
                <a:srgbClr val="FF0000"/>
              </a:solidFill>
              <a:latin typeface="Arial"/>
              <a:ea typeface="Arial"/>
              <a:cs typeface="Arial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/>
        </p:blipFill>
        <p:spPr bwMode="auto">
          <a:xfrm>
            <a:off x="149339" y="5532550"/>
            <a:ext cx="196408" cy="189802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 bwMode="auto">
          <a:xfrm flipV="1">
            <a:off x="149339" y="5411555"/>
            <a:ext cx="8338607" cy="45719"/>
          </a:xfrm>
          <a:prstGeom prst="rect">
            <a:avLst/>
          </a:prstGeom>
          <a:solidFill>
            <a:schemeClr val="accent1">
              <a:alpha val="15999"/>
            </a:schemeClr>
          </a:solidFill>
          <a:ln>
            <a:solidFill>
              <a:schemeClr val="accent1">
                <a:shade val="50000"/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3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5836204" y="837215"/>
            <a:ext cx="990892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0" dirty="0" smtClean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11</a:t>
            </a:r>
            <a:endParaRPr lang="en-US" sz="1200" b="1" i="0" u="none" strike="noStrike" cap="none" spc="0" dirty="0">
              <a:ln>
                <a:noFill/>
              </a:ln>
              <a:solidFill>
                <a:srgbClr val="2F5597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7175915" y="864305"/>
            <a:ext cx="1229825" cy="461665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400" b="1" i="0" u="none" strike="noStrike" cap="none" spc="0" dirty="0" smtClean="0">
                <a:ln>
                  <a:noFill/>
                </a:ln>
                <a:solidFill>
                  <a:srgbClr val="00B0F0"/>
                </a:solidFill>
                <a:latin typeface="Arial"/>
                <a:ea typeface="Lato Light"/>
                <a:cs typeface="Arial"/>
              </a:rPr>
              <a:t>57,67%</a:t>
            </a:r>
            <a:endParaRPr lang="en-US" sz="2400" b="1" i="0" u="none" strike="noStrike" cap="none" spc="0" dirty="0">
              <a:ln>
                <a:noFill/>
              </a:ln>
              <a:solidFill>
                <a:srgbClr val="00B0F0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254040" y="877027"/>
            <a:ext cx="9751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 dirty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млн. 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 dirty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человек</a:t>
            </a:r>
            <a:endParaRPr lang="en-US" sz="1200" b="1" i="0" u="none" strike="noStrike" cap="none" spc="0" dirty="0">
              <a:ln>
                <a:noFill/>
              </a:ln>
              <a:solidFill>
                <a:srgbClr val="2F5597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 bwMode="auto">
          <a:xfrm>
            <a:off x="5551323" y="1412612"/>
            <a:ext cx="299784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300" b="0" i="0" u="none" strike="noStrike" cap="none" spc="0" dirty="0" smtClean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      </a:t>
            </a:r>
            <a:r>
              <a:rPr lang="ru-RU" sz="1300" b="1" i="0" u="none" strike="noStrike" cap="none" spc="0" dirty="0" smtClean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имеют </a:t>
            </a:r>
            <a:r>
              <a:rPr lang="ru-RU" sz="1300" b="1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доступ к газу</a:t>
            </a:r>
            <a:endParaRPr dirty="0"/>
          </a:p>
          <a:p>
            <a:pPr marL="563563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defRPr/>
            </a:pP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население – 2 620 тыс. </a:t>
            </a:r>
            <a:r>
              <a:rPr lang="ru-RU" sz="1300" b="0" i="0" u="none" strike="noStrike" cap="none" spc="0" dirty="0" err="1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аб</a:t>
            </a: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.</a:t>
            </a:r>
            <a:endParaRPr dirty="0"/>
          </a:p>
          <a:p>
            <a:pPr marL="563563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defRPr/>
            </a:pP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юр. лица – 51,6 тыс. </a:t>
            </a:r>
            <a:r>
              <a:rPr lang="ru-RU" sz="1300" b="0" i="0" u="none" strike="noStrike" cap="none" spc="0" dirty="0" err="1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аб</a:t>
            </a: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.</a:t>
            </a:r>
            <a:endParaRPr lang="en-US" sz="1300" b="0" i="0" u="none" strike="noStrike" cap="none" spc="0" dirty="0">
              <a:ln>
                <a:noFill/>
              </a:ln>
              <a:solidFill>
                <a:srgbClr val="00206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5836204" y="2295555"/>
            <a:ext cx="2653551" cy="1068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3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6" name="TextBox 15"/>
          <p:cNvSpPr txBox="1"/>
          <p:nvPr/>
        </p:nvSpPr>
        <p:spPr bwMode="auto">
          <a:xfrm>
            <a:off x="5805410" y="2249068"/>
            <a:ext cx="1117787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0" dirty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17,5</a:t>
            </a:r>
            <a:endParaRPr lang="en-US" sz="1200" b="1" i="0" u="none" strike="noStrike" cap="none" spc="0" dirty="0">
              <a:ln>
                <a:noFill/>
              </a:ln>
              <a:solidFill>
                <a:srgbClr val="2F5597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6566665" y="2356789"/>
            <a:ext cx="9751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i="0" u="none" strike="noStrike" cap="none" spc="0" dirty="0" smtClean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млрд.м³</a:t>
            </a:r>
            <a:endParaRPr lang="en-US" sz="1400" b="1" i="0" u="none" strike="noStrike" cap="none" spc="0" dirty="0">
              <a:ln>
                <a:noFill/>
              </a:ln>
              <a:solidFill>
                <a:srgbClr val="2F5597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18" name="TextBox 17"/>
          <p:cNvSpPr txBox="1"/>
          <p:nvPr/>
        </p:nvSpPr>
        <p:spPr bwMode="auto">
          <a:xfrm>
            <a:off x="5798410" y="2826404"/>
            <a:ext cx="26896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300" b="0" i="0" u="none" strike="noStrike" cap="none" spc="0" dirty="0" smtClean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поставки </a:t>
            </a: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/>
            </a:r>
            <a:b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</a:b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на </a:t>
            </a:r>
            <a:r>
              <a:rPr lang="ru-RU" sz="1300" b="1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внутренний рынок </a:t>
            </a: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в 2021 г.</a:t>
            </a:r>
            <a:endParaRPr dirty="0"/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5829342" y="3588665"/>
            <a:ext cx="2653551" cy="12588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3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5775529" y="3538705"/>
            <a:ext cx="990892" cy="5232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0" dirty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126</a:t>
            </a:r>
            <a:endParaRPr lang="en-US" sz="1200" b="1" i="0" u="none" strike="noStrike" cap="none" spc="0" dirty="0">
              <a:ln>
                <a:noFill/>
              </a:ln>
              <a:solidFill>
                <a:srgbClr val="2F5597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6435608" y="3653271"/>
            <a:ext cx="9751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i="0" u="none" strike="noStrike" cap="none" spc="0" dirty="0">
                <a:ln>
                  <a:noFill/>
                </a:ln>
                <a:solidFill>
                  <a:srgbClr val="2F5597"/>
                </a:solidFill>
                <a:latin typeface="Arial"/>
                <a:ea typeface="Lato Light"/>
                <a:cs typeface="Arial"/>
              </a:rPr>
              <a:t>тысяч</a:t>
            </a:r>
            <a:endParaRPr lang="en-US" sz="1400" b="1" i="0" u="none" strike="noStrike" cap="none" spc="0" dirty="0">
              <a:ln>
                <a:noFill/>
              </a:ln>
              <a:solidFill>
                <a:srgbClr val="2F5597"/>
              </a:solidFill>
              <a:latin typeface="Arial"/>
              <a:ea typeface="Lato Light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5829341" y="4093058"/>
            <a:ext cx="275304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300" b="1" i="0" u="none" strike="noStrike" cap="none" spc="0" dirty="0" smtClean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новых </a:t>
            </a:r>
            <a:r>
              <a:rPr lang="ru-RU" sz="1300" b="1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потребителей </a:t>
            </a:r>
            <a: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подключено в 2021 году </a:t>
            </a:r>
            <a:br>
              <a:rPr lang="ru-RU" sz="1300" b="0" i="0" u="none" strike="noStrike" cap="none" spc="0" dirty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</a:br>
            <a:r>
              <a:rPr lang="ru-RU" sz="13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(в </a:t>
            </a:r>
            <a:r>
              <a:rPr lang="ru-RU" sz="1300" b="0" i="0" u="none" strike="noStrike" cap="none" spc="0" dirty="0" err="1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т.ч</a:t>
            </a:r>
            <a:r>
              <a:rPr lang="ru-RU" sz="13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. население - 121 тыс.) </a:t>
            </a:r>
            <a:endParaRPr dirty="0"/>
          </a:p>
        </p:txBody>
      </p:sp>
      <p:sp>
        <p:nvSpPr>
          <p:cNvPr id="23" name="TextBox 22"/>
          <p:cNvSpPr txBox="1"/>
          <p:nvPr/>
        </p:nvSpPr>
        <p:spPr bwMode="auto">
          <a:xfrm>
            <a:off x="73390" y="4023647"/>
            <a:ext cx="6086633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ru-RU" sz="1600" b="1" dirty="0">
                <a:solidFill>
                  <a:srgbClr val="1F4E79"/>
                </a:solidFill>
                <a:latin typeface="Arial"/>
                <a:cs typeface="Arial"/>
              </a:rPr>
              <a:t>      Подключение к газу:</a:t>
            </a:r>
            <a:endParaRPr dirty="0"/>
          </a:p>
          <a:p>
            <a:pPr marL="342900" marR="0" lvl="0" indent="-3429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defRPr/>
            </a:pP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в конкурентной среде: порядка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500 компаний по РК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;</a:t>
            </a:r>
            <a:endParaRPr dirty="0"/>
          </a:p>
          <a:p>
            <a:pPr marL="342900" marR="0" lvl="0" indent="-3429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defRPr/>
            </a:pP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стоимость газификации от </a:t>
            </a:r>
            <a:r>
              <a:rPr lang="ru-RU" sz="1200" b="0" i="0" u="none" strike="noStrike" cap="none" spc="0" dirty="0" smtClean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12</a:t>
            </a:r>
            <a:r>
              <a:rPr lang="en-US" sz="1200" b="0" i="0" u="none" strike="noStrike" cap="none" spc="0" dirty="0" smtClean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5</a:t>
            </a:r>
            <a:r>
              <a:rPr lang="ru-RU" sz="1200" b="0" i="0" u="none" strike="noStrike" cap="none" spc="0" dirty="0" smtClean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тыс. до 1 млн. </a:t>
            </a:r>
            <a:r>
              <a:rPr lang="ru-RU" sz="1200" b="0" i="0" u="none" strike="noStrike" cap="none" spc="0" dirty="0" err="1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тг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.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и выше; </a:t>
            </a:r>
            <a:endParaRPr dirty="0"/>
          </a:p>
          <a:p>
            <a:pPr marL="342900" marR="0" lvl="0" indent="-3429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defRPr/>
            </a:pPr>
            <a:r>
              <a:rPr lang="ru-RU" sz="1200" b="0" i="0" u="none" strike="noStrike" cap="none" spc="0" dirty="0">
                <a:ln>
                  <a:noFill/>
                </a:ln>
                <a:solidFill>
                  <a:prstClr val="black"/>
                </a:solidFill>
                <a:latin typeface="Arial"/>
                <a:ea typeface="Arial"/>
                <a:cs typeface="Arial"/>
              </a:rPr>
              <a:t>КТГ Аймак осуществляет только врезку и пуск газа согласно требованиям безопасности. Стоимость - </a:t>
            </a:r>
            <a:r>
              <a:rPr lang="en-US" sz="1200" dirty="0">
                <a:solidFill>
                  <a:srgbClr val="0070C0"/>
                </a:solidFill>
                <a:latin typeface="Arial"/>
                <a:ea typeface="Arial"/>
                <a:cs typeface="Arial"/>
              </a:rPr>
              <a:t>2</a:t>
            </a:r>
            <a:r>
              <a:rPr lang="ru-RU" sz="1200" b="0" i="0" u="none" strike="noStrike" cap="none" spc="0" dirty="0" smtClean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3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тыс. </a:t>
            </a:r>
            <a:r>
              <a:rPr lang="ru-RU" sz="1200" b="0" i="0" u="none" strike="noStrike" cap="none" spc="0" dirty="0" err="1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тг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rgbClr val="0070C0"/>
                </a:solidFill>
                <a:latin typeface="Arial"/>
                <a:ea typeface="Arial"/>
                <a:cs typeface="Arial"/>
              </a:rPr>
              <a:t>.</a:t>
            </a:r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/>
        </p:blipFill>
        <p:spPr bwMode="auto">
          <a:xfrm>
            <a:off x="149339" y="4116199"/>
            <a:ext cx="196408" cy="189802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8586962" y="743052"/>
            <a:ext cx="3519979" cy="5632311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ОВЫШЕНИЯ ЭФФЕКТИВНОСТИ ИНВЕСТИЦИЙ В ГАЗИФИКАЦИЮ СЕВЕРНЫХ РЕГИОНОВ И В ЦЕЛОМ КАЗАХСТАНА БУДЕТ ПРИМЕНЕН РАЦИОНАЛЬНЫЙ ПОДХОД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селенные пункты и промышленность с низким объемом потребления будут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очно газифицированы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LNG/CNG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тодом.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спективе, с учетом формирования стабильного потребления будет обеспечен переход на трубопроводный газ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. ДОПОЛНИТЕЛЬНО НЕОБХОДИМО  АКТУАЛИЗИРОВАТЬ ПЛАН МЕРОПРИЯТИЙ ПО </a:t>
            </a:r>
            <a:r>
              <a:rPr lang="ru-RU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Ю ИСПОЛЬЗОВАНИЯ ПРИРОДНОГО ГАЗА В КАЧЕСТВЕ МОТОРНОГО ТОПЛИВА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ПП РК №797 29.11.2018Г.), </a:t>
            </a:r>
            <a:r>
              <a:rPr lang="ru-RU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ЮЩИЙ ЗНАЧИТЕЛЬНЫЙ СОЦИАЛЬНЫЙ, ЭКОЛОГИЧЕСКИЙ И ЭКОНОМИЧЕСКИЙ ЭФФЕКТ.</a:t>
            </a:r>
          </a:p>
          <a:p>
            <a:pPr algn="just"/>
            <a:endParaRPr lang="ru-RU" sz="1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 ДЛЯ СТИМУЛИРОВАНИЯ НЕЗАВИСИМЫХ НЕДРОПОЛЬЗОВАТЕЛЕЙ В РАСШИРЕНИЕ РЕСУРСНОЙ БАЗЫ РАССМАТРИВАЕТСЯ СОВМЕСТНАЯ РЕАЛИЗАЦИЯ НОВЫХ ГАЗОТРАНСПОРТНЫХ ПРОЕКТОВ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-ая нитка МГ ББШ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витие новых транзитных/экспортных маршрутов (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ссия –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азахстан –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тай, ТАПИ,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анскаспийский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газопровод). 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5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12170527" cy="56738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Карта и показатели газоснабжения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268347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6" hidden="1">
            <a:extLst>
              <a:ext uri="{FF2B5EF4-FFF2-40B4-BE49-F238E27FC236}">
                <a16:creationId xmlns:a16="http://schemas.microsoft.com/office/drawing/2014/main" id="{99C289D6-4C45-4AEF-9B78-B31046C4D9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15" name="Object 6" hidden="1">
                        <a:extLst>
                          <a:ext uri="{FF2B5EF4-FFF2-40B4-BE49-F238E27FC236}">
                            <a16:creationId xmlns:a16="http://schemas.microsoft.com/office/drawing/2014/main" id="{99C289D6-4C45-4AEF-9B78-B31046C4D9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41E558F2-E30A-4741-99ED-8768CCE99AB3}"/>
              </a:ext>
            </a:extLst>
          </p:cNvPr>
          <p:cNvCxnSpPr>
            <a:cxnSpLocks/>
          </p:cNvCxnSpPr>
          <p:nvPr/>
        </p:nvCxnSpPr>
        <p:spPr>
          <a:xfrm>
            <a:off x="2247534" y="3688289"/>
            <a:ext cx="9557386" cy="0"/>
          </a:xfrm>
          <a:prstGeom prst="line">
            <a:avLst/>
          </a:prstGeom>
          <a:ln w="6350" cap="sq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6856AA64-E3A9-4539-9203-49A8C6F49952}"/>
              </a:ext>
            </a:extLst>
          </p:cNvPr>
          <p:cNvSpPr/>
          <p:nvPr/>
        </p:nvSpPr>
        <p:spPr>
          <a:xfrm>
            <a:off x="1511332" y="5334127"/>
            <a:ext cx="358007" cy="279891"/>
          </a:xfrm>
          <a:custGeom>
            <a:avLst/>
            <a:gdLst>
              <a:gd name="connsiteX0" fmla="*/ 0 w 322331"/>
              <a:gd name="connsiteY0" fmla="*/ 0 h 252000"/>
              <a:gd name="connsiteX1" fmla="*/ 322331 w 322331"/>
              <a:gd name="connsiteY1" fmla="*/ 0 h 252000"/>
              <a:gd name="connsiteX2" fmla="*/ 119572 w 322331"/>
              <a:gd name="connsiteY2" fmla="*/ 252000 h 252000"/>
              <a:gd name="connsiteX3" fmla="*/ 119304 w 322331"/>
              <a:gd name="connsiteY3" fmla="*/ 25200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331" h="252000">
                <a:moveTo>
                  <a:pt x="0" y="0"/>
                </a:moveTo>
                <a:lnTo>
                  <a:pt x="322331" y="0"/>
                </a:lnTo>
                <a:lnTo>
                  <a:pt x="119572" y="252000"/>
                </a:lnTo>
                <a:lnTo>
                  <a:pt x="119304" y="252000"/>
                </a:lnTo>
                <a:close/>
              </a:path>
            </a:pathLst>
          </a:custGeom>
          <a:solidFill>
            <a:srgbClr val="DEDED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9BA9ABA7-4D9C-426F-BA15-8E5DEF587FE3}"/>
              </a:ext>
            </a:extLst>
          </p:cNvPr>
          <p:cNvSpPr/>
          <p:nvPr/>
        </p:nvSpPr>
        <p:spPr>
          <a:xfrm>
            <a:off x="8547056" y="651106"/>
            <a:ext cx="3644944" cy="2875731"/>
          </a:xfrm>
          <a:custGeom>
            <a:avLst/>
            <a:gdLst>
              <a:gd name="connsiteX0" fmla="*/ 0 w 3644944"/>
              <a:gd name="connsiteY0" fmla="*/ 0 h 3641848"/>
              <a:gd name="connsiteX1" fmla="*/ 3644944 w 3644944"/>
              <a:gd name="connsiteY1" fmla="*/ 0 h 3641848"/>
              <a:gd name="connsiteX2" fmla="*/ 3644944 w 3644944"/>
              <a:gd name="connsiteY2" fmla="*/ 3641848 h 3641848"/>
              <a:gd name="connsiteX3" fmla="*/ 4663 w 3644944"/>
              <a:gd name="connsiteY3" fmla="*/ 184396 h 3641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944" h="3641848">
                <a:moveTo>
                  <a:pt x="0" y="0"/>
                </a:moveTo>
                <a:lnTo>
                  <a:pt x="3644944" y="0"/>
                </a:lnTo>
                <a:lnTo>
                  <a:pt x="3644944" y="3641848"/>
                </a:lnTo>
                <a:cubicBezTo>
                  <a:pt x="1694762" y="3641848"/>
                  <a:pt x="102288" y="2110317"/>
                  <a:pt x="4663" y="184396"/>
                </a:cubicBezTo>
                <a:close/>
              </a:path>
            </a:pathLst>
          </a:cu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489BAAA-5B97-45AA-8763-4EF57D912DFB}"/>
              </a:ext>
            </a:extLst>
          </p:cNvPr>
          <p:cNvSpPr txBox="1">
            <a:spLocks/>
          </p:cNvSpPr>
          <p:nvPr/>
        </p:nvSpPr>
        <p:spPr>
          <a:xfrm>
            <a:off x="9876967" y="546355"/>
            <a:ext cx="2170914" cy="204671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400" b="1" dirty="0" err="1">
                <a:solidFill>
                  <a:schemeClr val="bg1"/>
                </a:solidFill>
                <a:latin typeface="Arial" panose="020B0604020202020204" pitchFamily="34" charset="0"/>
              </a:rPr>
              <a:t>QazaqGaz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endParaRPr lang="ru-RU" sz="3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>
              <a:buClr>
                <a:srgbClr val="FFFFFF"/>
              </a:buClr>
              <a:buNone/>
            </a:pP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</a:rPr>
              <a:t>предлагает свою кан-дидатуру в качестве координатора проекта разработки и </a:t>
            </a:r>
            <a:r>
              <a:rPr lang="ru-RU" dirty="0" err="1">
                <a:solidFill>
                  <a:schemeClr val="bg1"/>
                </a:solidFill>
                <a:latin typeface="Arial" panose="020B0604020202020204" pitchFamily="34" charset="0"/>
              </a:rPr>
              <a:t>реализа-ции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</a:rPr>
              <a:t>Стратегии </a:t>
            </a:r>
            <a:r>
              <a:rPr lang="ru-RU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Энерго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</a:rPr>
              <a:t>-перехода Казахстана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60C041DF-B4A4-4976-9FFD-9C702B169993}"/>
              </a:ext>
            </a:extLst>
          </p:cNvPr>
          <p:cNvSpPr>
            <a:spLocks/>
          </p:cNvSpPr>
          <p:nvPr/>
        </p:nvSpPr>
        <p:spPr>
          <a:xfrm>
            <a:off x="4664" y="1645949"/>
            <a:ext cx="1130386" cy="1995899"/>
          </a:xfrm>
          <a:custGeom>
            <a:avLst/>
            <a:gdLst>
              <a:gd name="connsiteX0" fmla="*/ 495256 w 990512"/>
              <a:gd name="connsiteY0" fmla="*/ 0 h 1046101"/>
              <a:gd name="connsiteX1" fmla="*/ 990512 w 990512"/>
              <a:gd name="connsiteY1" fmla="*/ 1046101 h 1046101"/>
              <a:gd name="connsiteX2" fmla="*/ 0 w 990512"/>
              <a:gd name="connsiteY2" fmla="*/ 1046101 h 1046101"/>
              <a:gd name="connsiteX3" fmla="*/ 495256 w 990512"/>
              <a:gd name="connsiteY3" fmla="*/ 0 h 1046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12" h="1046101">
                <a:moveTo>
                  <a:pt x="495256" y="0"/>
                </a:moveTo>
                <a:lnTo>
                  <a:pt x="990512" y="1046101"/>
                </a:lnTo>
                <a:lnTo>
                  <a:pt x="0" y="1046101"/>
                </a:lnTo>
                <a:lnTo>
                  <a:pt x="495256" y="0"/>
                </a:lnTo>
                <a:close/>
              </a:path>
            </a:pathLst>
          </a:custGeom>
          <a:solidFill>
            <a:srgbClr val="F2F2F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7B065FB6-2864-43C0-AA06-AD4E8FA775E3}"/>
              </a:ext>
            </a:extLst>
          </p:cNvPr>
          <p:cNvSpPr>
            <a:spLocks/>
          </p:cNvSpPr>
          <p:nvPr/>
        </p:nvSpPr>
        <p:spPr>
          <a:xfrm>
            <a:off x="0" y="5451850"/>
            <a:ext cx="2761717" cy="1415057"/>
          </a:xfrm>
          <a:custGeom>
            <a:avLst/>
            <a:gdLst>
              <a:gd name="connsiteX0" fmla="*/ 0 w 2945764"/>
              <a:gd name="connsiteY0" fmla="*/ 0 h 1777197"/>
              <a:gd name="connsiteX1" fmla="*/ 2104385 w 2945764"/>
              <a:gd name="connsiteY1" fmla="*/ 0 h 1777197"/>
              <a:gd name="connsiteX2" fmla="*/ 2945764 w 2945764"/>
              <a:gd name="connsiteY2" fmla="*/ 1777197 h 1777197"/>
              <a:gd name="connsiteX3" fmla="*/ 0 w 2945764"/>
              <a:gd name="connsiteY3" fmla="*/ 1777197 h 1777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5764" h="1777197">
                <a:moveTo>
                  <a:pt x="0" y="0"/>
                </a:moveTo>
                <a:lnTo>
                  <a:pt x="2104385" y="0"/>
                </a:lnTo>
                <a:lnTo>
                  <a:pt x="2945764" y="1777197"/>
                </a:lnTo>
                <a:lnTo>
                  <a:pt x="0" y="1777197"/>
                </a:lnTo>
                <a:close/>
              </a:path>
            </a:pathLst>
          </a:custGeom>
          <a:solidFill>
            <a:srgbClr val="F2F2F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85AFB384-C0CF-4ED5-981F-3AB43A1C7ED5}"/>
              </a:ext>
            </a:extLst>
          </p:cNvPr>
          <p:cNvSpPr/>
          <p:nvPr/>
        </p:nvSpPr>
        <p:spPr>
          <a:xfrm>
            <a:off x="777045" y="3641848"/>
            <a:ext cx="358005" cy="279891"/>
          </a:xfrm>
          <a:custGeom>
            <a:avLst/>
            <a:gdLst>
              <a:gd name="connsiteX0" fmla="*/ 0 w 322330"/>
              <a:gd name="connsiteY0" fmla="*/ 0 h 252000"/>
              <a:gd name="connsiteX1" fmla="*/ 322330 w 322330"/>
              <a:gd name="connsiteY1" fmla="*/ 0 h 252000"/>
              <a:gd name="connsiteX2" fmla="*/ 119571 w 322330"/>
              <a:gd name="connsiteY2" fmla="*/ 252000 h 252000"/>
              <a:gd name="connsiteX3" fmla="*/ 119304 w 322330"/>
              <a:gd name="connsiteY3" fmla="*/ 25200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330" h="252000">
                <a:moveTo>
                  <a:pt x="0" y="0"/>
                </a:moveTo>
                <a:lnTo>
                  <a:pt x="322330" y="0"/>
                </a:lnTo>
                <a:lnTo>
                  <a:pt x="119571" y="252000"/>
                </a:lnTo>
                <a:lnTo>
                  <a:pt x="119304" y="252000"/>
                </a:lnTo>
                <a:close/>
              </a:path>
            </a:pathLst>
          </a:custGeom>
          <a:solidFill>
            <a:srgbClr val="DEDED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5384D17-9707-45D0-A71D-5EDF0761F9E3}"/>
              </a:ext>
            </a:extLst>
          </p:cNvPr>
          <p:cNvSpPr>
            <a:spLocks/>
          </p:cNvSpPr>
          <p:nvPr/>
        </p:nvSpPr>
        <p:spPr>
          <a:xfrm>
            <a:off x="-22831" y="2484616"/>
            <a:ext cx="1151102" cy="707886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4000" dirty="0">
                <a:solidFill>
                  <a:srgbClr val="4FA0F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6704D562-C4EC-4916-AB6B-BFA832B34A3E}"/>
              </a:ext>
            </a:extLst>
          </p:cNvPr>
          <p:cNvSpPr>
            <a:spLocks/>
          </p:cNvSpPr>
          <p:nvPr/>
        </p:nvSpPr>
        <p:spPr>
          <a:xfrm>
            <a:off x="0" y="3739986"/>
            <a:ext cx="1869339" cy="1594142"/>
          </a:xfrm>
          <a:custGeom>
            <a:avLst/>
            <a:gdLst>
              <a:gd name="connsiteX0" fmla="*/ 0 w 1971878"/>
              <a:gd name="connsiteY0" fmla="*/ 0 h 1503348"/>
              <a:gd name="connsiteX1" fmla="*/ 1260148 w 1971878"/>
              <a:gd name="connsiteY1" fmla="*/ 0 h 1503348"/>
              <a:gd name="connsiteX2" fmla="*/ 1971878 w 1971878"/>
              <a:gd name="connsiteY2" fmla="*/ 1503348 h 1503348"/>
              <a:gd name="connsiteX3" fmla="*/ 0 w 1971878"/>
              <a:gd name="connsiteY3" fmla="*/ 1503348 h 150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71878" h="1503348">
                <a:moveTo>
                  <a:pt x="0" y="0"/>
                </a:moveTo>
                <a:lnTo>
                  <a:pt x="1260148" y="0"/>
                </a:lnTo>
                <a:lnTo>
                  <a:pt x="1971878" y="1503348"/>
                </a:lnTo>
                <a:lnTo>
                  <a:pt x="0" y="1503348"/>
                </a:lnTo>
                <a:close/>
              </a:path>
            </a:pathLst>
          </a:custGeom>
          <a:solidFill>
            <a:srgbClr val="F2F2F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BAA3AAE-A4C1-4CF3-8962-003DC9E861B8}"/>
              </a:ext>
            </a:extLst>
          </p:cNvPr>
          <p:cNvSpPr>
            <a:spLocks/>
          </p:cNvSpPr>
          <p:nvPr/>
        </p:nvSpPr>
        <p:spPr>
          <a:xfrm>
            <a:off x="-22831" y="4221789"/>
            <a:ext cx="1151102" cy="528495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ru-RU" sz="4000" dirty="0">
                <a:solidFill>
                  <a:srgbClr val="4FA0F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4000" dirty="0">
              <a:solidFill>
                <a:srgbClr val="4FA0F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023D154-F07A-4B92-A243-41171676E84C}"/>
              </a:ext>
            </a:extLst>
          </p:cNvPr>
          <p:cNvSpPr>
            <a:spLocks/>
          </p:cNvSpPr>
          <p:nvPr/>
        </p:nvSpPr>
        <p:spPr>
          <a:xfrm>
            <a:off x="-22831" y="5877812"/>
            <a:ext cx="1151102" cy="563131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ru-RU" sz="4000" dirty="0">
                <a:solidFill>
                  <a:srgbClr val="4FA0F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4000" dirty="0">
              <a:solidFill>
                <a:srgbClr val="4FA0F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A599D0B-EA9D-445D-BBE5-87223B960D09}"/>
              </a:ext>
            </a:extLst>
          </p:cNvPr>
          <p:cNvSpPr txBox="1">
            <a:spLocks/>
          </p:cNvSpPr>
          <p:nvPr/>
        </p:nvSpPr>
        <p:spPr>
          <a:xfrm>
            <a:off x="1490980" y="1524695"/>
            <a:ext cx="750886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>
                <a:latin typeface="Arial" panose="020B0604020202020204" pitchFamily="34" charset="0"/>
              </a:rPr>
              <a:t>Стратегия перехода энергетики Республики Казахстан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к углеродной нейтральности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C1B744A-931E-42AE-B0EB-1C6615EDF638}"/>
              </a:ext>
            </a:extLst>
          </p:cNvPr>
          <p:cNvSpPr txBox="1">
            <a:spLocks/>
          </p:cNvSpPr>
          <p:nvPr/>
        </p:nvSpPr>
        <p:spPr>
          <a:xfrm>
            <a:off x="2247534" y="3743751"/>
            <a:ext cx="9557386" cy="248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>
                <a:latin typeface="Arial" panose="020B0604020202020204" pitchFamily="34" charset="0"/>
              </a:rPr>
              <a:t>Программа внедрения комплексного плана развития газовой отрасли Республики Казахстан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697C868-45CF-42B5-BA0E-DA92094ECD2E}"/>
              </a:ext>
            </a:extLst>
          </p:cNvPr>
          <p:cNvSpPr txBox="1">
            <a:spLocks/>
          </p:cNvSpPr>
          <p:nvPr/>
        </p:nvSpPr>
        <p:spPr>
          <a:xfrm>
            <a:off x="3053598" y="5416803"/>
            <a:ext cx="858366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>
                <a:latin typeface="Arial" panose="020B0604020202020204" pitchFamily="34" charset="0"/>
              </a:rPr>
              <a:t>Стратегия роста и повышения акционерной стоимости QazaqGaz</a:t>
            </a:r>
          </a:p>
        </p:txBody>
      </p:sp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CEEF51C6-8AC7-4BD0-817A-A987DBC9F48B}"/>
              </a:ext>
            </a:extLst>
          </p:cNvPr>
          <p:cNvSpPr/>
          <p:nvPr/>
        </p:nvSpPr>
        <p:spPr>
          <a:xfrm>
            <a:off x="8962177" y="631529"/>
            <a:ext cx="800987" cy="1379980"/>
          </a:xfrm>
          <a:custGeom>
            <a:avLst/>
            <a:gdLst>
              <a:gd name="connsiteX0" fmla="*/ 151288 w 385402"/>
              <a:gd name="connsiteY0" fmla="*/ 95 h 663987"/>
              <a:gd name="connsiteX1" fmla="*/ 29749 w 385402"/>
              <a:gd name="connsiteY1" fmla="*/ 168593 h 663987"/>
              <a:gd name="connsiteX2" fmla="*/ 126 w 385402"/>
              <a:gd name="connsiteY2" fmla="*/ 251269 h 663987"/>
              <a:gd name="connsiteX3" fmla="*/ 45370 w 385402"/>
              <a:gd name="connsiteY3" fmla="*/ 372332 h 663987"/>
              <a:gd name="connsiteX4" fmla="*/ 82898 w 385402"/>
              <a:gd name="connsiteY4" fmla="*/ 417481 h 663987"/>
              <a:gd name="connsiteX5" fmla="*/ 272065 w 385402"/>
              <a:gd name="connsiteY5" fmla="*/ 663988 h 663987"/>
              <a:gd name="connsiteX6" fmla="*/ 360266 w 385402"/>
              <a:gd name="connsiteY6" fmla="*/ 539972 h 663987"/>
              <a:gd name="connsiteX7" fmla="*/ 383317 w 385402"/>
              <a:gd name="connsiteY7" fmla="*/ 439484 h 663987"/>
              <a:gd name="connsiteX8" fmla="*/ 344931 w 385402"/>
              <a:gd name="connsiteY8" fmla="*/ 356711 h 663987"/>
              <a:gd name="connsiteX9" fmla="*/ 213867 w 385402"/>
              <a:gd name="connsiteY9" fmla="*/ 189262 h 663987"/>
              <a:gd name="connsiteX10" fmla="*/ 151288 w 385402"/>
              <a:gd name="connsiteY10" fmla="*/ 0 h 6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5402" h="663987">
                <a:moveTo>
                  <a:pt x="151288" y="95"/>
                </a:moveTo>
                <a:lnTo>
                  <a:pt x="29749" y="168593"/>
                </a:lnTo>
                <a:cubicBezTo>
                  <a:pt x="12318" y="192786"/>
                  <a:pt x="1269" y="221456"/>
                  <a:pt x="126" y="251269"/>
                </a:cubicBezTo>
                <a:cubicBezTo>
                  <a:pt x="-1207" y="284893"/>
                  <a:pt x="7651" y="328327"/>
                  <a:pt x="45370" y="372332"/>
                </a:cubicBezTo>
                <a:cubicBezTo>
                  <a:pt x="58133" y="387191"/>
                  <a:pt x="70992" y="401955"/>
                  <a:pt x="82898" y="417481"/>
                </a:cubicBezTo>
                <a:lnTo>
                  <a:pt x="272065" y="663988"/>
                </a:lnTo>
                <a:lnTo>
                  <a:pt x="360266" y="539972"/>
                </a:lnTo>
                <a:cubicBezTo>
                  <a:pt x="380936" y="510826"/>
                  <a:pt x="389794" y="474631"/>
                  <a:pt x="383317" y="439484"/>
                </a:cubicBezTo>
                <a:cubicBezTo>
                  <a:pt x="378840" y="415481"/>
                  <a:pt x="367886" y="387287"/>
                  <a:pt x="344931" y="356711"/>
                </a:cubicBezTo>
                <a:lnTo>
                  <a:pt x="213867" y="189262"/>
                </a:lnTo>
                <a:cubicBezTo>
                  <a:pt x="213867" y="189262"/>
                  <a:pt x="136715" y="104775"/>
                  <a:pt x="15128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Freeform: Shape 144">
            <a:extLst>
              <a:ext uri="{FF2B5EF4-FFF2-40B4-BE49-F238E27FC236}">
                <a16:creationId xmlns:a16="http://schemas.microsoft.com/office/drawing/2014/main" id="{C8D0CA45-3E1D-411F-BEA1-C51EEC2F554A}"/>
              </a:ext>
            </a:extLst>
          </p:cNvPr>
          <p:cNvSpPr/>
          <p:nvPr/>
        </p:nvSpPr>
        <p:spPr>
          <a:xfrm>
            <a:off x="9079798" y="1628455"/>
            <a:ext cx="446732" cy="399881"/>
          </a:xfrm>
          <a:custGeom>
            <a:avLst/>
            <a:gdLst>
              <a:gd name="connsiteX0" fmla="*/ 1825 w 214949"/>
              <a:gd name="connsiteY0" fmla="*/ 13811 h 192405"/>
              <a:gd name="connsiteX1" fmla="*/ 136128 w 214949"/>
              <a:gd name="connsiteY1" fmla="*/ 190119 h 192405"/>
              <a:gd name="connsiteX2" fmla="*/ 206327 w 214949"/>
              <a:gd name="connsiteY2" fmla="*/ 192405 h 192405"/>
              <a:gd name="connsiteX3" fmla="*/ 213185 w 214949"/>
              <a:gd name="connsiteY3" fmla="*/ 178689 h 192405"/>
              <a:gd name="connsiteX4" fmla="*/ 76025 w 214949"/>
              <a:gd name="connsiteY4" fmla="*/ 0 h 192405"/>
              <a:gd name="connsiteX5" fmla="*/ 8588 w 214949"/>
              <a:gd name="connsiteY5" fmla="*/ 0 h 192405"/>
              <a:gd name="connsiteX6" fmla="*/ 1825 w 214949"/>
              <a:gd name="connsiteY6" fmla="*/ 13811 h 19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4949" h="192405">
                <a:moveTo>
                  <a:pt x="1825" y="13811"/>
                </a:moveTo>
                <a:lnTo>
                  <a:pt x="136128" y="190119"/>
                </a:lnTo>
                <a:lnTo>
                  <a:pt x="206327" y="192405"/>
                </a:lnTo>
                <a:cubicBezTo>
                  <a:pt x="213471" y="192405"/>
                  <a:pt x="217471" y="184309"/>
                  <a:pt x="213185" y="178689"/>
                </a:cubicBezTo>
                <a:lnTo>
                  <a:pt x="76025" y="0"/>
                </a:lnTo>
                <a:lnTo>
                  <a:pt x="8588" y="0"/>
                </a:lnTo>
                <a:cubicBezTo>
                  <a:pt x="1444" y="0"/>
                  <a:pt x="-2556" y="8192"/>
                  <a:pt x="1825" y="13811"/>
                </a:cubicBezTo>
                <a:close/>
              </a:path>
            </a:pathLst>
          </a:custGeom>
          <a:solidFill>
            <a:srgbClr val="FFFFFF">
              <a:alpha val="50196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ECB9CDEF-656A-439D-A0FD-555AB4D546F4}"/>
              </a:ext>
            </a:extLst>
          </p:cNvPr>
          <p:cNvSpPr/>
          <p:nvPr/>
        </p:nvSpPr>
        <p:spPr>
          <a:xfrm>
            <a:off x="8982380" y="1628453"/>
            <a:ext cx="544150" cy="885976"/>
          </a:xfrm>
          <a:custGeom>
            <a:avLst/>
            <a:gdLst>
              <a:gd name="connsiteX0" fmla="*/ 134375 w 544150"/>
              <a:gd name="connsiteY0" fmla="*/ 0 h 885976"/>
              <a:gd name="connsiteX1" fmla="*/ 120321 w 544150"/>
              <a:gd name="connsiteY1" fmla="*/ 28705 h 885976"/>
              <a:gd name="connsiteX2" fmla="*/ 399444 w 544150"/>
              <a:gd name="connsiteY2" fmla="*/ 395130 h 885976"/>
              <a:gd name="connsiteX3" fmla="*/ 508518 w 544150"/>
              <a:gd name="connsiteY3" fmla="*/ 539640 h 885976"/>
              <a:gd name="connsiteX4" fmla="*/ 508518 w 544150"/>
              <a:gd name="connsiteY4" fmla="*/ 745319 h 885976"/>
              <a:gd name="connsiteX5" fmla="*/ 404422 w 544150"/>
              <a:gd name="connsiteY5" fmla="*/ 885976 h 885976"/>
              <a:gd name="connsiteX6" fmla="*/ 221651 w 544150"/>
              <a:gd name="connsiteY6" fmla="*/ 605519 h 885976"/>
              <a:gd name="connsiteX7" fmla="*/ 62621 w 544150"/>
              <a:gd name="connsiteY7" fmla="*/ 302940 h 885976"/>
              <a:gd name="connsiteX8" fmla="*/ 0 w 544150"/>
              <a:gd name="connsiteY8" fmla="*/ 160084 h 885976"/>
              <a:gd name="connsiteX9" fmla="*/ 95772 w 544150"/>
              <a:gd name="connsiteY9" fmla="*/ 25338 h 885976"/>
              <a:gd name="connsiteX10" fmla="*/ 127247 w 544150"/>
              <a:gd name="connsiteY10" fmla="*/ 2377 h 885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4150" h="885976">
                <a:moveTo>
                  <a:pt x="134375" y="0"/>
                </a:moveTo>
                <a:cubicBezTo>
                  <a:pt x="119529" y="0"/>
                  <a:pt x="111215" y="17025"/>
                  <a:pt x="120321" y="28705"/>
                </a:cubicBezTo>
                <a:lnTo>
                  <a:pt x="399444" y="395130"/>
                </a:lnTo>
                <a:lnTo>
                  <a:pt x="508518" y="539640"/>
                </a:lnTo>
                <a:cubicBezTo>
                  <a:pt x="508518" y="539640"/>
                  <a:pt x="588692" y="635056"/>
                  <a:pt x="508518" y="745319"/>
                </a:cubicBezTo>
                <a:lnTo>
                  <a:pt x="404422" y="885976"/>
                </a:lnTo>
                <a:lnTo>
                  <a:pt x="221651" y="605519"/>
                </a:lnTo>
                <a:cubicBezTo>
                  <a:pt x="164097" y="507496"/>
                  <a:pt x="110995" y="406543"/>
                  <a:pt x="62621" y="302940"/>
                </a:cubicBezTo>
                <a:lnTo>
                  <a:pt x="0" y="160084"/>
                </a:lnTo>
                <a:lnTo>
                  <a:pt x="95772" y="25338"/>
                </a:lnTo>
                <a:cubicBezTo>
                  <a:pt x="103494" y="14450"/>
                  <a:pt x="114580" y="6335"/>
                  <a:pt x="127247" y="2377"/>
                </a:cubicBezTo>
                <a:close/>
              </a:path>
            </a:pathLst>
          </a:cu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22DCB65-ADDA-472E-85C6-E4D769111274}"/>
              </a:ext>
            </a:extLst>
          </p:cNvPr>
          <p:cNvGrpSpPr/>
          <p:nvPr/>
        </p:nvGrpSpPr>
        <p:grpSpPr>
          <a:xfrm>
            <a:off x="1490980" y="2142988"/>
            <a:ext cx="2047886" cy="625268"/>
            <a:chOff x="1211541" y="2142988"/>
            <a:chExt cx="2047886" cy="625268"/>
          </a:xfrm>
          <a:solidFill>
            <a:schemeClr val="bg1">
              <a:lumMod val="95000"/>
            </a:schemeClr>
          </a:solidFill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BF8BC9B6-A46F-4079-AFF3-B2CF8D7B9B60}"/>
                </a:ext>
              </a:extLst>
            </p:cNvPr>
            <p:cNvSpPr>
              <a:spLocks/>
            </p:cNvSpPr>
            <p:nvPr/>
          </p:nvSpPr>
          <p:spPr>
            <a:xfrm>
              <a:off x="1211541" y="2142988"/>
              <a:ext cx="2047886" cy="625268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ждународный</a:t>
              </a:r>
              <a:b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ыт</a:t>
              </a:r>
            </a:p>
          </p:txBody>
        </p:sp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0D68F26D-BC6E-440F-A583-FF0A9F996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895461" y="2335333"/>
              <a:ext cx="240580" cy="240578"/>
            </a:xfrm>
            <a:prstGeom prst="rect">
              <a:avLst/>
            </a:prstGeom>
            <a:grpFill/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84DD2C0-8327-487A-9CD5-FCDEA0DED7CC}"/>
              </a:ext>
            </a:extLst>
          </p:cNvPr>
          <p:cNvGrpSpPr/>
          <p:nvPr/>
        </p:nvGrpSpPr>
        <p:grpSpPr>
          <a:xfrm>
            <a:off x="3620815" y="2132129"/>
            <a:ext cx="2443322" cy="646986"/>
            <a:chOff x="3645387" y="2132129"/>
            <a:chExt cx="2327110" cy="646986"/>
          </a:xfrm>
          <a:solidFill>
            <a:schemeClr val="bg1">
              <a:lumMod val="95000"/>
            </a:schemeClr>
          </a:solidFill>
        </p:grpSpPr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21A688F4-5F8B-4CFD-B409-653A4309AF5D}"/>
                </a:ext>
              </a:extLst>
            </p:cNvPr>
            <p:cNvSpPr>
              <a:spLocks/>
            </p:cNvSpPr>
            <p:nvPr/>
          </p:nvSpPr>
          <p:spPr>
            <a:xfrm>
              <a:off x="3645387" y="2132129"/>
              <a:ext cx="2327110" cy="646986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товность энергетики </a:t>
              </a: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 переходу</a:t>
              </a: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497D185B-30DF-41A2-8E7C-0049FB2FE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5619393" y="2326602"/>
              <a:ext cx="275836" cy="258040"/>
            </a:xfrm>
            <a:prstGeom prst="rect">
              <a:avLst/>
            </a:prstGeom>
            <a:grpFill/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E7BF706-5001-4DD4-AD59-7D51381C58B4}"/>
              </a:ext>
            </a:extLst>
          </p:cNvPr>
          <p:cNvGrpSpPr/>
          <p:nvPr/>
        </p:nvGrpSpPr>
        <p:grpSpPr>
          <a:xfrm>
            <a:off x="6146087" y="2132129"/>
            <a:ext cx="2197851" cy="646986"/>
            <a:chOff x="6079233" y="2132129"/>
            <a:chExt cx="1928546" cy="646986"/>
          </a:xfrm>
          <a:solidFill>
            <a:schemeClr val="bg1">
              <a:lumMod val="95000"/>
            </a:schemeClr>
          </a:solidFill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95D861B1-29FF-47F9-A009-EB8763BB59C9}"/>
                </a:ext>
              </a:extLst>
            </p:cNvPr>
            <p:cNvSpPr>
              <a:spLocks/>
            </p:cNvSpPr>
            <p:nvPr/>
          </p:nvSpPr>
          <p:spPr>
            <a:xfrm>
              <a:off x="6079233" y="2132129"/>
              <a:ext cx="1928546" cy="646986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евая модель развития </a:t>
              </a: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6635A80F-D7B5-49CB-B51A-42AA2C837D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7595449" y="2322363"/>
              <a:ext cx="266520" cy="266518"/>
            </a:xfrm>
            <a:prstGeom prst="rect">
              <a:avLst/>
            </a:prstGeom>
            <a:grpFill/>
          </p:spPr>
        </p:pic>
      </p:grp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3C4CFF60-958E-44E7-A454-4B4C9F3EDABC}"/>
              </a:ext>
            </a:extLst>
          </p:cNvPr>
          <p:cNvSpPr>
            <a:spLocks/>
          </p:cNvSpPr>
          <p:nvPr/>
        </p:nvSpPr>
        <p:spPr>
          <a:xfrm>
            <a:off x="1490979" y="2839767"/>
            <a:ext cx="6848323" cy="35285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жная карта перехода к углеродной нейтральности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2F857BE-DEFE-45A2-AFB1-1B7CD808C0B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893315" y="2885314"/>
            <a:ext cx="252886" cy="261758"/>
          </a:xfrm>
          <a:prstGeom prst="rect">
            <a:avLst/>
          </a:prstGeom>
        </p:spPr>
      </p:pic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27FE3352-3FFF-4BF1-B8ED-1AD3DDE25F4B}"/>
              </a:ext>
            </a:extLst>
          </p:cNvPr>
          <p:cNvSpPr>
            <a:spLocks/>
          </p:cNvSpPr>
          <p:nvPr/>
        </p:nvSpPr>
        <p:spPr>
          <a:xfrm>
            <a:off x="2247534" y="4519872"/>
            <a:ext cx="4208670" cy="35285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тернативное использование газа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FA25E1CC-6545-4706-8F3C-DC2A098DCBAF}"/>
              </a:ext>
            </a:extLst>
          </p:cNvPr>
          <p:cNvSpPr>
            <a:spLocks/>
          </p:cNvSpPr>
          <p:nvPr/>
        </p:nvSpPr>
        <p:spPr>
          <a:xfrm>
            <a:off x="6540277" y="4519872"/>
            <a:ext cx="4748420" cy="35285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частного капитала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A073F31-9568-438D-B114-E6254EB29A5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6058509" y="4560859"/>
            <a:ext cx="270878" cy="270878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AABEBE9-B669-4374-85C3-DFDB3115930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11018803" y="4568547"/>
            <a:ext cx="255502" cy="255502"/>
          </a:xfrm>
          <a:prstGeom prst="rect">
            <a:avLst/>
          </a:prstGeom>
        </p:spPr>
      </p:pic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6711F66D-D3B2-41AA-8E6D-347F882796C5}"/>
              </a:ext>
            </a:extLst>
          </p:cNvPr>
          <p:cNvSpPr>
            <a:spLocks/>
          </p:cNvSpPr>
          <p:nvPr/>
        </p:nvSpPr>
        <p:spPr>
          <a:xfrm>
            <a:off x="5950399" y="5736856"/>
            <a:ext cx="2790064" cy="35285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эффективность</a:t>
            </a: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A0BA91B4-D267-4841-BB3F-FE4974166564}"/>
              </a:ext>
            </a:extLst>
          </p:cNvPr>
          <p:cNvSpPr>
            <a:spLocks/>
          </p:cNvSpPr>
          <p:nvPr/>
        </p:nvSpPr>
        <p:spPr>
          <a:xfrm>
            <a:off x="3053598" y="5736856"/>
            <a:ext cx="2790064" cy="35285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ная база Компании</a:t>
            </a: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A1A8084B-A9FA-4A98-98D0-E5F7BAEAB4AE}"/>
              </a:ext>
            </a:extLst>
          </p:cNvPr>
          <p:cNvSpPr>
            <a:spLocks/>
          </p:cNvSpPr>
          <p:nvPr/>
        </p:nvSpPr>
        <p:spPr>
          <a:xfrm>
            <a:off x="8847200" y="5736856"/>
            <a:ext cx="2790064" cy="35285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ход на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D88F9F01-5FDC-4997-A42F-5FCF1C2FA40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8363105" y="5779909"/>
            <a:ext cx="300090" cy="266746"/>
          </a:xfrm>
          <a:prstGeom prst="rect">
            <a:avLst/>
          </a:prstGeom>
        </p:spPr>
      </p:pic>
      <p:pic>
        <p:nvPicPr>
          <p:cNvPr id="132" name="Graphic 131">
            <a:extLst>
              <a:ext uri="{FF2B5EF4-FFF2-40B4-BE49-F238E27FC236}">
                <a16:creationId xmlns:a16="http://schemas.microsoft.com/office/drawing/2014/main" id="{D695FBC2-B7FC-4F46-9276-E68D5B3D005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5590263" y="5811449"/>
            <a:ext cx="240697" cy="203667"/>
          </a:xfrm>
          <a:prstGeom prst="rect">
            <a:avLst/>
          </a:prstGeom>
        </p:spPr>
      </p:pic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7E65C732-F3F0-4A75-BE48-4E0D643F44CF}"/>
              </a:ext>
            </a:extLst>
          </p:cNvPr>
          <p:cNvSpPr>
            <a:spLocks/>
          </p:cNvSpPr>
          <p:nvPr/>
        </p:nvSpPr>
        <p:spPr>
          <a:xfrm>
            <a:off x="3053598" y="6150361"/>
            <a:ext cx="2065864" cy="64698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FC671395-0681-4475-BD8F-BA921844786E}"/>
              </a:ext>
            </a:extLst>
          </p:cNvPr>
          <p:cNvSpPr>
            <a:spLocks/>
          </p:cNvSpPr>
          <p:nvPr/>
        </p:nvSpPr>
        <p:spPr>
          <a:xfrm>
            <a:off x="5226199" y="6150361"/>
            <a:ext cx="2065864" cy="64698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ческий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</a:t>
            </a:r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70C252EA-2FE6-46B9-A90C-E8E8D0BB7551}"/>
              </a:ext>
            </a:extLst>
          </p:cNvPr>
          <p:cNvSpPr>
            <a:spLocks/>
          </p:cNvSpPr>
          <p:nvPr/>
        </p:nvSpPr>
        <p:spPr>
          <a:xfrm>
            <a:off x="7398800" y="6150361"/>
            <a:ext cx="2065864" cy="64698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ное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47014782-240E-43E0-A26F-6D65246FDCC5}"/>
              </a:ext>
            </a:extLst>
          </p:cNvPr>
          <p:cNvSpPr>
            <a:spLocks/>
          </p:cNvSpPr>
          <p:nvPr/>
        </p:nvSpPr>
        <p:spPr>
          <a:xfrm>
            <a:off x="9571400" y="6150361"/>
            <a:ext cx="2065864" cy="64698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ормация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9326B18B-ACEF-44D4-B3D9-B2BF165A18A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4745858" y="6346202"/>
            <a:ext cx="296336" cy="25530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EE3F35F9-1D0E-4D7D-8ED0-4F44B9C881D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6898673" y="6335148"/>
            <a:ext cx="316122" cy="277412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BA61F11C-F262-4098-992C-E977B03DCA78}"/>
              </a:ext>
            </a:extLst>
          </p:cNvPr>
          <p:cNvPicPr>
            <a:picLocks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9121042" y="6340678"/>
            <a:ext cx="266354" cy="266352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7DB89A42-84F6-4EA9-A527-80F39E5F255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xmlns="" r:embed="rId32"/>
              </a:ext>
            </a:extLst>
          </a:blip>
          <a:stretch>
            <a:fillRect/>
          </a:stretch>
        </p:blipFill>
        <p:spPr>
          <a:xfrm>
            <a:off x="11237080" y="6362076"/>
            <a:ext cx="322916" cy="223556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D35518D7-431B-4CDE-92F3-6CDD29B23BFA}"/>
              </a:ext>
            </a:extLst>
          </p:cNvPr>
          <p:cNvGrpSpPr/>
          <p:nvPr/>
        </p:nvGrpSpPr>
        <p:grpSpPr>
          <a:xfrm>
            <a:off x="2247533" y="4106367"/>
            <a:ext cx="1869339" cy="352853"/>
            <a:chOff x="2079878" y="3958448"/>
            <a:chExt cx="1791082" cy="352853"/>
          </a:xfrm>
          <a:solidFill>
            <a:schemeClr val="bg1">
              <a:lumMod val="95000"/>
            </a:schemeClr>
          </a:solidFill>
        </p:grpSpPr>
        <p:sp>
          <p:nvSpPr>
            <p:cNvPr id="118" name="Rectangle: Rounded Corners 117">
              <a:extLst>
                <a:ext uri="{FF2B5EF4-FFF2-40B4-BE49-F238E27FC236}">
                  <a16:creationId xmlns:a16="http://schemas.microsoft.com/office/drawing/2014/main" id="{46B2C632-D3A9-4EB5-AD41-FDB5164A3353}"/>
                </a:ext>
              </a:extLst>
            </p:cNvPr>
            <p:cNvSpPr>
              <a:spLocks/>
            </p:cNvSpPr>
            <p:nvPr/>
          </p:nvSpPr>
          <p:spPr>
            <a:xfrm>
              <a:off x="2079878" y="3958448"/>
              <a:ext cx="1791082" cy="352853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урсная база</a:t>
              </a: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12BE3E67-742D-427A-B238-C273D9451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xmlns="" r:embed="rId24"/>
                </a:ext>
              </a:extLst>
            </a:blip>
            <a:stretch>
              <a:fillRect/>
            </a:stretch>
          </p:blipFill>
          <p:spPr>
            <a:xfrm>
              <a:off x="3469238" y="4001003"/>
              <a:ext cx="316422" cy="267742"/>
            </a:xfrm>
            <a:prstGeom prst="rect">
              <a:avLst/>
            </a:prstGeom>
            <a:grpFill/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EBDEA88-5FA5-404F-AEEE-E201C1E667C6}"/>
              </a:ext>
            </a:extLst>
          </p:cNvPr>
          <p:cNvGrpSpPr/>
          <p:nvPr/>
        </p:nvGrpSpPr>
        <p:grpSpPr>
          <a:xfrm>
            <a:off x="8759539" y="4106367"/>
            <a:ext cx="2529158" cy="352853"/>
            <a:chOff x="8881215" y="3958448"/>
            <a:chExt cx="2423279" cy="352853"/>
          </a:xfrm>
          <a:solidFill>
            <a:schemeClr val="bg1">
              <a:lumMod val="95000"/>
            </a:schemeClr>
          </a:solidFill>
        </p:grpSpPr>
        <p:sp>
          <p:nvSpPr>
            <p:cNvPr id="121" name="Rectangle: Rounded Corners 120">
              <a:extLst>
                <a:ext uri="{FF2B5EF4-FFF2-40B4-BE49-F238E27FC236}">
                  <a16:creationId xmlns:a16="http://schemas.microsoft.com/office/drawing/2014/main" id="{28D03497-8F28-4B13-9C22-CC590AE22009}"/>
                </a:ext>
              </a:extLst>
            </p:cNvPr>
            <p:cNvSpPr>
              <a:spLocks/>
            </p:cNvSpPr>
            <p:nvPr/>
          </p:nvSpPr>
          <p:spPr>
            <a:xfrm>
              <a:off x="8881215" y="3958448"/>
              <a:ext cx="2423279" cy="352853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атегические резервы</a:t>
              </a: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C53F537D-ABAB-433D-873D-5E53D7EE9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xmlns="" r:embed="rId34"/>
                </a:ext>
              </a:extLst>
            </a:blip>
            <a:stretch>
              <a:fillRect/>
            </a:stretch>
          </p:blipFill>
          <p:spPr>
            <a:xfrm>
              <a:off x="11045899" y="4027263"/>
              <a:ext cx="215222" cy="215222"/>
            </a:xfrm>
            <a:prstGeom prst="rect">
              <a:avLst/>
            </a:prstGeom>
            <a:grpFill/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DEC43FC-1B57-440C-B14B-77FC5000EF27}"/>
              </a:ext>
            </a:extLst>
          </p:cNvPr>
          <p:cNvGrpSpPr/>
          <p:nvPr/>
        </p:nvGrpSpPr>
        <p:grpSpPr>
          <a:xfrm>
            <a:off x="6525510" y="4106367"/>
            <a:ext cx="2164723" cy="352853"/>
            <a:chOff x="6589095" y="3958448"/>
            <a:chExt cx="2074100" cy="352853"/>
          </a:xfrm>
          <a:solidFill>
            <a:schemeClr val="bg1">
              <a:lumMod val="95000"/>
            </a:schemeClr>
          </a:solidFill>
        </p:grpSpPr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714F6299-9BCF-4F52-8D3A-D2180C28D601}"/>
                </a:ext>
              </a:extLst>
            </p:cNvPr>
            <p:cNvSpPr>
              <a:spLocks/>
            </p:cNvSpPr>
            <p:nvPr/>
          </p:nvSpPr>
          <p:spPr>
            <a:xfrm>
              <a:off x="6589095" y="3958448"/>
              <a:ext cx="2074100" cy="352853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нутренний рынок</a:t>
              </a: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B34960F8-8ACE-4FDF-A44A-21BC60F10A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xmlns="" r:embed="rId36"/>
                </a:ext>
              </a:extLst>
            </a:blip>
            <a:stretch>
              <a:fillRect/>
            </a:stretch>
          </p:blipFill>
          <p:spPr>
            <a:xfrm>
              <a:off x="8303747" y="4017923"/>
              <a:ext cx="233519" cy="233902"/>
            </a:xfrm>
            <a:prstGeom prst="rect">
              <a:avLst/>
            </a:prstGeom>
            <a:grpFill/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86C29A-4249-46E1-B9CB-384FEADA69A8}"/>
              </a:ext>
            </a:extLst>
          </p:cNvPr>
          <p:cNvGrpSpPr/>
          <p:nvPr/>
        </p:nvGrpSpPr>
        <p:grpSpPr>
          <a:xfrm>
            <a:off x="4186178" y="4106367"/>
            <a:ext cx="2270026" cy="352853"/>
            <a:chOff x="4156450" y="3958448"/>
            <a:chExt cx="2174995" cy="352853"/>
          </a:xfrm>
          <a:solidFill>
            <a:schemeClr val="bg1">
              <a:lumMod val="95000"/>
            </a:schemeClr>
          </a:solidFill>
        </p:grpSpPr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5A9FD077-2B6F-4ECC-8914-96865E2B961A}"/>
                </a:ext>
              </a:extLst>
            </p:cNvPr>
            <p:cNvSpPr>
              <a:spLocks/>
            </p:cNvSpPr>
            <p:nvPr/>
          </p:nvSpPr>
          <p:spPr>
            <a:xfrm>
              <a:off x="4156450" y="3958448"/>
              <a:ext cx="2174995" cy="352853"/>
            </a:xfrm>
            <a:prstGeom prst="roundRect">
              <a:avLst/>
            </a:pr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витие газохимии</a:t>
              </a: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77DAA3A-36C1-487C-BDA1-A9888EBCF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xmlns="" r:embed="rId38"/>
                </a:ext>
              </a:extLst>
            </a:blip>
            <a:stretch>
              <a:fillRect/>
            </a:stretch>
          </p:blipFill>
          <p:spPr>
            <a:xfrm>
              <a:off x="5950399" y="3996735"/>
              <a:ext cx="270640" cy="276278"/>
            </a:xfrm>
            <a:prstGeom prst="rect">
              <a:avLst/>
            </a:prstGeom>
            <a:grpFill/>
          </p:spPr>
        </p:pic>
      </p:grp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5E7F7C05-4ABD-477F-A2CA-E79B2D11F38E}"/>
              </a:ext>
            </a:extLst>
          </p:cNvPr>
          <p:cNvCxnSpPr>
            <a:cxnSpLocks/>
          </p:cNvCxnSpPr>
          <p:nvPr/>
        </p:nvCxnSpPr>
        <p:spPr>
          <a:xfrm>
            <a:off x="3053598" y="5392988"/>
            <a:ext cx="8583666" cy="0"/>
          </a:xfrm>
          <a:prstGeom prst="line">
            <a:avLst/>
          </a:prstGeom>
          <a:ln w="6350" cap="sq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CustomIcon">
            <a:extLst>
              <a:ext uri="{FF2B5EF4-FFF2-40B4-BE49-F238E27FC236}">
                <a16:creationId xmlns:a16="http://schemas.microsoft.com/office/drawing/2014/main" id="{052AD019-DE96-4DB9-BCF8-A09836CEBACF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xmlns="" r:embed="rId40"/>
              </a:ext>
            </a:extLst>
          </a:blip>
          <a:stretch>
            <a:fillRect/>
          </a:stretch>
        </p:blipFill>
        <p:spPr>
          <a:xfrm>
            <a:off x="11265361" y="5780429"/>
            <a:ext cx="266354" cy="266352"/>
          </a:xfrm>
          <a:prstGeom prst="rect">
            <a:avLst/>
          </a:prstGeom>
        </p:spPr>
      </p:pic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B78A33C5-D0A9-4DEC-A83C-8F29C87EBC45}"/>
              </a:ext>
            </a:extLst>
          </p:cNvPr>
          <p:cNvSpPr>
            <a:spLocks/>
          </p:cNvSpPr>
          <p:nvPr/>
        </p:nvSpPr>
        <p:spPr>
          <a:xfrm>
            <a:off x="1490979" y="983395"/>
            <a:ext cx="5343264" cy="4291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безопасность Республики Казахстан</a:t>
            </a:r>
          </a:p>
        </p:txBody>
      </p:sp>
      <p:pic>
        <p:nvPicPr>
          <p:cNvPr id="8" name="CustomIcon">
            <a:extLst>
              <a:ext uri="{FF2B5EF4-FFF2-40B4-BE49-F238E27FC236}">
                <a16:creationId xmlns:a16="http://schemas.microsoft.com/office/drawing/2014/main" id="{79B9E977-9546-4951-8418-62C58744FB8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41">
            <a:extLst>
              <a:ext uri="{96DAC541-7B7A-43D3-8B79-37D633B846F1}">
                <asvg:svgBlip xmlns:asvg="http://schemas.microsoft.com/office/drawing/2016/SVG/main" xmlns="" r:embed="rId42"/>
              </a:ext>
            </a:extLst>
          </a:blip>
          <a:stretch>
            <a:fillRect/>
          </a:stretch>
        </p:blipFill>
        <p:spPr>
          <a:xfrm>
            <a:off x="6446098" y="1047687"/>
            <a:ext cx="321296" cy="321296"/>
          </a:xfrm>
          <a:prstGeom prst="rect">
            <a:avLst/>
          </a:prstGeom>
        </p:spPr>
      </p:pic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DA6E404F-5FFA-470D-9576-43FFACC2B350}"/>
              </a:ext>
            </a:extLst>
          </p:cNvPr>
          <p:cNvSpPr>
            <a:spLocks/>
          </p:cNvSpPr>
          <p:nvPr/>
        </p:nvSpPr>
        <p:spPr>
          <a:xfrm>
            <a:off x="2177935" y="4956403"/>
            <a:ext cx="5439773" cy="352853"/>
          </a:xfrm>
          <a:prstGeom prst="roundRect">
            <a:avLst/>
          </a:prstGeom>
          <a:solidFill>
            <a:schemeClr val="accent1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ый план развития газовой отрасли РК до 2030 г.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BAE421A1-71FD-4EDD-A866-88E7A84C08B0}"/>
              </a:ext>
            </a:extLst>
          </p:cNvPr>
          <p:cNvSpPr>
            <a:spLocks/>
          </p:cNvSpPr>
          <p:nvPr/>
        </p:nvSpPr>
        <p:spPr>
          <a:xfrm>
            <a:off x="7726694" y="4956403"/>
            <a:ext cx="3562003" cy="352853"/>
          </a:xfrm>
          <a:prstGeom prst="roundRect">
            <a:avLst/>
          </a:prstGeom>
          <a:solidFill>
            <a:schemeClr val="accent1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развития ТЭК РК до 2030 г.</a:t>
            </a:r>
          </a:p>
        </p:txBody>
      </p: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562EB4FE-6013-4080-9550-AE7267957886}"/>
              </a:ext>
            </a:extLst>
          </p:cNvPr>
          <p:cNvSpPr>
            <a:spLocks/>
          </p:cNvSpPr>
          <p:nvPr/>
        </p:nvSpPr>
        <p:spPr>
          <a:xfrm>
            <a:off x="1495615" y="3265879"/>
            <a:ext cx="7167580" cy="352853"/>
          </a:xfrm>
          <a:prstGeom prst="roundRect">
            <a:avLst/>
          </a:prstGeom>
          <a:solidFill>
            <a:schemeClr val="accent1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трина достижения углеродной нейтральности РК до 2060 г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разработке)</a:t>
            </a:r>
            <a:endParaRPr lang="ru-RU" sz="14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0" y="0"/>
            <a:ext cx="12170527" cy="63152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дный газ сыграет ключевую роль в переходе на новую энергетику в Казахстане. Необходимо разработать Стратегию 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перехода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ахстана 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6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36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609DE53D-7A21-4A0B-8117-F433E3BF29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609DE53D-7A21-4A0B-8117-F433E3BF2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3DA730B1-07AD-405D-90EC-76DE75C52D3D}"/>
              </a:ext>
            </a:extLst>
          </p:cNvPr>
          <p:cNvSpPr>
            <a:spLocks/>
          </p:cNvSpPr>
          <p:nvPr/>
        </p:nvSpPr>
        <p:spPr>
          <a:xfrm>
            <a:off x="6054290" y="2496318"/>
            <a:ext cx="6137709" cy="97812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BC63B66-270B-4B03-8E3E-B0821138BF92}"/>
              </a:ext>
            </a:extLst>
          </p:cNvPr>
          <p:cNvSpPr>
            <a:spLocks/>
          </p:cNvSpPr>
          <p:nvPr/>
        </p:nvSpPr>
        <p:spPr>
          <a:xfrm>
            <a:off x="6054290" y="1266909"/>
            <a:ext cx="6137709" cy="97812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DAA0958-7DCA-4594-AB59-B22930ECD62C}"/>
              </a:ext>
            </a:extLst>
          </p:cNvPr>
          <p:cNvSpPr/>
          <p:nvPr/>
        </p:nvSpPr>
        <p:spPr>
          <a:xfrm>
            <a:off x="0" y="3859731"/>
            <a:ext cx="2612278" cy="2404009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F22EE85-26AE-4122-A717-260E2EBD59FB}"/>
              </a:ext>
            </a:extLst>
          </p:cNvPr>
          <p:cNvSpPr/>
          <p:nvPr/>
        </p:nvSpPr>
        <p:spPr>
          <a:xfrm>
            <a:off x="2725822" y="3859731"/>
            <a:ext cx="9466178" cy="2404009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0D0474C4-AFEC-4F98-AE13-1F5D777F417E}"/>
              </a:ext>
            </a:extLst>
          </p:cNvPr>
          <p:cNvSpPr>
            <a:spLocks/>
          </p:cNvSpPr>
          <p:nvPr/>
        </p:nvSpPr>
        <p:spPr>
          <a:xfrm>
            <a:off x="4668083" y="1266909"/>
            <a:ext cx="2855830" cy="978120"/>
          </a:xfrm>
          <a:prstGeom prst="roundRect">
            <a:avLst>
              <a:gd name="adj" fmla="val 12339"/>
            </a:avLst>
          </a:prstGeom>
          <a:solidFill>
            <a:schemeClr val="accent1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k-KZ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Первый Заместитель </a:t>
            </a:r>
            <a:br>
              <a:rPr lang="kk-KZ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</a:br>
            <a:r>
              <a:rPr lang="kk-KZ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Премьер-Министра РК</a:t>
            </a:r>
          </a:p>
        </p:txBody>
      </p:sp>
      <p:cxnSp>
        <p:nvCxnSpPr>
          <p:cNvPr id="16" name="LineBasicVerticalDefault 16">
            <a:extLst>
              <a:ext uri="{FF2B5EF4-FFF2-40B4-BE49-F238E27FC236}">
                <a16:creationId xmlns:a16="http://schemas.microsoft.com/office/drawing/2014/main" id="{AA411E77-EEEA-4A54-83A5-A05F58B5A352}"/>
              </a:ext>
            </a:extLst>
          </p:cNvPr>
          <p:cNvCxnSpPr>
            <a:cxnSpLocks/>
            <a:stCxn id="70" idx="2"/>
          </p:cNvCxnSpPr>
          <p:nvPr>
            <p:custDataLst>
              <p:tags r:id="rId3"/>
            </p:custDataLst>
          </p:nvPr>
        </p:nvCxnSpPr>
        <p:spPr>
          <a:xfrm>
            <a:off x="6095998" y="2245029"/>
            <a:ext cx="0" cy="1828236"/>
          </a:xfrm>
          <a:prstGeom prst="straightConnector1">
            <a:avLst/>
          </a:prstGeom>
          <a:ln w="9525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95159A0B-C82C-4B78-83EE-15FC8BD354EB}"/>
              </a:ext>
            </a:extLst>
          </p:cNvPr>
          <p:cNvSpPr>
            <a:spLocks/>
          </p:cNvSpPr>
          <p:nvPr/>
        </p:nvSpPr>
        <p:spPr>
          <a:xfrm>
            <a:off x="4668083" y="2496318"/>
            <a:ext cx="2855830" cy="978120"/>
          </a:xfrm>
          <a:prstGeom prst="roundRect">
            <a:avLst>
              <a:gd name="adj" fmla="val 12339"/>
            </a:avLst>
          </a:prstGeom>
          <a:solidFill>
            <a:schemeClr val="accent1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Ассоциация </a:t>
            </a:r>
            <a:b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«Казахстанский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Совет иностранных 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инвесторов»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28B0600-1CB5-4F27-94A7-294F5415A308}"/>
              </a:ext>
            </a:extLst>
          </p:cNvPr>
          <p:cNvSpPr txBox="1">
            <a:spLocks/>
          </p:cNvSpPr>
          <p:nvPr/>
        </p:nvSpPr>
        <p:spPr>
          <a:xfrm>
            <a:off x="9009247" y="1417416"/>
            <a:ext cx="2628016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600" b="1" dirty="0">
                <a:solidFill>
                  <a:srgbClr val="002060"/>
                </a:solidFill>
                <a:latin typeface="Arial"/>
                <a:cs typeface="Arial"/>
              </a:rPr>
              <a:t>Куратор программы</a:t>
            </a:r>
            <a:r>
              <a:rPr lang="ru-RU" b="1" dirty="0">
                <a:latin typeface="Arial" panose="020B0604020202020204" pitchFamily="34" charset="0"/>
              </a:rPr>
              <a:t/>
            </a:r>
            <a:br>
              <a:rPr lang="ru-RU" b="1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ерехода энергетики РК к углеродной нейтральности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1164E09-FCDB-48D1-A523-CC146CC013C8}"/>
              </a:ext>
            </a:extLst>
          </p:cNvPr>
          <p:cNvSpPr txBox="1">
            <a:spLocks/>
          </p:cNvSpPr>
          <p:nvPr/>
        </p:nvSpPr>
        <p:spPr>
          <a:xfrm>
            <a:off x="9009243" y="2539102"/>
            <a:ext cx="2949405" cy="8925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600" b="1" dirty="0">
                <a:solidFill>
                  <a:srgbClr val="002060"/>
                </a:solidFill>
                <a:latin typeface="Arial"/>
                <a:cs typeface="Arial"/>
              </a:rPr>
              <a:t>Рабочий орган</a:t>
            </a:r>
            <a:r>
              <a:rPr lang="ru-RU" b="1" dirty="0">
                <a:latin typeface="Arial" panose="020B0604020202020204" pitchFamily="34" charset="0"/>
              </a:rPr>
              <a:t/>
            </a:r>
            <a:br>
              <a:rPr lang="ru-RU" b="1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редоставляет площадку для реализации проекта, оказывает организационную поддержку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577A7EA-A411-433D-882E-9A64C32989EC}"/>
              </a:ext>
            </a:extLst>
          </p:cNvPr>
          <p:cNvSpPr txBox="1">
            <a:spLocks/>
          </p:cNvSpPr>
          <p:nvPr/>
        </p:nvSpPr>
        <p:spPr>
          <a:xfrm>
            <a:off x="7408631" y="4884449"/>
            <a:ext cx="4228632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600" b="1" dirty="0">
                <a:solidFill>
                  <a:srgbClr val="002060"/>
                </a:solidFill>
                <a:latin typeface="Arial"/>
                <a:cs typeface="Arial"/>
              </a:rPr>
              <a:t>Со-исполнители</a:t>
            </a:r>
            <a:r>
              <a:rPr lang="ru-RU" b="1" dirty="0">
                <a:latin typeface="Arial" panose="020B0604020202020204" pitchFamily="34" charset="0"/>
              </a:rPr>
              <a:t/>
            </a:r>
            <a:br>
              <a:rPr lang="ru-RU" b="1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ринимают активное участие в разработке стратегии, предоставляют необходимые данные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и экспертизу, отвечают за внедрение своих инициатив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F0D3B13-AE6F-46A6-BFE8-50AB93E861FC}"/>
              </a:ext>
            </a:extLst>
          </p:cNvPr>
          <p:cNvSpPr txBox="1">
            <a:spLocks/>
          </p:cNvSpPr>
          <p:nvPr/>
        </p:nvSpPr>
        <p:spPr>
          <a:xfrm>
            <a:off x="285750" y="4884449"/>
            <a:ext cx="2212984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600" b="1" dirty="0">
                <a:solidFill>
                  <a:srgbClr val="002060"/>
                </a:solidFill>
                <a:latin typeface="Arial"/>
                <a:cs typeface="Arial"/>
              </a:rPr>
              <a:t>Координатор проекта </a:t>
            </a:r>
            <a:r>
              <a:rPr lang="ru-RU" dirty="0">
                <a:latin typeface="Arial" panose="020B0604020202020204" pitchFamily="34" charset="0"/>
              </a:rPr>
              <a:t>координирует </a:t>
            </a:r>
            <a:r>
              <a:rPr lang="ru-RU" dirty="0" smtClean="0">
                <a:latin typeface="Arial" panose="020B0604020202020204" pitchFamily="34" charset="0"/>
              </a:rPr>
              <a:t>разработку </a:t>
            </a:r>
            <a:r>
              <a:rPr lang="ru-RU" dirty="0">
                <a:latin typeface="Arial" panose="020B0604020202020204" pitchFamily="34" charset="0"/>
              </a:rPr>
              <a:t>и внедрение стратегии, сводит </a:t>
            </a:r>
            <a:r>
              <a:rPr lang="ru-RU" dirty="0" smtClean="0">
                <a:latin typeface="Arial" panose="020B0604020202020204" pitchFamily="34" charset="0"/>
              </a:rPr>
              <a:t>данные,</a:t>
            </a:r>
          </a:p>
          <a:p>
            <a:r>
              <a:rPr lang="ru-RU" dirty="0">
                <a:latin typeface="Arial" panose="020B0604020202020204" pitchFamily="34" charset="0"/>
              </a:rPr>
              <a:t>п</a:t>
            </a:r>
            <a:r>
              <a:rPr lang="ru-RU" dirty="0" smtClean="0">
                <a:latin typeface="Arial" panose="020B0604020202020204" pitchFamily="34" charset="0"/>
              </a:rPr>
              <a:t>олученные от </a:t>
            </a:r>
            <a:r>
              <a:rPr lang="ru-RU" dirty="0">
                <a:latin typeface="Arial" panose="020B0604020202020204" pitchFamily="34" charset="0"/>
              </a:rPr>
              <a:t>ведомств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507A251A-76A1-4FFE-8804-B171D2906D3A}"/>
              </a:ext>
            </a:extLst>
          </p:cNvPr>
          <p:cNvSpPr/>
          <p:nvPr/>
        </p:nvSpPr>
        <p:spPr>
          <a:xfrm>
            <a:off x="1544967" y="3474270"/>
            <a:ext cx="4551030" cy="621199"/>
          </a:xfrm>
          <a:custGeom>
            <a:avLst/>
            <a:gdLst>
              <a:gd name="connsiteX0" fmla="*/ 0 w 4551030"/>
              <a:gd name="connsiteY0" fmla="*/ 621199 h 621199"/>
              <a:gd name="connsiteX1" fmla="*/ 0 w 4551030"/>
              <a:gd name="connsiteY1" fmla="*/ 389846 h 621199"/>
              <a:gd name="connsiteX2" fmla="*/ 139646 w 4551030"/>
              <a:gd name="connsiteY2" fmla="*/ 250200 h 621199"/>
              <a:gd name="connsiteX3" fmla="*/ 4411384 w 4551030"/>
              <a:gd name="connsiteY3" fmla="*/ 250200 h 621199"/>
              <a:gd name="connsiteX4" fmla="*/ 4551031 w 4551030"/>
              <a:gd name="connsiteY4" fmla="*/ 110553 h 621199"/>
              <a:gd name="connsiteX5" fmla="*/ 4551031 w 4551030"/>
              <a:gd name="connsiteY5" fmla="*/ 0 h 621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1030" h="621199">
                <a:moveTo>
                  <a:pt x="0" y="621199"/>
                </a:moveTo>
                <a:lnTo>
                  <a:pt x="0" y="389846"/>
                </a:lnTo>
                <a:cubicBezTo>
                  <a:pt x="0" y="312813"/>
                  <a:pt x="62487" y="250200"/>
                  <a:pt x="139646" y="250200"/>
                </a:cubicBezTo>
                <a:lnTo>
                  <a:pt x="4411384" y="250200"/>
                </a:lnTo>
                <a:cubicBezTo>
                  <a:pt x="4488418" y="250200"/>
                  <a:pt x="4551031" y="187713"/>
                  <a:pt x="4551031" y="110553"/>
                </a:cubicBezTo>
                <a:lnTo>
                  <a:pt x="4551031" y="0"/>
                </a:lnTo>
              </a:path>
            </a:pathLst>
          </a:custGeom>
          <a:ln w="9525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F1CA7DD9-A859-4569-8BA5-20CE8C1874E8}"/>
              </a:ext>
            </a:extLst>
          </p:cNvPr>
          <p:cNvSpPr/>
          <p:nvPr/>
        </p:nvSpPr>
        <p:spPr>
          <a:xfrm>
            <a:off x="3820293" y="3474270"/>
            <a:ext cx="2275578" cy="621199"/>
          </a:xfrm>
          <a:custGeom>
            <a:avLst/>
            <a:gdLst>
              <a:gd name="connsiteX0" fmla="*/ 0 w 2275578"/>
              <a:gd name="connsiteY0" fmla="*/ 621199 h 621199"/>
              <a:gd name="connsiteX1" fmla="*/ 0 w 2275578"/>
              <a:gd name="connsiteY1" fmla="*/ 389846 h 621199"/>
              <a:gd name="connsiteX2" fmla="*/ 139646 w 2275578"/>
              <a:gd name="connsiteY2" fmla="*/ 250200 h 621199"/>
              <a:gd name="connsiteX3" fmla="*/ 2135932 w 2275578"/>
              <a:gd name="connsiteY3" fmla="*/ 250200 h 621199"/>
              <a:gd name="connsiteX4" fmla="*/ 2275579 w 2275578"/>
              <a:gd name="connsiteY4" fmla="*/ 110553 h 621199"/>
              <a:gd name="connsiteX5" fmla="*/ 2275579 w 2275578"/>
              <a:gd name="connsiteY5" fmla="*/ 0 h 621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5578" h="621199">
                <a:moveTo>
                  <a:pt x="0" y="621199"/>
                </a:moveTo>
                <a:lnTo>
                  <a:pt x="0" y="389846"/>
                </a:lnTo>
                <a:cubicBezTo>
                  <a:pt x="0" y="312813"/>
                  <a:pt x="62487" y="250200"/>
                  <a:pt x="139646" y="250200"/>
                </a:cubicBezTo>
                <a:lnTo>
                  <a:pt x="2135932" y="250200"/>
                </a:lnTo>
                <a:cubicBezTo>
                  <a:pt x="2212965" y="250200"/>
                  <a:pt x="2275579" y="187713"/>
                  <a:pt x="2275579" y="110553"/>
                </a:cubicBezTo>
                <a:lnTo>
                  <a:pt x="2275579" y="0"/>
                </a:lnTo>
              </a:path>
            </a:pathLst>
          </a:custGeom>
          <a:ln w="9525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50F5A8DA-5F93-401B-9DE3-43D3E3714B24}"/>
              </a:ext>
            </a:extLst>
          </p:cNvPr>
          <p:cNvSpPr/>
          <p:nvPr/>
        </p:nvSpPr>
        <p:spPr>
          <a:xfrm>
            <a:off x="6095492" y="3474270"/>
            <a:ext cx="2275578" cy="621199"/>
          </a:xfrm>
          <a:custGeom>
            <a:avLst/>
            <a:gdLst>
              <a:gd name="connsiteX0" fmla="*/ 2275579 w 2275578"/>
              <a:gd name="connsiteY0" fmla="*/ 621199 h 621199"/>
              <a:gd name="connsiteX1" fmla="*/ 2275579 w 2275578"/>
              <a:gd name="connsiteY1" fmla="*/ 389846 h 621199"/>
              <a:gd name="connsiteX2" fmla="*/ 2135932 w 2275578"/>
              <a:gd name="connsiteY2" fmla="*/ 250200 h 621199"/>
              <a:gd name="connsiteX3" fmla="*/ 139647 w 2275578"/>
              <a:gd name="connsiteY3" fmla="*/ 250200 h 621199"/>
              <a:gd name="connsiteX4" fmla="*/ 0 w 2275578"/>
              <a:gd name="connsiteY4" fmla="*/ 110553 h 621199"/>
              <a:gd name="connsiteX5" fmla="*/ 0 w 2275578"/>
              <a:gd name="connsiteY5" fmla="*/ 0 h 621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5578" h="621199">
                <a:moveTo>
                  <a:pt x="2275579" y="621199"/>
                </a:moveTo>
                <a:lnTo>
                  <a:pt x="2275579" y="389846"/>
                </a:lnTo>
                <a:cubicBezTo>
                  <a:pt x="2275579" y="312813"/>
                  <a:pt x="2213092" y="250200"/>
                  <a:pt x="2135932" y="250200"/>
                </a:cubicBezTo>
                <a:lnTo>
                  <a:pt x="139647" y="250200"/>
                </a:lnTo>
                <a:cubicBezTo>
                  <a:pt x="62613" y="250200"/>
                  <a:pt x="0" y="187713"/>
                  <a:pt x="0" y="110553"/>
                </a:cubicBezTo>
                <a:lnTo>
                  <a:pt x="0" y="0"/>
                </a:lnTo>
              </a:path>
            </a:pathLst>
          </a:custGeom>
          <a:ln w="9525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2BFAAE82-F3CB-42DD-978D-788346ED3876}"/>
              </a:ext>
            </a:extLst>
          </p:cNvPr>
          <p:cNvSpPr/>
          <p:nvPr/>
        </p:nvSpPr>
        <p:spPr>
          <a:xfrm>
            <a:off x="6095492" y="3474270"/>
            <a:ext cx="4551030" cy="621199"/>
          </a:xfrm>
          <a:custGeom>
            <a:avLst/>
            <a:gdLst>
              <a:gd name="connsiteX0" fmla="*/ 4551031 w 4551030"/>
              <a:gd name="connsiteY0" fmla="*/ 621199 h 621199"/>
              <a:gd name="connsiteX1" fmla="*/ 4551031 w 4551030"/>
              <a:gd name="connsiteY1" fmla="*/ 389846 h 621199"/>
              <a:gd name="connsiteX2" fmla="*/ 4411384 w 4551030"/>
              <a:gd name="connsiteY2" fmla="*/ 250200 h 621199"/>
              <a:gd name="connsiteX3" fmla="*/ 139647 w 4551030"/>
              <a:gd name="connsiteY3" fmla="*/ 250200 h 621199"/>
              <a:gd name="connsiteX4" fmla="*/ 0 w 4551030"/>
              <a:gd name="connsiteY4" fmla="*/ 110553 h 621199"/>
              <a:gd name="connsiteX5" fmla="*/ 0 w 4551030"/>
              <a:gd name="connsiteY5" fmla="*/ 0 h 621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1030" h="621199">
                <a:moveTo>
                  <a:pt x="4551031" y="621199"/>
                </a:moveTo>
                <a:lnTo>
                  <a:pt x="4551031" y="389846"/>
                </a:lnTo>
                <a:cubicBezTo>
                  <a:pt x="4551031" y="312813"/>
                  <a:pt x="4488544" y="250200"/>
                  <a:pt x="4411384" y="250200"/>
                </a:cubicBezTo>
                <a:lnTo>
                  <a:pt x="139647" y="250200"/>
                </a:lnTo>
                <a:cubicBezTo>
                  <a:pt x="62613" y="250200"/>
                  <a:pt x="0" y="187713"/>
                  <a:pt x="0" y="110553"/>
                </a:cubicBezTo>
                <a:lnTo>
                  <a:pt x="0" y="0"/>
                </a:lnTo>
              </a:path>
            </a:pathLst>
          </a:custGeom>
          <a:ln w="9525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81CF7676-80D0-4741-8F61-95428BA9E272}"/>
              </a:ext>
            </a:extLst>
          </p:cNvPr>
          <p:cNvSpPr>
            <a:spLocks/>
          </p:cNvSpPr>
          <p:nvPr/>
        </p:nvSpPr>
        <p:spPr>
          <a:xfrm>
            <a:off x="554734" y="4073265"/>
            <a:ext cx="1944000" cy="677109"/>
          </a:xfrm>
          <a:prstGeom prst="roundRect">
            <a:avLst/>
          </a:prstGeom>
          <a:solidFill>
            <a:schemeClr val="bg1"/>
          </a:solidFill>
          <a:ln w="12700" cap="sq">
            <a:noFill/>
            <a:miter lim="800000"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72000" rIns="5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k-KZ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D287B278-C29C-49A4-A512-DF7F9134413A}"/>
              </a:ext>
            </a:extLst>
          </p:cNvPr>
          <p:cNvSpPr>
            <a:spLocks/>
          </p:cNvSpPr>
          <p:nvPr/>
        </p:nvSpPr>
        <p:spPr>
          <a:xfrm>
            <a:off x="5123998" y="4073265"/>
            <a:ext cx="1944000" cy="677109"/>
          </a:xfrm>
          <a:prstGeom prst="roundRect">
            <a:avLst/>
          </a:prstGeom>
          <a:solidFill>
            <a:schemeClr val="bg1"/>
          </a:solidFill>
          <a:ln w="12700" cap="sq">
            <a:noFill/>
            <a:miter lim="800000"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72000" rIns="5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k-KZ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МЭГПР РК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C32CF278-023F-4022-AEB8-8EA9524F5705}"/>
              </a:ext>
            </a:extLst>
          </p:cNvPr>
          <p:cNvSpPr>
            <a:spLocks/>
          </p:cNvSpPr>
          <p:nvPr/>
        </p:nvSpPr>
        <p:spPr>
          <a:xfrm>
            <a:off x="7408630" y="4073265"/>
            <a:ext cx="1944000" cy="677109"/>
          </a:xfrm>
          <a:prstGeom prst="roundRect">
            <a:avLst/>
          </a:prstGeom>
          <a:solidFill>
            <a:schemeClr val="bg1"/>
          </a:solidFill>
          <a:ln w="12700" cap="sq">
            <a:noFill/>
            <a:miter lim="800000"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72000" rIns="5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k-KZ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МНЭ РК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4AF1F4FC-B0F9-452B-A507-1B29E123EA85}"/>
              </a:ext>
            </a:extLst>
          </p:cNvPr>
          <p:cNvSpPr>
            <a:spLocks/>
          </p:cNvSpPr>
          <p:nvPr/>
        </p:nvSpPr>
        <p:spPr>
          <a:xfrm>
            <a:off x="2839366" y="4073265"/>
            <a:ext cx="1944000" cy="677109"/>
          </a:xfrm>
          <a:prstGeom prst="roundRect">
            <a:avLst/>
          </a:prstGeom>
          <a:solidFill>
            <a:schemeClr val="bg1"/>
          </a:solidFill>
          <a:ln w="12700" cap="sq">
            <a:noFill/>
            <a:miter lim="800000"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72000" rIns="5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k-KZ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МЭ РК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00DF92F0-4E54-42EC-8AF8-2C833D04FBE3}"/>
              </a:ext>
            </a:extLst>
          </p:cNvPr>
          <p:cNvSpPr>
            <a:spLocks/>
          </p:cNvSpPr>
          <p:nvPr/>
        </p:nvSpPr>
        <p:spPr>
          <a:xfrm>
            <a:off x="9693262" y="4073265"/>
            <a:ext cx="1944000" cy="677109"/>
          </a:xfrm>
          <a:prstGeom prst="roundRect">
            <a:avLst/>
          </a:prstGeom>
          <a:solidFill>
            <a:schemeClr val="bg1"/>
          </a:solidFill>
          <a:ln w="12700" cap="sq">
            <a:noFill/>
            <a:miter lim="800000"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72000" rIns="5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k-KZ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Franklin Gothic Medium" panose="020B0603020102020204" pitchFamily="34" charset="0"/>
              </a:rPr>
              <a:t>Прочие ведомства</a:t>
            </a:r>
          </a:p>
        </p:txBody>
      </p:sp>
      <p:pic>
        <p:nvPicPr>
          <p:cNvPr id="105" name="Picture 104" descr="General information - kaztransgas">
            <a:extLst>
              <a:ext uri="{FF2B5EF4-FFF2-40B4-BE49-F238E27FC236}">
                <a16:creationId xmlns:a16="http://schemas.microsoft.com/office/drawing/2014/main" id="{F3C974A4-14CA-4898-B588-A51488D79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079" y="4214914"/>
            <a:ext cx="1482578" cy="393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7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0"/>
            <a:ext cx="12170527" cy="63152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управления разработки и внедрения Стратегии 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перехода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захстана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17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562890"/>
              </p:ext>
            </p:extLst>
          </p:nvPr>
        </p:nvGraphicFramePr>
        <p:xfrm>
          <a:off x="366147" y="863894"/>
          <a:ext cx="11304922" cy="5446617"/>
        </p:xfrm>
        <a:graphic>
          <a:graphicData uri="http://schemas.openxmlformats.org/drawingml/2006/table">
            <a:tbl>
              <a:tblPr bandRow="1"/>
              <a:tblGrid>
                <a:gridCol w="5563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48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7582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1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Разработка</a:t>
                      </a:r>
                      <a:r>
                        <a:rPr lang="ru-RU" sz="1400" b="1" u="none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временного регламента по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распределению (приоритетности в обеспечении)</a:t>
                      </a:r>
                      <a:r>
                        <a:rPr lang="ru-RU" sz="1400" b="1" u="none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ограниченных ресурсов товарного газа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огласовать </a:t>
                      </a:r>
                      <a:r>
                        <a:rPr lang="en-US" sz="1100" dirty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QazaqGaz 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возможность отказа остальным крупным потребителям, не попавшим в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приоритетный список Правительства РК</a:t>
                      </a:r>
                      <a:endParaRPr lang="ru-RU" sz="1100" b="1" u="sng" dirty="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5266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2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огласовать долгосрочный график повышения цен на газ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 учетом дифференцированного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подхода: с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держивание цен для социально-незащищенных</a:t>
                      </a:r>
                      <a:r>
                        <a:rPr lang="en-US" sz="1100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лоев населения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и повышение цен для потребителей, готовых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покупать газ по рыночным ценам (</a:t>
                      </a:r>
                      <a:r>
                        <a:rPr lang="ru-RU" sz="1100" baseline="0" dirty="0" err="1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пром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. потребители, </a:t>
                      </a:r>
                      <a:r>
                        <a:rPr lang="ru-RU" sz="1100" baseline="0" dirty="0" err="1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майнеры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и т.д.) </a:t>
                      </a:r>
                      <a:endParaRPr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6953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3.</a:t>
                      </a:r>
                      <a:endParaRPr dirty="0"/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4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Внедрить новые категории крупных промышленных потребителей 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и организаций, 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существляющих </a:t>
                      </a:r>
                      <a:r>
                        <a:rPr lang="ru-RU" sz="1400" b="1" u="none" dirty="0" err="1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майнинг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ru-RU" sz="1400" b="1" u="none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риптовалют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ru-RU" sz="1400" b="0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– июнь </a:t>
                      </a:r>
                      <a:r>
                        <a:rPr lang="ru-RU" sz="1400" b="0" u="none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т.г</a:t>
                      </a:r>
                      <a:r>
                        <a:rPr lang="ru-RU" sz="1400" b="0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.</a:t>
                      </a:r>
                      <a:endParaRPr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3578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4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беспечить реализацию «Неотложных мер» по получению дополнительных 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ресурсов газа 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с крупных месторождений: </a:t>
                      </a:r>
                      <a:r>
                        <a:rPr lang="ru-RU" sz="1400" b="1" u="none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арачаганак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, Тенгиз и </a:t>
                      </a:r>
                      <a:r>
                        <a:rPr lang="ru-RU" sz="1400" b="1" u="none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ашаган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в 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раткосрочной перспективе в 2022-2023 гг. и в среднесрочной и долгосрочной перспективах с 2026 по 2030 гг.</a:t>
                      </a:r>
                      <a:endParaRPr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1891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5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Ускорить вопрос предоставления фискальных преференций для реализации новых газовых проектов на месторождениях КМГ и других </a:t>
                      </a:r>
                      <a:r>
                        <a:rPr lang="ru-RU" sz="1400" b="1" u="none" dirty="0" err="1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недропользователей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– </a:t>
                      </a:r>
                      <a:r>
                        <a:rPr lang="ru-RU" sz="1400" b="0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июнь </a:t>
                      </a:r>
                      <a:r>
                        <a:rPr lang="ru-RU" sz="1400" b="0" u="none" dirty="0" err="1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т.г</a:t>
                      </a:r>
                      <a:r>
                        <a:rPr lang="ru-RU" sz="1400" b="0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2456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6</a:t>
                      </a:r>
                      <a:r>
                        <a:rPr lang="ru-RU" sz="14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огласовать реализацию строительства 2-ой нитки 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ББШ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беспечить необходимый инвестиционный тариф для окупаемости проекта и содействовать в получении ресурсов газа для загрузки газопровода</a:t>
                      </a:r>
                      <a:endParaRPr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5071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7</a:t>
                      </a:r>
                      <a:r>
                        <a:rPr lang="ru-RU" sz="14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Arial"/>
                        </a:rPr>
                        <a:t>Определить источники финансирования для неотложных проектов </a:t>
                      </a:r>
                      <a:r>
                        <a:rPr lang="ru-RU" sz="1400" b="1" u="none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Arial"/>
                        </a:rPr>
                        <a:t>модернизации: </a:t>
                      </a:r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лупинг </a:t>
                      </a:r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МГ «</a:t>
                      </a:r>
                      <a:r>
                        <a:rPr lang="ru-RU" sz="1100" kern="1200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Макат</a:t>
                      </a:r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-Северный Кавказ», МГ «Бейнеу-</a:t>
                      </a:r>
                      <a:r>
                        <a:rPr lang="ru-RU" sz="1100" kern="1200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Жанаозен</a:t>
                      </a:r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», инфраструктура для ТЭЦ-2 и ТЭЦ-3 Алматы</a:t>
                      </a:r>
                      <a:endParaRPr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480518"/>
                  </a:ext>
                </a:extLst>
              </a:tr>
              <a:tr h="390256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8</a:t>
                      </a:r>
                      <a:r>
                        <a:rPr lang="ru-RU" sz="14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Разработать 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«Доктрину энергетической безопасности» 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с учетом рационального использования угля и газа</a:t>
                      </a:r>
                      <a:endParaRPr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0699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9.</a:t>
                      </a:r>
                      <a:endParaRPr dirty="0"/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Принять решение о 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формировании «Стратегических резервов нефти и газа» </a:t>
                      </a:r>
                      <a:r>
                        <a:rPr lang="en-US" sz="110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(Strategic Petroleum Reserves)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2748">
                <a:tc>
                  <a:txBody>
                    <a:bodyPr/>
                    <a:lstStyle/>
                    <a:p>
                      <a:pPr marL="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ea typeface="+mn-ea"/>
                          <a:cs typeface="Arial"/>
                        </a:rPr>
                        <a:t>10.</a:t>
                      </a:r>
                      <a:endParaRPr lang="ru-RU" sz="14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Разработать</a:t>
                      </a:r>
                      <a:r>
                        <a:rPr lang="ru-RU" sz="1400" b="1" u="none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тратегию </a:t>
                      </a:r>
                      <a:r>
                        <a:rPr lang="ru-RU" sz="1400" b="1" u="none" dirty="0" err="1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Энергоперехода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400" b="1" u="none" baseline="0" dirty="0" smtClean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Казахстана</a:t>
                      </a:r>
                      <a:endParaRPr lang="ru-RU" sz="1400" b="1" u="none" dirty="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374797"/>
                  </a:ext>
                </a:extLst>
              </a:tr>
              <a:tr h="412748">
                <a:tc>
                  <a:txBody>
                    <a:bodyPr/>
                    <a:lstStyle/>
                    <a:p>
                      <a:pPr marL="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ea typeface="+mn-ea"/>
                          <a:cs typeface="Arial"/>
                        </a:rPr>
                        <a:t>11.</a:t>
                      </a:r>
                      <a:endParaRPr lang="ru-RU" sz="14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Согласование и утверждение 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омплексного плана </a:t>
                      </a: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развития газовой отрасли в </a:t>
                      </a:r>
                      <a:r>
                        <a:rPr lang="ru-RU" sz="1400" b="1" u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СРОК до 1 июля 2022 г.</a:t>
                      </a:r>
                      <a:endParaRPr lang="ru-RU" sz="1400" b="1" u="none" dirty="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algn="ctr">
                      <a:solidFill>
                        <a:schemeClr val="bg1">
                          <a:lumMod val="50000"/>
                        </a:schemeClr>
                      </a:solidFill>
                    </a:lnL>
                    <a:lnR w="3175" algn="ctr">
                      <a:solidFill>
                        <a:schemeClr val="bg1">
                          <a:lumMod val="50000"/>
                        </a:schemeClr>
                      </a:solidFill>
                    </a:lnR>
                    <a:lnT w="3175" algn="ctr">
                      <a:solidFill>
                        <a:schemeClr val="bg1">
                          <a:lumMod val="50000"/>
                        </a:schemeClr>
                      </a:solidFill>
                    </a:lnT>
                    <a:lnB w="3175" algn="ctr">
                      <a:solidFill>
                        <a:schemeClr val="bg1">
                          <a:lumMod val="50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8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2170527" cy="63152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тложные меры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26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15026" y="3106708"/>
            <a:ext cx="47600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9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23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6"/>
            <a:ext cx="12191999" cy="5674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ние «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рған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»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650433" y="772116"/>
            <a:ext cx="9153968" cy="617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655114" y="3782410"/>
            <a:ext cx="11165584" cy="123698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650433" y="1963639"/>
            <a:ext cx="11170265" cy="7080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647672" y="2831199"/>
            <a:ext cx="11165584" cy="81010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650434" y="745331"/>
            <a:ext cx="11170264" cy="10942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Группа 36"/>
          <p:cNvGrpSpPr/>
          <p:nvPr/>
        </p:nvGrpSpPr>
        <p:grpSpPr bwMode="auto">
          <a:xfrm>
            <a:off x="377566" y="2027135"/>
            <a:ext cx="560154" cy="563814"/>
            <a:chOff x="43565" y="1493163"/>
            <a:chExt cx="560154" cy="563814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43565" y="1493163"/>
              <a:ext cx="560154" cy="563814"/>
            </a:xfrm>
            <a:prstGeom prst="rect">
              <a:avLst/>
            </a:prstGeom>
          </p:spPr>
        </p:pic>
        <p:sp>
          <p:nvSpPr>
            <p:cNvPr id="39" name="Rectangle 103"/>
            <p:cNvSpPr/>
            <p:nvPr/>
          </p:nvSpPr>
          <p:spPr bwMode="auto">
            <a:xfrm>
              <a:off x="44778" y="1591601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40" name="Группа 39"/>
          <p:cNvGrpSpPr/>
          <p:nvPr/>
        </p:nvGrpSpPr>
        <p:grpSpPr bwMode="auto">
          <a:xfrm>
            <a:off x="358881" y="4086538"/>
            <a:ext cx="578839" cy="560825"/>
            <a:chOff x="34201" y="5588871"/>
            <a:chExt cx="578839" cy="560825"/>
          </a:xfrm>
        </p:grpSpPr>
        <p:sp>
          <p:nvSpPr>
            <p:cNvPr id="41" name="Rectangle 103"/>
            <p:cNvSpPr/>
            <p:nvPr/>
          </p:nvSpPr>
          <p:spPr bwMode="auto">
            <a:xfrm>
              <a:off x="34201" y="5711031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endParaRPr lang="en-US" b="1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55857" y="5588871"/>
              <a:ext cx="557183" cy="560825"/>
            </a:xfrm>
            <a:prstGeom prst="rect">
              <a:avLst/>
            </a:prstGeom>
          </p:spPr>
        </p:pic>
        <p:sp>
          <p:nvSpPr>
            <p:cNvPr id="51" name="Rectangle 103"/>
            <p:cNvSpPr/>
            <p:nvPr/>
          </p:nvSpPr>
          <p:spPr bwMode="auto">
            <a:xfrm>
              <a:off x="51691" y="5697129"/>
              <a:ext cx="555279" cy="31927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 bwMode="auto">
          <a:xfrm>
            <a:off x="376371" y="1006752"/>
            <a:ext cx="564461" cy="558725"/>
            <a:chOff x="34201" y="257021"/>
            <a:chExt cx="564461" cy="558725"/>
          </a:xfrm>
        </p:grpSpPr>
        <p:pic>
          <p:nvPicPr>
            <p:cNvPr id="57" name="Рисунок 56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3565" y="257021"/>
              <a:ext cx="555097" cy="558725"/>
            </a:xfrm>
            <a:prstGeom prst="rect">
              <a:avLst/>
            </a:prstGeom>
          </p:spPr>
        </p:pic>
        <p:sp>
          <p:nvSpPr>
            <p:cNvPr id="58" name="Rectangle 103"/>
            <p:cNvSpPr/>
            <p:nvPr/>
          </p:nvSpPr>
          <p:spPr bwMode="auto">
            <a:xfrm>
              <a:off x="34201" y="375043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  <a:endParaRPr dirty="0"/>
            </a:p>
          </p:txBody>
        </p:sp>
      </p:grpSp>
      <p:sp>
        <p:nvSpPr>
          <p:cNvPr id="59" name="Прямоугольник 58"/>
          <p:cNvSpPr/>
          <p:nvPr/>
        </p:nvSpPr>
        <p:spPr bwMode="auto">
          <a:xfrm>
            <a:off x="647672" y="5151062"/>
            <a:ext cx="11173026" cy="160321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376371" y="5644883"/>
            <a:ext cx="560154" cy="563814"/>
            <a:chOff x="43565" y="1667732"/>
            <a:chExt cx="560154" cy="563814"/>
          </a:xfrm>
        </p:grpSpPr>
        <p:pic>
          <p:nvPicPr>
            <p:cNvPr id="61" name="Рисунок 60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43565" y="1667732"/>
              <a:ext cx="560154" cy="563814"/>
            </a:xfrm>
            <a:prstGeom prst="rect">
              <a:avLst/>
            </a:prstGeom>
          </p:spPr>
        </p:pic>
        <p:sp>
          <p:nvSpPr>
            <p:cNvPr id="62" name="Rectangle 103"/>
            <p:cNvSpPr/>
            <p:nvPr/>
          </p:nvSpPr>
          <p:spPr bwMode="auto">
            <a:xfrm>
              <a:off x="44778" y="1766170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"/>
                  <a:cs typeface="Arial"/>
                </a:rPr>
                <a:t>5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63" name="Прямоугольник 62"/>
          <p:cNvSpPr/>
          <p:nvPr/>
        </p:nvSpPr>
        <p:spPr>
          <a:xfrm>
            <a:off x="972698" y="2820088"/>
            <a:ext cx="1078942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человеческого капитала</a:t>
            </a:r>
            <a:endParaRPr lang="ru-RU" sz="160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новление и совершенствование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ой политики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основанной на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ах меритократии и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арентности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лучшение условий труда производственног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ерсонала по группе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ний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972698" y="3782410"/>
            <a:ext cx="107894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сперебойное и безаварийное </a:t>
            </a:r>
            <a:r>
              <a:rPr lang="ru-RU" sz="16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снабжение РК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энергетической безопасности страны путем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лежащей эксплуатации ГТС РК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 внутреннего рынка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азоснабжения в условиях формирования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го рынка газа ЕАЭС в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году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полномоченная организация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, обладающая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ыми правами, ресурсами газа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финансово устойчивым состоянием.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72698" y="5176457"/>
            <a:ext cx="10789420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уровня прозрачности системы закупок и оптимизация затрат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ение новой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 закупок Фонда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деятельность группы компаний </a:t>
            </a:r>
            <a:r>
              <a:rPr lang="en-US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местные предприятия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местного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я в закупках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путем локализации производства в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 (</a:t>
            </a:r>
            <a:r>
              <a:rPr lang="ru-RU" sz="14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: производители газоперекачивающих агрегатов </a:t>
            </a:r>
            <a:r>
              <a:rPr lang="en-US" sz="14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AR</a:t>
            </a:r>
            <a:r>
              <a:rPr lang="en-US" sz="14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R, Siemens, CAT, GE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др</a:t>
            </a:r>
            <a:r>
              <a:rPr lang="ru-RU" sz="14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работка предложений по 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нополизации и оптимизации 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ов группы 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й, исключению посреднических структур, оптимизации затрат.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72698" y="701951"/>
            <a:ext cx="1107823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и исполнение поручений Главы государства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организации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ого аудита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и </a:t>
            </a:r>
            <a:r>
              <a:rPr lang="ru-RU" sz="16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арентности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деятельности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и стратегических проектов </a:t>
            </a:r>
            <a:r>
              <a:rPr lang="ru-RU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: реконструкция ГТС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ангистауской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тырауской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ей; газификация объектов в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ангистауской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обл., ТЭЦ 2,3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.Алматы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; строительство ГПЗ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ПГУ в Туркестанской обл.)</a:t>
            </a:r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72698" y="2002716"/>
            <a:ext cx="108946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Стратегии развития </a:t>
            </a:r>
            <a:r>
              <a:rPr lang="en-US" sz="1600" b="1" u="sng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солидация усилий всех участников рынка газоснабжения, формирование репутации надежного партнера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103"/>
          <p:cNvSpPr/>
          <p:nvPr/>
        </p:nvSpPr>
        <p:spPr bwMode="auto">
          <a:xfrm>
            <a:off x="449931" y="3136286"/>
            <a:ext cx="558941" cy="31517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/>
          </a:p>
        </p:txBody>
      </p:sp>
      <p:sp>
        <p:nvSpPr>
          <p:cNvPr id="69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70" name="Группа 69"/>
          <p:cNvGrpSpPr/>
          <p:nvPr/>
        </p:nvGrpSpPr>
        <p:grpSpPr bwMode="auto">
          <a:xfrm>
            <a:off x="380678" y="2934565"/>
            <a:ext cx="560154" cy="563814"/>
            <a:chOff x="43565" y="1493163"/>
            <a:chExt cx="560154" cy="563814"/>
          </a:xfrm>
        </p:grpSpPr>
        <p:pic>
          <p:nvPicPr>
            <p:cNvPr id="71" name="Рисунок 70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43565" y="1493163"/>
              <a:ext cx="560154" cy="563814"/>
            </a:xfrm>
            <a:prstGeom prst="rect">
              <a:avLst/>
            </a:prstGeom>
          </p:spPr>
        </p:pic>
        <p:sp>
          <p:nvSpPr>
            <p:cNvPr id="72" name="Rectangle 103"/>
            <p:cNvSpPr/>
            <p:nvPr/>
          </p:nvSpPr>
          <p:spPr bwMode="auto">
            <a:xfrm>
              <a:off x="44778" y="1591601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268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0595" y="637928"/>
            <a:ext cx="1160311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события: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ицит товарного газа на внутреннем рынке в 2024г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</a:t>
            </a: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го 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 газа ЕАЭС </a:t>
            </a: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5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е безубыточности к 2026г. (</a:t>
            </a:r>
            <a:r>
              <a:rPr lang="ru-RU" sz="16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облюдении 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го 15</a:t>
            </a:r>
            <a:r>
              <a:rPr lang="ru-RU" sz="16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повышения оптовых цен</a:t>
            </a: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43748"/>
              </p:ext>
            </p:extLst>
          </p:nvPr>
        </p:nvGraphicFramePr>
        <p:xfrm>
          <a:off x="133258" y="1726503"/>
          <a:ext cx="11951874" cy="4248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8023">
                  <a:extLst>
                    <a:ext uri="{9D8B030D-6E8A-4147-A177-3AD203B41FA5}">
                      <a16:colId xmlns:a16="http://schemas.microsoft.com/office/drawing/2014/main" val="3384214032"/>
                    </a:ext>
                  </a:extLst>
                </a:gridCol>
                <a:gridCol w="2701049">
                  <a:extLst>
                    <a:ext uri="{9D8B030D-6E8A-4147-A177-3AD203B41FA5}">
                      <a16:colId xmlns:a16="http://schemas.microsoft.com/office/drawing/2014/main" val="4139387994"/>
                    </a:ext>
                  </a:extLst>
                </a:gridCol>
                <a:gridCol w="1784027">
                  <a:extLst>
                    <a:ext uri="{9D8B030D-6E8A-4147-A177-3AD203B41FA5}">
                      <a16:colId xmlns:a16="http://schemas.microsoft.com/office/drawing/2014/main" val="1363931167"/>
                    </a:ext>
                  </a:extLst>
                </a:gridCol>
                <a:gridCol w="1853222">
                  <a:extLst>
                    <a:ext uri="{9D8B030D-6E8A-4147-A177-3AD203B41FA5}">
                      <a16:colId xmlns:a16="http://schemas.microsoft.com/office/drawing/2014/main" val="3539323928"/>
                    </a:ext>
                  </a:extLst>
                </a:gridCol>
                <a:gridCol w="2635581">
                  <a:extLst>
                    <a:ext uri="{9D8B030D-6E8A-4147-A177-3AD203B41FA5}">
                      <a16:colId xmlns:a16="http://schemas.microsoft.com/office/drawing/2014/main" val="2317895139"/>
                    </a:ext>
                  </a:extLst>
                </a:gridCol>
                <a:gridCol w="1469972">
                  <a:extLst>
                    <a:ext uri="{9D8B030D-6E8A-4147-A177-3AD203B41FA5}">
                      <a16:colId xmlns:a16="http://schemas.microsoft.com/office/drawing/2014/main" val="3004943073"/>
                    </a:ext>
                  </a:extLst>
                </a:gridCol>
              </a:tblGrid>
              <a:tr h="368973">
                <a:tc rowSpan="2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урсная база</a:t>
                      </a: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Г</a:t>
                      </a: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ГС</a:t>
                      </a: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газа</a:t>
                      </a: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056686"/>
                  </a:ext>
                </a:extLst>
              </a:tr>
              <a:tr h="374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ий рынок</a:t>
                      </a:r>
                      <a:endParaRPr lang="ru-RU" sz="16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орт</a:t>
                      </a:r>
                      <a:endParaRPr lang="ru-RU" sz="16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6460167"/>
                  </a:ext>
                </a:extLst>
              </a:tr>
              <a:tr h="748194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azaqGaz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собственной ресурсной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азы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zaqGaz (</a:t>
                      </a:r>
                      <a:r>
                        <a:rPr lang="ru-RU" sz="1400" i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стратегический резерв»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4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вместная деятельность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</a:t>
                      </a:r>
                      <a:r>
                        <a:rPr lang="ru-RU" sz="1400" baseline="0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ропользователями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переработке газа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имулирующие подходы к независимым </a:t>
                      </a:r>
                      <a:r>
                        <a:rPr lang="ru-RU" sz="1400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ропользователям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i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НП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сокращению обратной закачки и снижению объемов сжигания попутного нефтяного газа </a:t>
                      </a:r>
                      <a:endParaRPr lang="ru-RU" sz="14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err="1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zaqGaz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ый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ператор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ТС (</a:t>
                      </a:r>
                      <a:r>
                        <a:rPr lang="ru-RU" sz="1400" i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кл. РГС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ru-RU" sz="1400" baseline="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ru-RU" sz="14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КТГ Аймак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конкурентный рынок </a:t>
                      </a:r>
                      <a:r>
                        <a:rPr lang="ru-RU" sz="1400" u="sng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достижению уровня безубыточности</a:t>
                      </a:r>
                      <a:r>
                        <a:rPr lang="ru-RU" sz="1400" u="sng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цен на внутреннем рынке </a:t>
                      </a:r>
                      <a:endParaRPr lang="ru-RU" sz="1400" u="sng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хранение преимущественного права на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обретение товарного и сырого газа</a:t>
                      </a:r>
                      <a:endParaRPr lang="ru-RU" sz="14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zaqGaz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ый экспортный канал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4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НП </a:t>
                      </a:r>
                      <a:endParaRPr lang="en-US" sz="14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i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рамках</a:t>
                      </a:r>
                      <a:r>
                        <a:rPr lang="ru-RU" sz="1400" i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экспортных каналов</a:t>
                      </a:r>
                      <a:r>
                        <a:rPr lang="en-US" sz="1400" i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azaqGaz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ru-RU" sz="14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2258034"/>
                  </a:ext>
                </a:extLst>
              </a:tr>
              <a:tr h="147828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курентный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ынок</a:t>
                      </a:r>
                      <a:endParaRPr lang="ru-RU" sz="14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совместных инфраструктурных проектов 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zaqGaz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ННП</a:t>
                      </a:r>
                      <a:endParaRPr lang="ru-RU" sz="14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ru-RU" sz="14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влечение частных инвестиций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400" b="1" i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зависимые ГРО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4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ржевой метод при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остижении безубыточности цен и профицита товарного газа (</a:t>
                      </a:r>
                      <a:r>
                        <a:rPr lang="ru-RU" sz="1400" i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учетом исключения импорта товарного газа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89614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0594" y="5898872"/>
            <a:ext cx="116031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4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перспективе и 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условиями сохранения реальных механизмов защиты рынка газоснабжения Р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ет идею демонополизации и либерализации рынка газоснабжения 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конечной цели в развитии здоровой </a:t>
            </a: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енции.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сохранить за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 </a:t>
            </a: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ое право на недропользование и преимущественное право на приобретение товарного и сырого газа.  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2"/>
          <p:cNvSpPr txBox="1">
            <a:spLocks/>
          </p:cNvSpPr>
          <p:nvPr/>
        </p:nvSpPr>
        <p:spPr>
          <a:xfrm>
            <a:off x="11546377" y="6476497"/>
            <a:ext cx="538755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F6E1F7E-BE95-4303-9F7A-4C05385CC0FB}" type="slidenum">
              <a:rPr lang="ru-RU" sz="10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0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2170527" cy="63152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рынка газоснабжения в среднесрочной перспективе</a:t>
            </a:r>
          </a:p>
        </p:txBody>
      </p:sp>
    </p:spTree>
    <p:extLst>
      <p:ext uri="{BB962C8B-B14F-4D97-AF65-F5344CB8AC3E}">
        <p14:creationId xmlns:p14="http://schemas.microsoft.com/office/powerpoint/2010/main" val="190716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59EC780-3899-4C21-8CCF-4AE305DFB247}"/>
              </a:ext>
            </a:extLst>
          </p:cNvPr>
          <p:cNvSpPr/>
          <p:nvPr/>
        </p:nvSpPr>
        <p:spPr>
          <a:xfrm>
            <a:off x="9791950" y="4690480"/>
            <a:ext cx="14945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 lvl="0">
              <a:defRPr lang="ru-RU"/>
            </a:defPPr>
            <a:lvl1pPr marL="0" lvl="0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26" lvl="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lvl="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lvl="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lvl="4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lvl="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lvl="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lvl="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lvl="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2022 -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30гг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F193777-D4FE-446B-9A8C-D9B39EDDCE4D}"/>
              </a:ext>
            </a:extLst>
          </p:cNvPr>
          <p:cNvSpPr/>
          <p:nvPr/>
        </p:nvSpPr>
        <p:spPr>
          <a:xfrm>
            <a:off x="6321553" y="4699980"/>
            <a:ext cx="38730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u="sng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И КОМПЛЕКСНОГО ПЛАНА:</a:t>
            </a:r>
            <a:endParaRPr lang="en-US" sz="1600" b="1" u="sng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9C466263-F547-4F88-900F-067CA96BCA83}"/>
              </a:ext>
            </a:extLst>
          </p:cNvPr>
          <p:cNvSpPr/>
          <p:nvPr/>
        </p:nvSpPr>
        <p:spPr>
          <a:xfrm>
            <a:off x="977990" y="673846"/>
            <a:ext cx="37819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u="sng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КОМПЛЕКСНОГО ПЛАНА:</a:t>
            </a:r>
            <a:endParaRPr lang="en-US" sz="1600" b="1" u="sng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57FE69C-0F17-497C-886B-C9064AF07AF6}"/>
              </a:ext>
            </a:extLst>
          </p:cNvPr>
          <p:cNvSpPr/>
          <p:nvPr/>
        </p:nvSpPr>
        <p:spPr>
          <a:xfrm>
            <a:off x="6731397" y="666051"/>
            <a:ext cx="43417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u="sng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И КОМПЛЕКСНОГО ПЛАНА:</a:t>
            </a:r>
            <a:endParaRPr lang="en-US" sz="1600" b="1" u="sng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335471" y="3679942"/>
            <a:ext cx="4964979" cy="109987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328358" y="1114727"/>
            <a:ext cx="4964978" cy="114085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Группа 37"/>
          <p:cNvGrpSpPr/>
          <p:nvPr/>
        </p:nvGrpSpPr>
        <p:grpSpPr bwMode="auto">
          <a:xfrm>
            <a:off x="85559" y="1347276"/>
            <a:ext cx="564461" cy="558725"/>
            <a:chOff x="34201" y="257021"/>
            <a:chExt cx="564461" cy="558725"/>
          </a:xfrm>
        </p:grpSpPr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43565" y="257021"/>
              <a:ext cx="555097" cy="558725"/>
            </a:xfrm>
            <a:prstGeom prst="rect">
              <a:avLst/>
            </a:prstGeom>
          </p:spPr>
        </p:pic>
        <p:sp>
          <p:nvSpPr>
            <p:cNvPr id="40" name="Rectangle 103"/>
            <p:cNvSpPr/>
            <p:nvPr/>
          </p:nvSpPr>
          <p:spPr bwMode="auto">
            <a:xfrm>
              <a:off x="34201" y="375043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  <a:endParaRPr dirty="0"/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637125" y="3682267"/>
            <a:ext cx="465611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ценообразования на газ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етом поддержки социально-незащищенны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ребителей</a:t>
            </a:r>
          </a:p>
          <a:p>
            <a:pPr lvl="0">
              <a:defRPr/>
            </a:pPr>
            <a:r>
              <a:rPr lang="ru-RU" sz="1400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1400" i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sz="1400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под угрозой срыва!!!</a:t>
            </a:r>
            <a:endParaRPr lang="ru-RU" sz="1400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25445" y="1057770"/>
            <a:ext cx="452816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ресурсной базы газа </a:t>
            </a:r>
            <a:endParaRPr lang="ru-RU" sz="1600" b="1" u="sng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чет геологоразведки и новых проектов добычи газа на новых и действующих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рождениях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328359" y="2380195"/>
            <a:ext cx="4964978" cy="119748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7" name="Группа 46"/>
          <p:cNvGrpSpPr/>
          <p:nvPr/>
        </p:nvGrpSpPr>
        <p:grpSpPr bwMode="auto">
          <a:xfrm>
            <a:off x="97995" y="2721875"/>
            <a:ext cx="560154" cy="563814"/>
            <a:chOff x="46524" y="1278154"/>
            <a:chExt cx="560154" cy="563814"/>
          </a:xfrm>
        </p:grpSpPr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46524" y="1278154"/>
              <a:ext cx="560154" cy="563814"/>
            </a:xfrm>
            <a:prstGeom prst="rect">
              <a:avLst/>
            </a:prstGeom>
          </p:spPr>
        </p:pic>
        <p:sp>
          <p:nvSpPr>
            <p:cNvPr id="49" name="Rectangle 103"/>
            <p:cNvSpPr/>
            <p:nvPr/>
          </p:nvSpPr>
          <p:spPr bwMode="auto">
            <a:xfrm>
              <a:off x="47737" y="1386788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613106" y="2380892"/>
            <a:ext cx="45405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ация и расширение газотранспортной инфраструктуры </a:t>
            </a:r>
            <a:endParaRPr lang="ru-RU" sz="1600" b="1" u="sng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окращения износа и обеспечения </a:t>
            </a:r>
            <a:b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внутреннего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</a:t>
            </a:r>
            <a:endParaRPr lang="ru-RU" sz="160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Группа 51"/>
          <p:cNvGrpSpPr/>
          <p:nvPr/>
        </p:nvGrpSpPr>
        <p:grpSpPr bwMode="auto">
          <a:xfrm>
            <a:off x="85559" y="3949466"/>
            <a:ext cx="632501" cy="560825"/>
            <a:chOff x="49786" y="3944690"/>
            <a:chExt cx="632501" cy="560825"/>
          </a:xfrm>
        </p:grpSpPr>
        <p:sp>
          <p:nvSpPr>
            <p:cNvPr id="53" name="Rectangle 103"/>
            <p:cNvSpPr/>
            <p:nvPr/>
          </p:nvSpPr>
          <p:spPr bwMode="auto">
            <a:xfrm>
              <a:off x="123346" y="4130689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n-US" b="1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  <a:endParaRPr/>
            </a:p>
          </p:txBody>
        </p:sp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9786" y="3944690"/>
              <a:ext cx="557184" cy="560825"/>
            </a:xfrm>
            <a:prstGeom prst="rect">
              <a:avLst/>
            </a:prstGeom>
          </p:spPr>
        </p:pic>
        <p:sp>
          <p:nvSpPr>
            <p:cNvPr id="55" name="Rectangle 103"/>
            <p:cNvSpPr/>
            <p:nvPr/>
          </p:nvSpPr>
          <p:spPr bwMode="auto">
            <a:xfrm>
              <a:off x="55857" y="4057265"/>
              <a:ext cx="555279" cy="31927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6" name="Прямоугольник 55"/>
          <p:cNvSpPr/>
          <p:nvPr/>
        </p:nvSpPr>
        <p:spPr bwMode="auto">
          <a:xfrm>
            <a:off x="328358" y="4905118"/>
            <a:ext cx="4964978" cy="83169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Группа 56"/>
          <p:cNvGrpSpPr/>
          <p:nvPr/>
        </p:nvGrpSpPr>
        <p:grpSpPr bwMode="auto">
          <a:xfrm>
            <a:off x="92394" y="5039058"/>
            <a:ext cx="560154" cy="563814"/>
            <a:chOff x="46524" y="1278154"/>
            <a:chExt cx="560154" cy="563814"/>
          </a:xfrm>
        </p:grpSpPr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46524" y="1278154"/>
              <a:ext cx="560154" cy="563814"/>
            </a:xfrm>
            <a:prstGeom prst="rect">
              <a:avLst/>
            </a:prstGeom>
          </p:spPr>
        </p:pic>
        <p:sp>
          <p:nvSpPr>
            <p:cNvPr id="59" name="Rectangle 103"/>
            <p:cNvSpPr/>
            <p:nvPr/>
          </p:nvSpPr>
          <p:spPr bwMode="auto">
            <a:xfrm>
              <a:off x="47737" y="1386788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>
            <a:off x="613105" y="4905814"/>
            <a:ext cx="45405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йшее развитие </a:t>
            </a:r>
            <a:r>
              <a:rPr lang="ru-RU" sz="16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фикации</a:t>
            </a:r>
          </a:p>
          <a:p>
            <a:pPr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беспечение потребителей доступным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м</a:t>
            </a:r>
            <a:endParaRPr lang="ru-RU" sz="160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 bwMode="auto">
          <a:xfrm>
            <a:off x="328358" y="5870055"/>
            <a:ext cx="4964978" cy="66574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2" name="Группа 61"/>
          <p:cNvGrpSpPr/>
          <p:nvPr/>
        </p:nvGrpSpPr>
        <p:grpSpPr bwMode="auto">
          <a:xfrm>
            <a:off x="80039" y="5923563"/>
            <a:ext cx="564461" cy="558725"/>
            <a:chOff x="34201" y="257021"/>
            <a:chExt cx="564461" cy="558725"/>
          </a:xfrm>
        </p:grpSpPr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43565" y="257021"/>
              <a:ext cx="555097" cy="558725"/>
            </a:xfrm>
            <a:prstGeom prst="rect">
              <a:avLst/>
            </a:prstGeom>
          </p:spPr>
        </p:pic>
        <p:sp>
          <p:nvSpPr>
            <p:cNvPr id="64" name="Rectangle 103"/>
            <p:cNvSpPr/>
            <p:nvPr/>
          </p:nvSpPr>
          <p:spPr bwMode="auto">
            <a:xfrm>
              <a:off x="34201" y="375043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chemeClr val="bg1"/>
                  </a:solidFill>
                  <a:latin typeface="Arial"/>
                  <a:cs typeface="Arial"/>
                </a:rPr>
                <a:t>5</a:t>
              </a:r>
              <a:endParaRPr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65" name="Прямоугольник 64"/>
          <p:cNvSpPr/>
          <p:nvPr/>
        </p:nvSpPr>
        <p:spPr>
          <a:xfrm>
            <a:off x="625445" y="5813098"/>
            <a:ext cx="45281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нормативно-правовой базы газовой отрасли</a:t>
            </a:r>
          </a:p>
          <a:p>
            <a:pPr lvl="0">
              <a:defRPr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 bwMode="auto">
          <a:xfrm>
            <a:off x="6321554" y="1108959"/>
            <a:ext cx="4964978" cy="57706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6638205" y="1070383"/>
            <a:ext cx="45281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вклада газовой отрасли </a:t>
            </a:r>
            <a:b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ВП с 1,7% до 3,4% к 2030 г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 bwMode="auto">
          <a:xfrm>
            <a:off x="6321554" y="1770112"/>
            <a:ext cx="4964978" cy="6270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6638205" y="1772383"/>
            <a:ext cx="45281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производств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ного газа с 30,5 млрд м³ до 42 млрд м³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 bwMode="auto">
          <a:xfrm>
            <a:off x="6321553" y="2481218"/>
            <a:ext cx="4964978" cy="66446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6638205" y="2491934"/>
            <a:ext cx="45281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носа газовой инфраструктуры с 75% до 25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 bwMode="auto">
          <a:xfrm>
            <a:off x="6321553" y="3228484"/>
            <a:ext cx="4964978" cy="65795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6638205" y="3246287"/>
            <a:ext cx="45281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вата газификации страны с 53% до 65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 bwMode="auto">
          <a:xfrm>
            <a:off x="6321553" y="3988599"/>
            <a:ext cx="4964978" cy="70933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6638205" y="4030188"/>
            <a:ext cx="45281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х уровней </a:t>
            </a:r>
            <a:b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зита и экспорта 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DCED958B-DDAA-4FCC-A4CB-23091A191732}"/>
              </a:ext>
            </a:extLst>
          </p:cNvPr>
          <p:cNvSpPr/>
          <p:nvPr/>
        </p:nvSpPr>
        <p:spPr>
          <a:xfrm>
            <a:off x="6010102" y="5047642"/>
            <a:ext cx="5760720" cy="175432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498475" lvl="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ый план доработан, согласован с государственными органами и внесен в КПМ РК.</a:t>
            </a:r>
          </a:p>
          <a:p>
            <a:pPr marL="498475" lvl="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 для модернизации объектов существующей газотранспортной инфраструктуры Казахстана до 2030 года предварительно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ированы на 1 </a:t>
            </a:r>
            <a:r>
              <a:rPr lang="ru-RU" sz="1400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.тенге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98475" lvl="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оизводстве технический аудит состояния ГТС РК, срок завершения - июль 2022 г.</a:t>
            </a:r>
          </a:p>
        </p:txBody>
      </p:sp>
      <p:sp>
        <p:nvSpPr>
          <p:cNvPr id="51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1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0" y="0"/>
            <a:ext cx="12170527" cy="63152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ый план развития газовой отрасли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382531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Группа 28"/>
          <p:cNvGrpSpPr/>
          <p:nvPr/>
        </p:nvGrpSpPr>
        <p:grpSpPr>
          <a:xfrm>
            <a:off x="1775442" y="661896"/>
            <a:ext cx="9456508" cy="5153472"/>
            <a:chOff x="0" y="1537314"/>
            <a:chExt cx="7981338" cy="5013182"/>
          </a:xfrm>
        </p:grpSpPr>
        <p:grpSp>
          <p:nvGrpSpPr>
            <p:cNvPr id="5" name="Группа 27"/>
            <p:cNvGrpSpPr>
              <a:grpSpLocks/>
            </p:cNvGrpSpPr>
            <p:nvPr/>
          </p:nvGrpSpPr>
          <p:grpSpPr bwMode="auto">
            <a:xfrm>
              <a:off x="0" y="2150565"/>
              <a:ext cx="7176413" cy="4399931"/>
              <a:chOff x="1052945" y="929126"/>
              <a:chExt cx="6128906" cy="3157270"/>
            </a:xfrm>
            <a:solidFill>
              <a:schemeClr val="accent3">
                <a:lumMod val="20000"/>
                <a:lumOff val="80000"/>
              </a:schemeClr>
            </a:solidFill>
          </p:grpSpPr>
          <p:sp>
            <p:nvSpPr>
              <p:cNvPr id="6" name="Freeform 14"/>
              <p:cNvSpPr/>
              <p:nvPr/>
            </p:nvSpPr>
            <p:spPr>
              <a:xfrm>
                <a:off x="5242803" y="2542354"/>
                <a:ext cx="1432662" cy="998986"/>
              </a:xfrm>
              <a:custGeom>
                <a:avLst/>
                <a:gdLst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19100 w 2038350"/>
                  <a:gd name="connsiteY87" fmla="*/ 1264444 h 1533525"/>
                  <a:gd name="connsiteX88" fmla="*/ 383381 w 2038350"/>
                  <a:gd name="connsiteY88" fmla="*/ 1109663 h 1533525"/>
                  <a:gd name="connsiteX89" fmla="*/ 304800 w 2038350"/>
                  <a:gd name="connsiteY89" fmla="*/ 1050131 h 1533525"/>
                  <a:gd name="connsiteX90" fmla="*/ 195262 w 2038350"/>
                  <a:gd name="connsiteY90" fmla="*/ 1000125 h 1533525"/>
                  <a:gd name="connsiteX91" fmla="*/ 169068 w 2038350"/>
                  <a:gd name="connsiteY91" fmla="*/ 904875 h 1533525"/>
                  <a:gd name="connsiteX92" fmla="*/ 78581 w 2038350"/>
                  <a:gd name="connsiteY92" fmla="*/ 847725 h 1533525"/>
                  <a:gd name="connsiteX93" fmla="*/ 0 w 2038350"/>
                  <a:gd name="connsiteY93" fmla="*/ 552450 h 1533525"/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19100 w 2038350"/>
                  <a:gd name="connsiteY87" fmla="*/ 1264444 h 1533525"/>
                  <a:gd name="connsiteX88" fmla="*/ 383381 w 2038350"/>
                  <a:gd name="connsiteY88" fmla="*/ 1109663 h 1533525"/>
                  <a:gd name="connsiteX89" fmla="*/ 304800 w 2038350"/>
                  <a:gd name="connsiteY89" fmla="*/ 1050131 h 1533525"/>
                  <a:gd name="connsiteX90" fmla="*/ 252412 w 2038350"/>
                  <a:gd name="connsiteY90" fmla="*/ 1023938 h 1533525"/>
                  <a:gd name="connsiteX91" fmla="*/ 195262 w 2038350"/>
                  <a:gd name="connsiteY91" fmla="*/ 1000125 h 1533525"/>
                  <a:gd name="connsiteX92" fmla="*/ 169068 w 2038350"/>
                  <a:gd name="connsiteY92" fmla="*/ 904875 h 1533525"/>
                  <a:gd name="connsiteX93" fmla="*/ 78581 w 2038350"/>
                  <a:gd name="connsiteY93" fmla="*/ 847725 h 1533525"/>
                  <a:gd name="connsiteX94" fmla="*/ 0 w 2038350"/>
                  <a:gd name="connsiteY94" fmla="*/ 552450 h 1533525"/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19100 w 2038350"/>
                  <a:gd name="connsiteY87" fmla="*/ 1264444 h 1533525"/>
                  <a:gd name="connsiteX88" fmla="*/ 383381 w 2038350"/>
                  <a:gd name="connsiteY88" fmla="*/ 1109663 h 1533525"/>
                  <a:gd name="connsiteX89" fmla="*/ 304800 w 2038350"/>
                  <a:gd name="connsiteY89" fmla="*/ 1050131 h 1533525"/>
                  <a:gd name="connsiteX90" fmla="*/ 250030 w 2038350"/>
                  <a:gd name="connsiteY90" fmla="*/ 1033463 h 1533525"/>
                  <a:gd name="connsiteX91" fmla="*/ 195262 w 2038350"/>
                  <a:gd name="connsiteY91" fmla="*/ 1000125 h 1533525"/>
                  <a:gd name="connsiteX92" fmla="*/ 169068 w 2038350"/>
                  <a:gd name="connsiteY92" fmla="*/ 904875 h 1533525"/>
                  <a:gd name="connsiteX93" fmla="*/ 78581 w 2038350"/>
                  <a:gd name="connsiteY93" fmla="*/ 847725 h 1533525"/>
                  <a:gd name="connsiteX94" fmla="*/ 0 w 2038350"/>
                  <a:gd name="connsiteY94" fmla="*/ 552450 h 1533525"/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19100 w 2038350"/>
                  <a:gd name="connsiteY87" fmla="*/ 1264444 h 1533525"/>
                  <a:gd name="connsiteX88" fmla="*/ 383381 w 2038350"/>
                  <a:gd name="connsiteY88" fmla="*/ 1109663 h 1533525"/>
                  <a:gd name="connsiteX89" fmla="*/ 314325 w 2038350"/>
                  <a:gd name="connsiteY89" fmla="*/ 1064419 h 1533525"/>
                  <a:gd name="connsiteX90" fmla="*/ 250030 w 2038350"/>
                  <a:gd name="connsiteY90" fmla="*/ 1033463 h 1533525"/>
                  <a:gd name="connsiteX91" fmla="*/ 195262 w 2038350"/>
                  <a:gd name="connsiteY91" fmla="*/ 1000125 h 1533525"/>
                  <a:gd name="connsiteX92" fmla="*/ 169068 w 2038350"/>
                  <a:gd name="connsiteY92" fmla="*/ 904875 h 1533525"/>
                  <a:gd name="connsiteX93" fmla="*/ 78581 w 2038350"/>
                  <a:gd name="connsiteY93" fmla="*/ 847725 h 1533525"/>
                  <a:gd name="connsiteX94" fmla="*/ 0 w 2038350"/>
                  <a:gd name="connsiteY94" fmla="*/ 552450 h 1533525"/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52437 w 2038350"/>
                  <a:gd name="connsiteY87" fmla="*/ 1331119 h 1533525"/>
                  <a:gd name="connsiteX88" fmla="*/ 419100 w 2038350"/>
                  <a:gd name="connsiteY88" fmla="*/ 1264444 h 1533525"/>
                  <a:gd name="connsiteX89" fmla="*/ 383381 w 2038350"/>
                  <a:gd name="connsiteY89" fmla="*/ 1109663 h 1533525"/>
                  <a:gd name="connsiteX90" fmla="*/ 314325 w 2038350"/>
                  <a:gd name="connsiteY90" fmla="*/ 1064419 h 1533525"/>
                  <a:gd name="connsiteX91" fmla="*/ 250030 w 2038350"/>
                  <a:gd name="connsiteY91" fmla="*/ 1033463 h 1533525"/>
                  <a:gd name="connsiteX92" fmla="*/ 195262 w 2038350"/>
                  <a:gd name="connsiteY92" fmla="*/ 1000125 h 1533525"/>
                  <a:gd name="connsiteX93" fmla="*/ 169068 w 2038350"/>
                  <a:gd name="connsiteY93" fmla="*/ 904875 h 1533525"/>
                  <a:gd name="connsiteX94" fmla="*/ 78581 w 2038350"/>
                  <a:gd name="connsiteY94" fmla="*/ 847725 h 1533525"/>
                  <a:gd name="connsiteX95" fmla="*/ 0 w 2038350"/>
                  <a:gd name="connsiteY95" fmla="*/ 552450 h 1533525"/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40531 w 2038350"/>
                  <a:gd name="connsiteY87" fmla="*/ 1340644 h 1533525"/>
                  <a:gd name="connsiteX88" fmla="*/ 419100 w 2038350"/>
                  <a:gd name="connsiteY88" fmla="*/ 1264444 h 1533525"/>
                  <a:gd name="connsiteX89" fmla="*/ 383381 w 2038350"/>
                  <a:gd name="connsiteY89" fmla="*/ 1109663 h 1533525"/>
                  <a:gd name="connsiteX90" fmla="*/ 314325 w 2038350"/>
                  <a:gd name="connsiteY90" fmla="*/ 1064419 h 1533525"/>
                  <a:gd name="connsiteX91" fmla="*/ 250030 w 2038350"/>
                  <a:gd name="connsiteY91" fmla="*/ 1033463 h 1533525"/>
                  <a:gd name="connsiteX92" fmla="*/ 195262 w 2038350"/>
                  <a:gd name="connsiteY92" fmla="*/ 1000125 h 1533525"/>
                  <a:gd name="connsiteX93" fmla="*/ 169068 w 2038350"/>
                  <a:gd name="connsiteY93" fmla="*/ 904875 h 1533525"/>
                  <a:gd name="connsiteX94" fmla="*/ 78581 w 2038350"/>
                  <a:gd name="connsiteY94" fmla="*/ 847725 h 1533525"/>
                  <a:gd name="connsiteX95" fmla="*/ 0 w 2038350"/>
                  <a:gd name="connsiteY95" fmla="*/ 552450 h 1533525"/>
                  <a:gd name="connsiteX0" fmla="*/ 0 w 2038350"/>
                  <a:gd name="connsiteY0" fmla="*/ 552450 h 1533525"/>
                  <a:gd name="connsiteX1" fmla="*/ 119062 w 2038350"/>
                  <a:gd name="connsiteY1" fmla="*/ 423863 h 1533525"/>
                  <a:gd name="connsiteX2" fmla="*/ 228600 w 2038350"/>
                  <a:gd name="connsiteY2" fmla="*/ 314325 h 1533525"/>
                  <a:gd name="connsiteX3" fmla="*/ 328612 w 2038350"/>
                  <a:gd name="connsiteY3" fmla="*/ 280988 h 1533525"/>
                  <a:gd name="connsiteX4" fmla="*/ 540543 w 2038350"/>
                  <a:gd name="connsiteY4" fmla="*/ 271463 h 1533525"/>
                  <a:gd name="connsiteX5" fmla="*/ 728662 w 2038350"/>
                  <a:gd name="connsiteY5" fmla="*/ 261938 h 1533525"/>
                  <a:gd name="connsiteX6" fmla="*/ 788193 w 2038350"/>
                  <a:gd name="connsiteY6" fmla="*/ 242888 h 1533525"/>
                  <a:gd name="connsiteX7" fmla="*/ 781050 w 2038350"/>
                  <a:gd name="connsiteY7" fmla="*/ 111919 h 1533525"/>
                  <a:gd name="connsiteX8" fmla="*/ 790575 w 2038350"/>
                  <a:gd name="connsiteY8" fmla="*/ 61913 h 1533525"/>
                  <a:gd name="connsiteX9" fmla="*/ 835818 w 2038350"/>
                  <a:gd name="connsiteY9" fmla="*/ 33338 h 1533525"/>
                  <a:gd name="connsiteX10" fmla="*/ 912018 w 2038350"/>
                  <a:gd name="connsiteY10" fmla="*/ 4763 h 1533525"/>
                  <a:gd name="connsiteX11" fmla="*/ 971550 w 2038350"/>
                  <a:gd name="connsiteY11" fmla="*/ 0 h 1533525"/>
                  <a:gd name="connsiteX12" fmla="*/ 1026318 w 2038350"/>
                  <a:gd name="connsiteY12" fmla="*/ 28575 h 1533525"/>
                  <a:gd name="connsiteX13" fmla="*/ 1071562 w 2038350"/>
                  <a:gd name="connsiteY13" fmla="*/ 50006 h 1533525"/>
                  <a:gd name="connsiteX14" fmla="*/ 1100137 w 2038350"/>
                  <a:gd name="connsiteY14" fmla="*/ 38100 h 1533525"/>
                  <a:gd name="connsiteX15" fmla="*/ 1138237 w 2038350"/>
                  <a:gd name="connsiteY15" fmla="*/ 9525 h 1533525"/>
                  <a:gd name="connsiteX16" fmla="*/ 1178718 w 2038350"/>
                  <a:gd name="connsiteY16" fmla="*/ 66675 h 1533525"/>
                  <a:gd name="connsiteX17" fmla="*/ 1228725 w 2038350"/>
                  <a:gd name="connsiteY17" fmla="*/ 78581 h 1533525"/>
                  <a:gd name="connsiteX18" fmla="*/ 1273968 w 2038350"/>
                  <a:gd name="connsiteY18" fmla="*/ 71438 h 1533525"/>
                  <a:gd name="connsiteX19" fmla="*/ 1340643 w 2038350"/>
                  <a:gd name="connsiteY19" fmla="*/ 14288 h 1533525"/>
                  <a:gd name="connsiteX20" fmla="*/ 1366837 w 2038350"/>
                  <a:gd name="connsiteY20" fmla="*/ 9525 h 1533525"/>
                  <a:gd name="connsiteX21" fmla="*/ 1443037 w 2038350"/>
                  <a:gd name="connsiteY21" fmla="*/ 78581 h 1533525"/>
                  <a:gd name="connsiteX22" fmla="*/ 1495425 w 2038350"/>
                  <a:gd name="connsiteY22" fmla="*/ 83344 h 1533525"/>
                  <a:gd name="connsiteX23" fmla="*/ 1588293 w 2038350"/>
                  <a:gd name="connsiteY23" fmla="*/ 80963 h 1533525"/>
                  <a:gd name="connsiteX24" fmla="*/ 1643062 w 2038350"/>
                  <a:gd name="connsiteY24" fmla="*/ 76200 h 1533525"/>
                  <a:gd name="connsiteX25" fmla="*/ 1681162 w 2038350"/>
                  <a:gd name="connsiteY25" fmla="*/ 47625 h 1533525"/>
                  <a:gd name="connsiteX26" fmla="*/ 1726406 w 2038350"/>
                  <a:gd name="connsiteY26" fmla="*/ 95250 h 1533525"/>
                  <a:gd name="connsiteX27" fmla="*/ 1735931 w 2038350"/>
                  <a:gd name="connsiteY27" fmla="*/ 121444 h 1533525"/>
                  <a:gd name="connsiteX28" fmla="*/ 1747837 w 2038350"/>
                  <a:gd name="connsiteY28" fmla="*/ 166688 h 1533525"/>
                  <a:gd name="connsiteX29" fmla="*/ 1788318 w 2038350"/>
                  <a:gd name="connsiteY29" fmla="*/ 233363 h 1533525"/>
                  <a:gd name="connsiteX30" fmla="*/ 1852612 w 2038350"/>
                  <a:gd name="connsiteY30" fmla="*/ 280988 h 1533525"/>
                  <a:gd name="connsiteX31" fmla="*/ 1890712 w 2038350"/>
                  <a:gd name="connsiteY31" fmla="*/ 328613 h 1533525"/>
                  <a:gd name="connsiteX32" fmla="*/ 1900237 w 2038350"/>
                  <a:gd name="connsiteY32" fmla="*/ 354806 h 1533525"/>
                  <a:gd name="connsiteX33" fmla="*/ 1957387 w 2038350"/>
                  <a:gd name="connsiteY33" fmla="*/ 366713 h 1533525"/>
                  <a:gd name="connsiteX34" fmla="*/ 1976437 w 2038350"/>
                  <a:gd name="connsiteY34" fmla="*/ 431006 h 1533525"/>
                  <a:gd name="connsiteX35" fmla="*/ 2035968 w 2038350"/>
                  <a:gd name="connsiteY35" fmla="*/ 431006 h 1533525"/>
                  <a:gd name="connsiteX36" fmla="*/ 2038350 w 2038350"/>
                  <a:gd name="connsiteY36" fmla="*/ 535781 h 1533525"/>
                  <a:gd name="connsiteX37" fmla="*/ 1952625 w 2038350"/>
                  <a:gd name="connsiteY37" fmla="*/ 485775 h 1533525"/>
                  <a:gd name="connsiteX38" fmla="*/ 1874043 w 2038350"/>
                  <a:gd name="connsiteY38" fmla="*/ 531019 h 1533525"/>
                  <a:gd name="connsiteX39" fmla="*/ 1816893 w 2038350"/>
                  <a:gd name="connsiteY39" fmla="*/ 481013 h 1533525"/>
                  <a:gd name="connsiteX40" fmla="*/ 1554956 w 2038350"/>
                  <a:gd name="connsiteY40" fmla="*/ 619125 h 1533525"/>
                  <a:gd name="connsiteX41" fmla="*/ 1471612 w 2038350"/>
                  <a:gd name="connsiteY41" fmla="*/ 659606 h 1533525"/>
                  <a:gd name="connsiteX42" fmla="*/ 1452562 w 2038350"/>
                  <a:gd name="connsiteY42" fmla="*/ 726281 h 1533525"/>
                  <a:gd name="connsiteX43" fmla="*/ 1459706 w 2038350"/>
                  <a:gd name="connsiteY43" fmla="*/ 750094 h 1533525"/>
                  <a:gd name="connsiteX44" fmla="*/ 1578768 w 2038350"/>
                  <a:gd name="connsiteY44" fmla="*/ 733425 h 1533525"/>
                  <a:gd name="connsiteX45" fmla="*/ 1552575 w 2038350"/>
                  <a:gd name="connsiteY45" fmla="*/ 831056 h 1533525"/>
                  <a:gd name="connsiteX46" fmla="*/ 1576387 w 2038350"/>
                  <a:gd name="connsiteY46" fmla="*/ 904875 h 1533525"/>
                  <a:gd name="connsiteX47" fmla="*/ 1585912 w 2038350"/>
                  <a:gd name="connsiteY47" fmla="*/ 952500 h 1533525"/>
                  <a:gd name="connsiteX48" fmla="*/ 1643062 w 2038350"/>
                  <a:gd name="connsiteY48" fmla="*/ 1026319 h 1533525"/>
                  <a:gd name="connsiteX49" fmla="*/ 1719262 w 2038350"/>
                  <a:gd name="connsiteY49" fmla="*/ 1135856 h 1533525"/>
                  <a:gd name="connsiteX50" fmla="*/ 1728787 w 2038350"/>
                  <a:gd name="connsiteY50" fmla="*/ 1162050 h 1533525"/>
                  <a:gd name="connsiteX51" fmla="*/ 1714500 w 2038350"/>
                  <a:gd name="connsiteY51" fmla="*/ 1200150 h 1533525"/>
                  <a:gd name="connsiteX52" fmla="*/ 1731168 w 2038350"/>
                  <a:gd name="connsiteY52" fmla="*/ 1209675 h 1533525"/>
                  <a:gd name="connsiteX53" fmla="*/ 1738312 w 2038350"/>
                  <a:gd name="connsiteY53" fmla="*/ 1231106 h 1533525"/>
                  <a:gd name="connsiteX54" fmla="*/ 1731168 w 2038350"/>
                  <a:gd name="connsiteY54" fmla="*/ 1262063 h 1533525"/>
                  <a:gd name="connsiteX55" fmla="*/ 1693068 w 2038350"/>
                  <a:gd name="connsiteY55" fmla="*/ 1266825 h 1533525"/>
                  <a:gd name="connsiteX56" fmla="*/ 1671637 w 2038350"/>
                  <a:gd name="connsiteY56" fmla="*/ 1293019 h 1533525"/>
                  <a:gd name="connsiteX57" fmla="*/ 1688306 w 2038350"/>
                  <a:gd name="connsiteY57" fmla="*/ 1328738 h 1533525"/>
                  <a:gd name="connsiteX58" fmla="*/ 1659731 w 2038350"/>
                  <a:gd name="connsiteY58" fmla="*/ 1359694 h 1533525"/>
                  <a:gd name="connsiteX59" fmla="*/ 1631156 w 2038350"/>
                  <a:gd name="connsiteY59" fmla="*/ 1364456 h 1533525"/>
                  <a:gd name="connsiteX60" fmla="*/ 1628775 w 2038350"/>
                  <a:gd name="connsiteY60" fmla="*/ 1416844 h 1533525"/>
                  <a:gd name="connsiteX61" fmla="*/ 1645443 w 2038350"/>
                  <a:gd name="connsiteY61" fmla="*/ 1459706 h 1533525"/>
                  <a:gd name="connsiteX62" fmla="*/ 1659731 w 2038350"/>
                  <a:gd name="connsiteY62" fmla="*/ 1488281 h 1533525"/>
                  <a:gd name="connsiteX63" fmla="*/ 1659731 w 2038350"/>
                  <a:gd name="connsiteY63" fmla="*/ 1521619 h 1533525"/>
                  <a:gd name="connsiteX64" fmla="*/ 1621631 w 2038350"/>
                  <a:gd name="connsiteY64" fmla="*/ 1533525 h 1533525"/>
                  <a:gd name="connsiteX65" fmla="*/ 1566862 w 2038350"/>
                  <a:gd name="connsiteY65" fmla="*/ 1504950 h 1533525"/>
                  <a:gd name="connsiteX66" fmla="*/ 1538287 w 2038350"/>
                  <a:gd name="connsiteY66" fmla="*/ 1485900 h 1533525"/>
                  <a:gd name="connsiteX67" fmla="*/ 1426368 w 2038350"/>
                  <a:gd name="connsiteY67" fmla="*/ 1490663 h 1533525"/>
                  <a:gd name="connsiteX68" fmla="*/ 1364456 w 2038350"/>
                  <a:gd name="connsiteY68" fmla="*/ 1426369 h 1533525"/>
                  <a:gd name="connsiteX69" fmla="*/ 1276350 w 2038350"/>
                  <a:gd name="connsiteY69" fmla="*/ 1433513 h 1533525"/>
                  <a:gd name="connsiteX70" fmla="*/ 1252537 w 2038350"/>
                  <a:gd name="connsiteY70" fmla="*/ 1433513 h 1533525"/>
                  <a:gd name="connsiteX71" fmla="*/ 1209675 w 2038350"/>
                  <a:gd name="connsiteY71" fmla="*/ 1407319 h 1533525"/>
                  <a:gd name="connsiteX72" fmla="*/ 1171575 w 2038350"/>
                  <a:gd name="connsiteY72" fmla="*/ 1431131 h 1533525"/>
                  <a:gd name="connsiteX73" fmla="*/ 1059656 w 2038350"/>
                  <a:gd name="connsiteY73" fmla="*/ 1440656 h 1533525"/>
                  <a:gd name="connsiteX74" fmla="*/ 921543 w 2038350"/>
                  <a:gd name="connsiteY74" fmla="*/ 1445419 h 1533525"/>
                  <a:gd name="connsiteX75" fmla="*/ 888206 w 2038350"/>
                  <a:gd name="connsiteY75" fmla="*/ 1447800 h 1533525"/>
                  <a:gd name="connsiteX76" fmla="*/ 862012 w 2038350"/>
                  <a:gd name="connsiteY76" fmla="*/ 1423988 h 1533525"/>
                  <a:gd name="connsiteX77" fmla="*/ 790575 w 2038350"/>
                  <a:gd name="connsiteY77" fmla="*/ 1445419 h 1533525"/>
                  <a:gd name="connsiteX78" fmla="*/ 726281 w 2038350"/>
                  <a:gd name="connsiteY78" fmla="*/ 1476375 h 1533525"/>
                  <a:gd name="connsiteX79" fmla="*/ 645318 w 2038350"/>
                  <a:gd name="connsiteY79" fmla="*/ 1478756 h 1533525"/>
                  <a:gd name="connsiteX80" fmla="*/ 621506 w 2038350"/>
                  <a:gd name="connsiteY80" fmla="*/ 1478756 h 1533525"/>
                  <a:gd name="connsiteX81" fmla="*/ 569118 w 2038350"/>
                  <a:gd name="connsiteY81" fmla="*/ 1473994 h 1533525"/>
                  <a:gd name="connsiteX82" fmla="*/ 547687 w 2038350"/>
                  <a:gd name="connsiteY82" fmla="*/ 1504950 h 1533525"/>
                  <a:gd name="connsiteX83" fmla="*/ 509587 w 2038350"/>
                  <a:gd name="connsiteY83" fmla="*/ 1526381 h 1533525"/>
                  <a:gd name="connsiteX84" fmla="*/ 483393 w 2038350"/>
                  <a:gd name="connsiteY84" fmla="*/ 1526381 h 1533525"/>
                  <a:gd name="connsiteX85" fmla="*/ 507206 w 2038350"/>
                  <a:gd name="connsiteY85" fmla="*/ 1462088 h 1533525"/>
                  <a:gd name="connsiteX86" fmla="*/ 478631 w 2038350"/>
                  <a:gd name="connsiteY86" fmla="*/ 1385888 h 1533525"/>
                  <a:gd name="connsiteX87" fmla="*/ 440531 w 2038350"/>
                  <a:gd name="connsiteY87" fmla="*/ 1340644 h 1533525"/>
                  <a:gd name="connsiteX88" fmla="*/ 419100 w 2038350"/>
                  <a:gd name="connsiteY88" fmla="*/ 1264444 h 1533525"/>
                  <a:gd name="connsiteX89" fmla="*/ 383381 w 2038350"/>
                  <a:gd name="connsiteY89" fmla="*/ 1109663 h 1533525"/>
                  <a:gd name="connsiteX90" fmla="*/ 314325 w 2038350"/>
                  <a:gd name="connsiteY90" fmla="*/ 1064419 h 1533525"/>
                  <a:gd name="connsiteX91" fmla="*/ 250030 w 2038350"/>
                  <a:gd name="connsiteY91" fmla="*/ 1033463 h 1533525"/>
                  <a:gd name="connsiteX92" fmla="*/ 195262 w 2038350"/>
                  <a:gd name="connsiteY92" fmla="*/ 1000125 h 1533525"/>
                  <a:gd name="connsiteX93" fmla="*/ 161925 w 2038350"/>
                  <a:gd name="connsiteY93" fmla="*/ 904875 h 1533525"/>
                  <a:gd name="connsiteX94" fmla="*/ 78581 w 2038350"/>
                  <a:gd name="connsiteY94" fmla="*/ 847725 h 1533525"/>
                  <a:gd name="connsiteX95" fmla="*/ 0 w 2038350"/>
                  <a:gd name="connsiteY95" fmla="*/ 552450 h 153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2038350" h="1533525">
                    <a:moveTo>
                      <a:pt x="0" y="552450"/>
                    </a:moveTo>
                    <a:lnTo>
                      <a:pt x="119062" y="423863"/>
                    </a:lnTo>
                    <a:lnTo>
                      <a:pt x="228600" y="314325"/>
                    </a:lnTo>
                    <a:lnTo>
                      <a:pt x="328612" y="280988"/>
                    </a:lnTo>
                    <a:lnTo>
                      <a:pt x="540543" y="271463"/>
                    </a:lnTo>
                    <a:lnTo>
                      <a:pt x="728662" y="261938"/>
                    </a:lnTo>
                    <a:lnTo>
                      <a:pt x="788193" y="242888"/>
                    </a:lnTo>
                    <a:lnTo>
                      <a:pt x="781050" y="111919"/>
                    </a:lnTo>
                    <a:lnTo>
                      <a:pt x="790575" y="61913"/>
                    </a:lnTo>
                    <a:lnTo>
                      <a:pt x="835818" y="33338"/>
                    </a:lnTo>
                    <a:lnTo>
                      <a:pt x="912018" y="4763"/>
                    </a:lnTo>
                    <a:lnTo>
                      <a:pt x="971550" y="0"/>
                    </a:lnTo>
                    <a:lnTo>
                      <a:pt x="1026318" y="28575"/>
                    </a:lnTo>
                    <a:lnTo>
                      <a:pt x="1071562" y="50006"/>
                    </a:lnTo>
                    <a:lnTo>
                      <a:pt x="1100137" y="38100"/>
                    </a:lnTo>
                    <a:lnTo>
                      <a:pt x="1138237" y="9525"/>
                    </a:lnTo>
                    <a:lnTo>
                      <a:pt x="1178718" y="66675"/>
                    </a:lnTo>
                    <a:lnTo>
                      <a:pt x="1228725" y="78581"/>
                    </a:lnTo>
                    <a:lnTo>
                      <a:pt x="1273968" y="71438"/>
                    </a:lnTo>
                    <a:lnTo>
                      <a:pt x="1340643" y="14288"/>
                    </a:lnTo>
                    <a:lnTo>
                      <a:pt x="1366837" y="9525"/>
                    </a:lnTo>
                    <a:lnTo>
                      <a:pt x="1443037" y="78581"/>
                    </a:lnTo>
                    <a:lnTo>
                      <a:pt x="1495425" y="83344"/>
                    </a:lnTo>
                    <a:lnTo>
                      <a:pt x="1588293" y="80963"/>
                    </a:lnTo>
                    <a:lnTo>
                      <a:pt x="1643062" y="76200"/>
                    </a:lnTo>
                    <a:lnTo>
                      <a:pt x="1681162" y="47625"/>
                    </a:lnTo>
                    <a:lnTo>
                      <a:pt x="1726406" y="95250"/>
                    </a:lnTo>
                    <a:cubicBezTo>
                      <a:pt x="1736996" y="116430"/>
                      <a:pt x="1735931" y="107200"/>
                      <a:pt x="1735931" y="121444"/>
                    </a:cubicBezTo>
                    <a:lnTo>
                      <a:pt x="1747837" y="166688"/>
                    </a:lnTo>
                    <a:lnTo>
                      <a:pt x="1788318" y="233363"/>
                    </a:lnTo>
                    <a:lnTo>
                      <a:pt x="1852612" y="280988"/>
                    </a:lnTo>
                    <a:lnTo>
                      <a:pt x="1890712" y="328613"/>
                    </a:lnTo>
                    <a:lnTo>
                      <a:pt x="1900237" y="354806"/>
                    </a:lnTo>
                    <a:lnTo>
                      <a:pt x="1957387" y="366713"/>
                    </a:lnTo>
                    <a:lnTo>
                      <a:pt x="1976437" y="431006"/>
                    </a:lnTo>
                    <a:lnTo>
                      <a:pt x="2035968" y="431006"/>
                    </a:lnTo>
                    <a:lnTo>
                      <a:pt x="2038350" y="535781"/>
                    </a:lnTo>
                    <a:lnTo>
                      <a:pt x="1952625" y="485775"/>
                    </a:lnTo>
                    <a:lnTo>
                      <a:pt x="1874043" y="531019"/>
                    </a:lnTo>
                    <a:lnTo>
                      <a:pt x="1816893" y="481013"/>
                    </a:lnTo>
                    <a:lnTo>
                      <a:pt x="1554956" y="619125"/>
                    </a:lnTo>
                    <a:lnTo>
                      <a:pt x="1471612" y="659606"/>
                    </a:lnTo>
                    <a:lnTo>
                      <a:pt x="1452562" y="726281"/>
                    </a:lnTo>
                    <a:lnTo>
                      <a:pt x="1459706" y="750094"/>
                    </a:lnTo>
                    <a:lnTo>
                      <a:pt x="1578768" y="733425"/>
                    </a:lnTo>
                    <a:lnTo>
                      <a:pt x="1552575" y="831056"/>
                    </a:lnTo>
                    <a:lnTo>
                      <a:pt x="1576387" y="904875"/>
                    </a:lnTo>
                    <a:lnTo>
                      <a:pt x="1585912" y="952500"/>
                    </a:lnTo>
                    <a:lnTo>
                      <a:pt x="1643062" y="1026319"/>
                    </a:lnTo>
                    <a:lnTo>
                      <a:pt x="1719262" y="1135856"/>
                    </a:lnTo>
                    <a:lnTo>
                      <a:pt x="1728787" y="1162050"/>
                    </a:lnTo>
                    <a:lnTo>
                      <a:pt x="1714500" y="1200150"/>
                    </a:lnTo>
                    <a:lnTo>
                      <a:pt x="1731168" y="1209675"/>
                    </a:lnTo>
                    <a:lnTo>
                      <a:pt x="1738312" y="1231106"/>
                    </a:lnTo>
                    <a:lnTo>
                      <a:pt x="1731168" y="1262063"/>
                    </a:lnTo>
                    <a:lnTo>
                      <a:pt x="1693068" y="1266825"/>
                    </a:lnTo>
                    <a:lnTo>
                      <a:pt x="1671637" y="1293019"/>
                    </a:lnTo>
                    <a:lnTo>
                      <a:pt x="1688306" y="1328738"/>
                    </a:lnTo>
                    <a:lnTo>
                      <a:pt x="1659731" y="1359694"/>
                    </a:lnTo>
                    <a:lnTo>
                      <a:pt x="1631156" y="1364456"/>
                    </a:lnTo>
                    <a:lnTo>
                      <a:pt x="1628775" y="1416844"/>
                    </a:lnTo>
                    <a:lnTo>
                      <a:pt x="1645443" y="1459706"/>
                    </a:lnTo>
                    <a:lnTo>
                      <a:pt x="1659731" y="1488281"/>
                    </a:lnTo>
                    <a:lnTo>
                      <a:pt x="1659731" y="1521619"/>
                    </a:lnTo>
                    <a:lnTo>
                      <a:pt x="1621631" y="1533525"/>
                    </a:lnTo>
                    <a:lnTo>
                      <a:pt x="1566862" y="1504950"/>
                    </a:lnTo>
                    <a:lnTo>
                      <a:pt x="1538287" y="1485900"/>
                    </a:lnTo>
                    <a:lnTo>
                      <a:pt x="1426368" y="1490663"/>
                    </a:lnTo>
                    <a:lnTo>
                      <a:pt x="1364456" y="1426369"/>
                    </a:lnTo>
                    <a:lnTo>
                      <a:pt x="1276350" y="1433513"/>
                    </a:lnTo>
                    <a:lnTo>
                      <a:pt x="1252537" y="1433513"/>
                    </a:lnTo>
                    <a:lnTo>
                      <a:pt x="1209675" y="1407319"/>
                    </a:lnTo>
                    <a:lnTo>
                      <a:pt x="1171575" y="1431131"/>
                    </a:lnTo>
                    <a:lnTo>
                      <a:pt x="1059656" y="1440656"/>
                    </a:lnTo>
                    <a:lnTo>
                      <a:pt x="921543" y="1445419"/>
                    </a:lnTo>
                    <a:lnTo>
                      <a:pt x="888206" y="1447800"/>
                    </a:lnTo>
                    <a:lnTo>
                      <a:pt x="862012" y="1423988"/>
                    </a:lnTo>
                    <a:lnTo>
                      <a:pt x="790575" y="1445419"/>
                    </a:lnTo>
                    <a:lnTo>
                      <a:pt x="726281" y="1476375"/>
                    </a:lnTo>
                    <a:lnTo>
                      <a:pt x="645318" y="1478756"/>
                    </a:lnTo>
                    <a:lnTo>
                      <a:pt x="621506" y="1478756"/>
                    </a:lnTo>
                    <a:lnTo>
                      <a:pt x="569118" y="1473994"/>
                    </a:lnTo>
                    <a:lnTo>
                      <a:pt x="547687" y="1504950"/>
                    </a:lnTo>
                    <a:lnTo>
                      <a:pt x="509587" y="1526381"/>
                    </a:lnTo>
                    <a:lnTo>
                      <a:pt x="483393" y="1526381"/>
                    </a:lnTo>
                    <a:lnTo>
                      <a:pt x="507206" y="1462088"/>
                    </a:lnTo>
                    <a:lnTo>
                      <a:pt x="478631" y="1385888"/>
                    </a:lnTo>
                    <a:lnTo>
                      <a:pt x="440531" y="1340644"/>
                    </a:lnTo>
                    <a:lnTo>
                      <a:pt x="419100" y="1264444"/>
                    </a:lnTo>
                    <a:lnTo>
                      <a:pt x="383381" y="1109663"/>
                    </a:lnTo>
                    <a:lnTo>
                      <a:pt x="314325" y="1064419"/>
                    </a:lnTo>
                    <a:lnTo>
                      <a:pt x="250030" y="1033463"/>
                    </a:lnTo>
                    <a:lnTo>
                      <a:pt x="195262" y="1000125"/>
                    </a:lnTo>
                    <a:lnTo>
                      <a:pt x="161925" y="904875"/>
                    </a:lnTo>
                    <a:lnTo>
                      <a:pt x="78581" y="847725"/>
                    </a:lnTo>
                    <a:lnTo>
                      <a:pt x="0" y="552450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7" name="Freeform 13"/>
              <p:cNvSpPr/>
              <p:nvPr/>
            </p:nvSpPr>
            <p:spPr>
              <a:xfrm>
                <a:off x="4492859" y="2894684"/>
                <a:ext cx="1099276" cy="821802"/>
              </a:xfrm>
              <a:custGeom>
                <a:avLst/>
                <a:gdLst>
                  <a:gd name="connsiteX0" fmla="*/ 0 w 1559719"/>
                  <a:gd name="connsiteY0" fmla="*/ 71437 h 1259681"/>
                  <a:gd name="connsiteX1" fmla="*/ 135731 w 1559719"/>
                  <a:gd name="connsiteY1" fmla="*/ 54769 h 1259681"/>
                  <a:gd name="connsiteX2" fmla="*/ 369094 w 1559719"/>
                  <a:gd name="connsiteY2" fmla="*/ 45244 h 1259681"/>
                  <a:gd name="connsiteX3" fmla="*/ 769144 w 1559719"/>
                  <a:gd name="connsiteY3" fmla="*/ 19050 h 1259681"/>
                  <a:gd name="connsiteX4" fmla="*/ 1047750 w 1559719"/>
                  <a:gd name="connsiteY4" fmla="*/ 0 h 1259681"/>
                  <a:gd name="connsiteX5" fmla="*/ 1081088 w 1559719"/>
                  <a:gd name="connsiteY5" fmla="*/ 107156 h 1259681"/>
                  <a:gd name="connsiteX6" fmla="*/ 1119188 w 1559719"/>
                  <a:gd name="connsiteY6" fmla="*/ 250031 h 1259681"/>
                  <a:gd name="connsiteX7" fmla="*/ 1126331 w 1559719"/>
                  <a:gd name="connsiteY7" fmla="*/ 290512 h 1259681"/>
                  <a:gd name="connsiteX8" fmla="*/ 1216819 w 1559719"/>
                  <a:gd name="connsiteY8" fmla="*/ 364331 h 1259681"/>
                  <a:gd name="connsiteX9" fmla="*/ 1235869 w 1559719"/>
                  <a:gd name="connsiteY9" fmla="*/ 404812 h 1259681"/>
                  <a:gd name="connsiteX10" fmla="*/ 1250156 w 1559719"/>
                  <a:gd name="connsiteY10" fmla="*/ 457200 h 1259681"/>
                  <a:gd name="connsiteX11" fmla="*/ 1385888 w 1559719"/>
                  <a:gd name="connsiteY11" fmla="*/ 523875 h 1259681"/>
                  <a:gd name="connsiteX12" fmla="*/ 1438275 w 1559719"/>
                  <a:gd name="connsiteY12" fmla="*/ 566737 h 1259681"/>
                  <a:gd name="connsiteX13" fmla="*/ 1462088 w 1559719"/>
                  <a:gd name="connsiteY13" fmla="*/ 688181 h 1259681"/>
                  <a:gd name="connsiteX14" fmla="*/ 1490663 w 1559719"/>
                  <a:gd name="connsiteY14" fmla="*/ 773906 h 1259681"/>
                  <a:gd name="connsiteX15" fmla="*/ 1543050 w 1559719"/>
                  <a:gd name="connsiteY15" fmla="*/ 866775 h 1259681"/>
                  <a:gd name="connsiteX16" fmla="*/ 1559719 w 1559719"/>
                  <a:gd name="connsiteY16" fmla="*/ 907256 h 1259681"/>
                  <a:gd name="connsiteX17" fmla="*/ 1545431 w 1559719"/>
                  <a:gd name="connsiteY17" fmla="*/ 959644 h 1259681"/>
                  <a:gd name="connsiteX18" fmla="*/ 1535906 w 1559719"/>
                  <a:gd name="connsiteY18" fmla="*/ 983456 h 1259681"/>
                  <a:gd name="connsiteX19" fmla="*/ 1435894 w 1559719"/>
                  <a:gd name="connsiteY19" fmla="*/ 978694 h 1259681"/>
                  <a:gd name="connsiteX20" fmla="*/ 1383506 w 1559719"/>
                  <a:gd name="connsiteY20" fmla="*/ 950119 h 1259681"/>
                  <a:gd name="connsiteX21" fmla="*/ 1333500 w 1559719"/>
                  <a:gd name="connsiteY21" fmla="*/ 923925 h 1259681"/>
                  <a:gd name="connsiteX22" fmla="*/ 1278731 w 1559719"/>
                  <a:gd name="connsiteY22" fmla="*/ 892969 h 1259681"/>
                  <a:gd name="connsiteX23" fmla="*/ 1228725 w 1559719"/>
                  <a:gd name="connsiteY23" fmla="*/ 873919 h 1259681"/>
                  <a:gd name="connsiteX24" fmla="*/ 1159669 w 1559719"/>
                  <a:gd name="connsiteY24" fmla="*/ 890587 h 1259681"/>
                  <a:gd name="connsiteX25" fmla="*/ 1104900 w 1559719"/>
                  <a:gd name="connsiteY25" fmla="*/ 926306 h 1259681"/>
                  <a:gd name="connsiteX26" fmla="*/ 1076325 w 1559719"/>
                  <a:gd name="connsiteY26" fmla="*/ 964406 h 1259681"/>
                  <a:gd name="connsiteX27" fmla="*/ 1052513 w 1559719"/>
                  <a:gd name="connsiteY27" fmla="*/ 1023937 h 1259681"/>
                  <a:gd name="connsiteX28" fmla="*/ 1050131 w 1559719"/>
                  <a:gd name="connsiteY28" fmla="*/ 1083469 h 1259681"/>
                  <a:gd name="connsiteX29" fmla="*/ 1069181 w 1559719"/>
                  <a:gd name="connsiteY29" fmla="*/ 1126331 h 1259681"/>
                  <a:gd name="connsiteX30" fmla="*/ 1066800 w 1559719"/>
                  <a:gd name="connsiteY30" fmla="*/ 1157287 h 1259681"/>
                  <a:gd name="connsiteX31" fmla="*/ 1028700 w 1559719"/>
                  <a:gd name="connsiteY31" fmla="*/ 1159669 h 1259681"/>
                  <a:gd name="connsiteX32" fmla="*/ 990600 w 1559719"/>
                  <a:gd name="connsiteY32" fmla="*/ 1112044 h 1259681"/>
                  <a:gd name="connsiteX33" fmla="*/ 935831 w 1559719"/>
                  <a:gd name="connsiteY33" fmla="*/ 1114425 h 1259681"/>
                  <a:gd name="connsiteX34" fmla="*/ 885825 w 1559719"/>
                  <a:gd name="connsiteY34" fmla="*/ 1073944 h 1259681"/>
                  <a:gd name="connsiteX35" fmla="*/ 771525 w 1559719"/>
                  <a:gd name="connsiteY35" fmla="*/ 1083469 h 1259681"/>
                  <a:gd name="connsiteX36" fmla="*/ 745331 w 1559719"/>
                  <a:gd name="connsiteY36" fmla="*/ 1059656 h 1259681"/>
                  <a:gd name="connsiteX37" fmla="*/ 638175 w 1559719"/>
                  <a:gd name="connsiteY37" fmla="*/ 1052512 h 1259681"/>
                  <a:gd name="connsiteX38" fmla="*/ 595313 w 1559719"/>
                  <a:gd name="connsiteY38" fmla="*/ 1081087 h 1259681"/>
                  <a:gd name="connsiteX39" fmla="*/ 528638 w 1559719"/>
                  <a:gd name="connsiteY39" fmla="*/ 1062037 h 1259681"/>
                  <a:gd name="connsiteX40" fmla="*/ 495300 w 1559719"/>
                  <a:gd name="connsiteY40" fmla="*/ 1104900 h 1259681"/>
                  <a:gd name="connsiteX41" fmla="*/ 509588 w 1559719"/>
                  <a:gd name="connsiteY41" fmla="*/ 1143000 h 1259681"/>
                  <a:gd name="connsiteX42" fmla="*/ 473869 w 1559719"/>
                  <a:gd name="connsiteY42" fmla="*/ 1164431 h 1259681"/>
                  <a:gd name="connsiteX43" fmla="*/ 473869 w 1559719"/>
                  <a:gd name="connsiteY43" fmla="*/ 1202531 h 1259681"/>
                  <a:gd name="connsiteX44" fmla="*/ 459581 w 1559719"/>
                  <a:gd name="connsiteY44" fmla="*/ 1259681 h 1259681"/>
                  <a:gd name="connsiteX45" fmla="*/ 342900 w 1559719"/>
                  <a:gd name="connsiteY45" fmla="*/ 1190625 h 1259681"/>
                  <a:gd name="connsiteX46" fmla="*/ 271463 w 1559719"/>
                  <a:gd name="connsiteY46" fmla="*/ 1107281 h 1259681"/>
                  <a:gd name="connsiteX47" fmla="*/ 278606 w 1559719"/>
                  <a:gd name="connsiteY47" fmla="*/ 1045369 h 1259681"/>
                  <a:gd name="connsiteX48" fmla="*/ 202406 w 1559719"/>
                  <a:gd name="connsiteY48" fmla="*/ 940594 h 1259681"/>
                  <a:gd name="connsiteX49" fmla="*/ 157163 w 1559719"/>
                  <a:gd name="connsiteY49" fmla="*/ 938212 h 1259681"/>
                  <a:gd name="connsiteX50" fmla="*/ 109538 w 1559719"/>
                  <a:gd name="connsiteY50" fmla="*/ 864394 h 1259681"/>
                  <a:gd name="connsiteX51" fmla="*/ 100013 w 1559719"/>
                  <a:gd name="connsiteY51" fmla="*/ 809625 h 1259681"/>
                  <a:gd name="connsiteX52" fmla="*/ 157163 w 1559719"/>
                  <a:gd name="connsiteY52" fmla="*/ 678656 h 1259681"/>
                  <a:gd name="connsiteX53" fmla="*/ 159544 w 1559719"/>
                  <a:gd name="connsiteY53" fmla="*/ 478631 h 1259681"/>
                  <a:gd name="connsiteX54" fmla="*/ 0 w 1559719"/>
                  <a:gd name="connsiteY54" fmla="*/ 71437 h 1259681"/>
                  <a:gd name="connsiteX0" fmla="*/ 0 w 1559719"/>
                  <a:gd name="connsiteY0" fmla="*/ 71437 h 1259681"/>
                  <a:gd name="connsiteX1" fmla="*/ 135731 w 1559719"/>
                  <a:gd name="connsiteY1" fmla="*/ 54769 h 1259681"/>
                  <a:gd name="connsiteX2" fmla="*/ 369094 w 1559719"/>
                  <a:gd name="connsiteY2" fmla="*/ 45244 h 1259681"/>
                  <a:gd name="connsiteX3" fmla="*/ 769144 w 1559719"/>
                  <a:gd name="connsiteY3" fmla="*/ 19050 h 1259681"/>
                  <a:gd name="connsiteX4" fmla="*/ 1047750 w 1559719"/>
                  <a:gd name="connsiteY4" fmla="*/ 0 h 1259681"/>
                  <a:gd name="connsiteX5" fmla="*/ 1081088 w 1559719"/>
                  <a:gd name="connsiteY5" fmla="*/ 107156 h 1259681"/>
                  <a:gd name="connsiteX6" fmla="*/ 1119188 w 1559719"/>
                  <a:gd name="connsiteY6" fmla="*/ 250031 h 1259681"/>
                  <a:gd name="connsiteX7" fmla="*/ 1126331 w 1559719"/>
                  <a:gd name="connsiteY7" fmla="*/ 290512 h 1259681"/>
                  <a:gd name="connsiteX8" fmla="*/ 1216819 w 1559719"/>
                  <a:gd name="connsiteY8" fmla="*/ 364331 h 1259681"/>
                  <a:gd name="connsiteX9" fmla="*/ 1235869 w 1559719"/>
                  <a:gd name="connsiteY9" fmla="*/ 404812 h 1259681"/>
                  <a:gd name="connsiteX10" fmla="*/ 1250156 w 1559719"/>
                  <a:gd name="connsiteY10" fmla="*/ 457200 h 1259681"/>
                  <a:gd name="connsiteX11" fmla="*/ 1385888 w 1559719"/>
                  <a:gd name="connsiteY11" fmla="*/ 523875 h 1259681"/>
                  <a:gd name="connsiteX12" fmla="*/ 1438275 w 1559719"/>
                  <a:gd name="connsiteY12" fmla="*/ 566737 h 1259681"/>
                  <a:gd name="connsiteX13" fmla="*/ 1462088 w 1559719"/>
                  <a:gd name="connsiteY13" fmla="*/ 688181 h 1259681"/>
                  <a:gd name="connsiteX14" fmla="*/ 1490663 w 1559719"/>
                  <a:gd name="connsiteY14" fmla="*/ 773906 h 1259681"/>
                  <a:gd name="connsiteX15" fmla="*/ 1543050 w 1559719"/>
                  <a:gd name="connsiteY15" fmla="*/ 866775 h 1259681"/>
                  <a:gd name="connsiteX16" fmla="*/ 1559719 w 1559719"/>
                  <a:gd name="connsiteY16" fmla="*/ 907256 h 1259681"/>
                  <a:gd name="connsiteX17" fmla="*/ 1545431 w 1559719"/>
                  <a:gd name="connsiteY17" fmla="*/ 959644 h 1259681"/>
                  <a:gd name="connsiteX18" fmla="*/ 1535906 w 1559719"/>
                  <a:gd name="connsiteY18" fmla="*/ 983456 h 1259681"/>
                  <a:gd name="connsiteX19" fmla="*/ 1435894 w 1559719"/>
                  <a:gd name="connsiteY19" fmla="*/ 978694 h 1259681"/>
                  <a:gd name="connsiteX20" fmla="*/ 1383506 w 1559719"/>
                  <a:gd name="connsiteY20" fmla="*/ 950119 h 1259681"/>
                  <a:gd name="connsiteX21" fmla="*/ 1333500 w 1559719"/>
                  <a:gd name="connsiteY21" fmla="*/ 923925 h 1259681"/>
                  <a:gd name="connsiteX22" fmla="*/ 1278731 w 1559719"/>
                  <a:gd name="connsiteY22" fmla="*/ 892969 h 1259681"/>
                  <a:gd name="connsiteX23" fmla="*/ 1228725 w 1559719"/>
                  <a:gd name="connsiteY23" fmla="*/ 873919 h 1259681"/>
                  <a:gd name="connsiteX24" fmla="*/ 1159669 w 1559719"/>
                  <a:gd name="connsiteY24" fmla="*/ 890587 h 1259681"/>
                  <a:gd name="connsiteX25" fmla="*/ 1104900 w 1559719"/>
                  <a:gd name="connsiteY25" fmla="*/ 926306 h 1259681"/>
                  <a:gd name="connsiteX26" fmla="*/ 1076325 w 1559719"/>
                  <a:gd name="connsiteY26" fmla="*/ 964406 h 1259681"/>
                  <a:gd name="connsiteX27" fmla="*/ 1052513 w 1559719"/>
                  <a:gd name="connsiteY27" fmla="*/ 1023937 h 1259681"/>
                  <a:gd name="connsiteX28" fmla="*/ 1050131 w 1559719"/>
                  <a:gd name="connsiteY28" fmla="*/ 1083469 h 1259681"/>
                  <a:gd name="connsiteX29" fmla="*/ 1069181 w 1559719"/>
                  <a:gd name="connsiteY29" fmla="*/ 1126331 h 1259681"/>
                  <a:gd name="connsiteX30" fmla="*/ 1066800 w 1559719"/>
                  <a:gd name="connsiteY30" fmla="*/ 1157287 h 1259681"/>
                  <a:gd name="connsiteX31" fmla="*/ 1028700 w 1559719"/>
                  <a:gd name="connsiteY31" fmla="*/ 1159669 h 1259681"/>
                  <a:gd name="connsiteX32" fmla="*/ 990600 w 1559719"/>
                  <a:gd name="connsiteY32" fmla="*/ 1112044 h 1259681"/>
                  <a:gd name="connsiteX33" fmla="*/ 935831 w 1559719"/>
                  <a:gd name="connsiteY33" fmla="*/ 1114425 h 1259681"/>
                  <a:gd name="connsiteX34" fmla="*/ 885825 w 1559719"/>
                  <a:gd name="connsiteY34" fmla="*/ 1073944 h 1259681"/>
                  <a:gd name="connsiteX35" fmla="*/ 771525 w 1559719"/>
                  <a:gd name="connsiteY35" fmla="*/ 1083469 h 1259681"/>
                  <a:gd name="connsiteX36" fmla="*/ 745331 w 1559719"/>
                  <a:gd name="connsiteY36" fmla="*/ 1059656 h 1259681"/>
                  <a:gd name="connsiteX37" fmla="*/ 638175 w 1559719"/>
                  <a:gd name="connsiteY37" fmla="*/ 1052512 h 1259681"/>
                  <a:gd name="connsiteX38" fmla="*/ 595313 w 1559719"/>
                  <a:gd name="connsiteY38" fmla="*/ 1081087 h 1259681"/>
                  <a:gd name="connsiteX39" fmla="*/ 528638 w 1559719"/>
                  <a:gd name="connsiteY39" fmla="*/ 1062037 h 1259681"/>
                  <a:gd name="connsiteX40" fmla="*/ 495300 w 1559719"/>
                  <a:gd name="connsiteY40" fmla="*/ 1104900 h 1259681"/>
                  <a:gd name="connsiteX41" fmla="*/ 509588 w 1559719"/>
                  <a:gd name="connsiteY41" fmla="*/ 1143000 h 1259681"/>
                  <a:gd name="connsiteX42" fmla="*/ 473869 w 1559719"/>
                  <a:gd name="connsiteY42" fmla="*/ 1164431 h 1259681"/>
                  <a:gd name="connsiteX43" fmla="*/ 473869 w 1559719"/>
                  <a:gd name="connsiteY43" fmla="*/ 1202531 h 1259681"/>
                  <a:gd name="connsiteX44" fmla="*/ 459581 w 1559719"/>
                  <a:gd name="connsiteY44" fmla="*/ 1259681 h 1259681"/>
                  <a:gd name="connsiteX45" fmla="*/ 342900 w 1559719"/>
                  <a:gd name="connsiteY45" fmla="*/ 1190625 h 1259681"/>
                  <a:gd name="connsiteX46" fmla="*/ 271463 w 1559719"/>
                  <a:gd name="connsiteY46" fmla="*/ 1107281 h 1259681"/>
                  <a:gd name="connsiteX47" fmla="*/ 278606 w 1559719"/>
                  <a:gd name="connsiteY47" fmla="*/ 1045369 h 1259681"/>
                  <a:gd name="connsiteX48" fmla="*/ 202406 w 1559719"/>
                  <a:gd name="connsiteY48" fmla="*/ 940594 h 1259681"/>
                  <a:gd name="connsiteX49" fmla="*/ 157163 w 1559719"/>
                  <a:gd name="connsiteY49" fmla="*/ 938212 h 1259681"/>
                  <a:gd name="connsiteX50" fmla="*/ 130969 w 1559719"/>
                  <a:gd name="connsiteY50" fmla="*/ 892969 h 1259681"/>
                  <a:gd name="connsiteX51" fmla="*/ 109538 w 1559719"/>
                  <a:gd name="connsiteY51" fmla="*/ 864394 h 1259681"/>
                  <a:gd name="connsiteX52" fmla="*/ 100013 w 1559719"/>
                  <a:gd name="connsiteY52" fmla="*/ 809625 h 1259681"/>
                  <a:gd name="connsiteX53" fmla="*/ 157163 w 1559719"/>
                  <a:gd name="connsiteY53" fmla="*/ 678656 h 1259681"/>
                  <a:gd name="connsiteX54" fmla="*/ 159544 w 1559719"/>
                  <a:gd name="connsiteY54" fmla="*/ 478631 h 1259681"/>
                  <a:gd name="connsiteX55" fmla="*/ 0 w 1559719"/>
                  <a:gd name="connsiteY55" fmla="*/ 71437 h 1259681"/>
                  <a:gd name="connsiteX0" fmla="*/ 0 w 1559719"/>
                  <a:gd name="connsiteY0" fmla="*/ 71437 h 1259681"/>
                  <a:gd name="connsiteX1" fmla="*/ 135731 w 1559719"/>
                  <a:gd name="connsiteY1" fmla="*/ 54769 h 1259681"/>
                  <a:gd name="connsiteX2" fmla="*/ 369094 w 1559719"/>
                  <a:gd name="connsiteY2" fmla="*/ 45244 h 1259681"/>
                  <a:gd name="connsiteX3" fmla="*/ 769144 w 1559719"/>
                  <a:gd name="connsiteY3" fmla="*/ 19050 h 1259681"/>
                  <a:gd name="connsiteX4" fmla="*/ 1047750 w 1559719"/>
                  <a:gd name="connsiteY4" fmla="*/ 0 h 1259681"/>
                  <a:gd name="connsiteX5" fmla="*/ 1081088 w 1559719"/>
                  <a:gd name="connsiteY5" fmla="*/ 107156 h 1259681"/>
                  <a:gd name="connsiteX6" fmla="*/ 1119188 w 1559719"/>
                  <a:gd name="connsiteY6" fmla="*/ 250031 h 1259681"/>
                  <a:gd name="connsiteX7" fmla="*/ 1126331 w 1559719"/>
                  <a:gd name="connsiteY7" fmla="*/ 290512 h 1259681"/>
                  <a:gd name="connsiteX8" fmla="*/ 1216819 w 1559719"/>
                  <a:gd name="connsiteY8" fmla="*/ 364331 h 1259681"/>
                  <a:gd name="connsiteX9" fmla="*/ 1235869 w 1559719"/>
                  <a:gd name="connsiteY9" fmla="*/ 404812 h 1259681"/>
                  <a:gd name="connsiteX10" fmla="*/ 1250156 w 1559719"/>
                  <a:gd name="connsiteY10" fmla="*/ 457200 h 1259681"/>
                  <a:gd name="connsiteX11" fmla="*/ 1385888 w 1559719"/>
                  <a:gd name="connsiteY11" fmla="*/ 523875 h 1259681"/>
                  <a:gd name="connsiteX12" fmla="*/ 1438275 w 1559719"/>
                  <a:gd name="connsiteY12" fmla="*/ 566737 h 1259681"/>
                  <a:gd name="connsiteX13" fmla="*/ 1462088 w 1559719"/>
                  <a:gd name="connsiteY13" fmla="*/ 688181 h 1259681"/>
                  <a:gd name="connsiteX14" fmla="*/ 1490663 w 1559719"/>
                  <a:gd name="connsiteY14" fmla="*/ 773906 h 1259681"/>
                  <a:gd name="connsiteX15" fmla="*/ 1543050 w 1559719"/>
                  <a:gd name="connsiteY15" fmla="*/ 866775 h 1259681"/>
                  <a:gd name="connsiteX16" fmla="*/ 1559719 w 1559719"/>
                  <a:gd name="connsiteY16" fmla="*/ 907256 h 1259681"/>
                  <a:gd name="connsiteX17" fmla="*/ 1545431 w 1559719"/>
                  <a:gd name="connsiteY17" fmla="*/ 959644 h 1259681"/>
                  <a:gd name="connsiteX18" fmla="*/ 1535906 w 1559719"/>
                  <a:gd name="connsiteY18" fmla="*/ 983456 h 1259681"/>
                  <a:gd name="connsiteX19" fmla="*/ 1435894 w 1559719"/>
                  <a:gd name="connsiteY19" fmla="*/ 978694 h 1259681"/>
                  <a:gd name="connsiteX20" fmla="*/ 1383506 w 1559719"/>
                  <a:gd name="connsiteY20" fmla="*/ 950119 h 1259681"/>
                  <a:gd name="connsiteX21" fmla="*/ 1333500 w 1559719"/>
                  <a:gd name="connsiteY21" fmla="*/ 923925 h 1259681"/>
                  <a:gd name="connsiteX22" fmla="*/ 1278731 w 1559719"/>
                  <a:gd name="connsiteY22" fmla="*/ 892969 h 1259681"/>
                  <a:gd name="connsiteX23" fmla="*/ 1228725 w 1559719"/>
                  <a:gd name="connsiteY23" fmla="*/ 873919 h 1259681"/>
                  <a:gd name="connsiteX24" fmla="*/ 1159669 w 1559719"/>
                  <a:gd name="connsiteY24" fmla="*/ 890587 h 1259681"/>
                  <a:gd name="connsiteX25" fmla="*/ 1104900 w 1559719"/>
                  <a:gd name="connsiteY25" fmla="*/ 926306 h 1259681"/>
                  <a:gd name="connsiteX26" fmla="*/ 1076325 w 1559719"/>
                  <a:gd name="connsiteY26" fmla="*/ 964406 h 1259681"/>
                  <a:gd name="connsiteX27" fmla="*/ 1052513 w 1559719"/>
                  <a:gd name="connsiteY27" fmla="*/ 1023937 h 1259681"/>
                  <a:gd name="connsiteX28" fmla="*/ 1050131 w 1559719"/>
                  <a:gd name="connsiteY28" fmla="*/ 1083469 h 1259681"/>
                  <a:gd name="connsiteX29" fmla="*/ 1069181 w 1559719"/>
                  <a:gd name="connsiteY29" fmla="*/ 1126331 h 1259681"/>
                  <a:gd name="connsiteX30" fmla="*/ 1066800 w 1559719"/>
                  <a:gd name="connsiteY30" fmla="*/ 1157287 h 1259681"/>
                  <a:gd name="connsiteX31" fmla="*/ 1028700 w 1559719"/>
                  <a:gd name="connsiteY31" fmla="*/ 1159669 h 1259681"/>
                  <a:gd name="connsiteX32" fmla="*/ 990600 w 1559719"/>
                  <a:gd name="connsiteY32" fmla="*/ 1112044 h 1259681"/>
                  <a:gd name="connsiteX33" fmla="*/ 935831 w 1559719"/>
                  <a:gd name="connsiteY33" fmla="*/ 1114425 h 1259681"/>
                  <a:gd name="connsiteX34" fmla="*/ 885825 w 1559719"/>
                  <a:gd name="connsiteY34" fmla="*/ 1073944 h 1259681"/>
                  <a:gd name="connsiteX35" fmla="*/ 771525 w 1559719"/>
                  <a:gd name="connsiteY35" fmla="*/ 1083469 h 1259681"/>
                  <a:gd name="connsiteX36" fmla="*/ 745331 w 1559719"/>
                  <a:gd name="connsiteY36" fmla="*/ 1059656 h 1259681"/>
                  <a:gd name="connsiteX37" fmla="*/ 638175 w 1559719"/>
                  <a:gd name="connsiteY37" fmla="*/ 1052512 h 1259681"/>
                  <a:gd name="connsiteX38" fmla="*/ 595313 w 1559719"/>
                  <a:gd name="connsiteY38" fmla="*/ 1081087 h 1259681"/>
                  <a:gd name="connsiteX39" fmla="*/ 528638 w 1559719"/>
                  <a:gd name="connsiteY39" fmla="*/ 1062037 h 1259681"/>
                  <a:gd name="connsiteX40" fmla="*/ 495300 w 1559719"/>
                  <a:gd name="connsiteY40" fmla="*/ 1104900 h 1259681"/>
                  <a:gd name="connsiteX41" fmla="*/ 509588 w 1559719"/>
                  <a:gd name="connsiteY41" fmla="*/ 1143000 h 1259681"/>
                  <a:gd name="connsiteX42" fmla="*/ 473869 w 1559719"/>
                  <a:gd name="connsiteY42" fmla="*/ 1164431 h 1259681"/>
                  <a:gd name="connsiteX43" fmla="*/ 473869 w 1559719"/>
                  <a:gd name="connsiteY43" fmla="*/ 1202531 h 1259681"/>
                  <a:gd name="connsiteX44" fmla="*/ 459581 w 1559719"/>
                  <a:gd name="connsiteY44" fmla="*/ 1259681 h 1259681"/>
                  <a:gd name="connsiteX45" fmla="*/ 342900 w 1559719"/>
                  <a:gd name="connsiteY45" fmla="*/ 1190625 h 1259681"/>
                  <a:gd name="connsiteX46" fmla="*/ 271463 w 1559719"/>
                  <a:gd name="connsiteY46" fmla="*/ 1107281 h 1259681"/>
                  <a:gd name="connsiteX47" fmla="*/ 278606 w 1559719"/>
                  <a:gd name="connsiteY47" fmla="*/ 1045369 h 1259681"/>
                  <a:gd name="connsiteX48" fmla="*/ 202406 w 1559719"/>
                  <a:gd name="connsiteY48" fmla="*/ 940594 h 1259681"/>
                  <a:gd name="connsiteX49" fmla="*/ 157163 w 1559719"/>
                  <a:gd name="connsiteY49" fmla="*/ 938212 h 1259681"/>
                  <a:gd name="connsiteX50" fmla="*/ 123825 w 1559719"/>
                  <a:gd name="connsiteY50" fmla="*/ 916781 h 1259681"/>
                  <a:gd name="connsiteX51" fmla="*/ 109538 w 1559719"/>
                  <a:gd name="connsiteY51" fmla="*/ 864394 h 1259681"/>
                  <a:gd name="connsiteX52" fmla="*/ 100013 w 1559719"/>
                  <a:gd name="connsiteY52" fmla="*/ 809625 h 1259681"/>
                  <a:gd name="connsiteX53" fmla="*/ 157163 w 1559719"/>
                  <a:gd name="connsiteY53" fmla="*/ 678656 h 1259681"/>
                  <a:gd name="connsiteX54" fmla="*/ 159544 w 1559719"/>
                  <a:gd name="connsiteY54" fmla="*/ 478631 h 1259681"/>
                  <a:gd name="connsiteX55" fmla="*/ 0 w 1559719"/>
                  <a:gd name="connsiteY55" fmla="*/ 71437 h 1259681"/>
                  <a:gd name="connsiteX0" fmla="*/ 0 w 1562101"/>
                  <a:gd name="connsiteY0" fmla="*/ 85725 h 1259681"/>
                  <a:gd name="connsiteX1" fmla="*/ 138113 w 1562101"/>
                  <a:gd name="connsiteY1" fmla="*/ 54769 h 1259681"/>
                  <a:gd name="connsiteX2" fmla="*/ 371476 w 1562101"/>
                  <a:gd name="connsiteY2" fmla="*/ 45244 h 1259681"/>
                  <a:gd name="connsiteX3" fmla="*/ 771526 w 1562101"/>
                  <a:gd name="connsiteY3" fmla="*/ 19050 h 1259681"/>
                  <a:gd name="connsiteX4" fmla="*/ 1050132 w 1562101"/>
                  <a:gd name="connsiteY4" fmla="*/ 0 h 1259681"/>
                  <a:gd name="connsiteX5" fmla="*/ 1083470 w 1562101"/>
                  <a:gd name="connsiteY5" fmla="*/ 107156 h 1259681"/>
                  <a:gd name="connsiteX6" fmla="*/ 1121570 w 1562101"/>
                  <a:gd name="connsiteY6" fmla="*/ 250031 h 1259681"/>
                  <a:gd name="connsiteX7" fmla="*/ 1128713 w 1562101"/>
                  <a:gd name="connsiteY7" fmla="*/ 290512 h 1259681"/>
                  <a:gd name="connsiteX8" fmla="*/ 1219201 w 1562101"/>
                  <a:gd name="connsiteY8" fmla="*/ 364331 h 1259681"/>
                  <a:gd name="connsiteX9" fmla="*/ 1238251 w 1562101"/>
                  <a:gd name="connsiteY9" fmla="*/ 404812 h 1259681"/>
                  <a:gd name="connsiteX10" fmla="*/ 1252538 w 1562101"/>
                  <a:gd name="connsiteY10" fmla="*/ 457200 h 1259681"/>
                  <a:gd name="connsiteX11" fmla="*/ 1388270 w 1562101"/>
                  <a:gd name="connsiteY11" fmla="*/ 523875 h 1259681"/>
                  <a:gd name="connsiteX12" fmla="*/ 1440657 w 1562101"/>
                  <a:gd name="connsiteY12" fmla="*/ 566737 h 1259681"/>
                  <a:gd name="connsiteX13" fmla="*/ 1464470 w 1562101"/>
                  <a:gd name="connsiteY13" fmla="*/ 688181 h 1259681"/>
                  <a:gd name="connsiteX14" fmla="*/ 1493045 w 1562101"/>
                  <a:gd name="connsiteY14" fmla="*/ 773906 h 1259681"/>
                  <a:gd name="connsiteX15" fmla="*/ 1545432 w 1562101"/>
                  <a:gd name="connsiteY15" fmla="*/ 866775 h 1259681"/>
                  <a:gd name="connsiteX16" fmla="*/ 1562101 w 1562101"/>
                  <a:gd name="connsiteY16" fmla="*/ 907256 h 1259681"/>
                  <a:gd name="connsiteX17" fmla="*/ 1547813 w 1562101"/>
                  <a:gd name="connsiteY17" fmla="*/ 959644 h 1259681"/>
                  <a:gd name="connsiteX18" fmla="*/ 1538288 w 1562101"/>
                  <a:gd name="connsiteY18" fmla="*/ 983456 h 1259681"/>
                  <a:gd name="connsiteX19" fmla="*/ 1438276 w 1562101"/>
                  <a:gd name="connsiteY19" fmla="*/ 978694 h 1259681"/>
                  <a:gd name="connsiteX20" fmla="*/ 1385888 w 1562101"/>
                  <a:gd name="connsiteY20" fmla="*/ 950119 h 1259681"/>
                  <a:gd name="connsiteX21" fmla="*/ 1335882 w 1562101"/>
                  <a:gd name="connsiteY21" fmla="*/ 923925 h 1259681"/>
                  <a:gd name="connsiteX22" fmla="*/ 1281113 w 1562101"/>
                  <a:gd name="connsiteY22" fmla="*/ 892969 h 1259681"/>
                  <a:gd name="connsiteX23" fmla="*/ 1231107 w 1562101"/>
                  <a:gd name="connsiteY23" fmla="*/ 873919 h 1259681"/>
                  <a:gd name="connsiteX24" fmla="*/ 1162051 w 1562101"/>
                  <a:gd name="connsiteY24" fmla="*/ 890587 h 1259681"/>
                  <a:gd name="connsiteX25" fmla="*/ 1107282 w 1562101"/>
                  <a:gd name="connsiteY25" fmla="*/ 926306 h 1259681"/>
                  <a:gd name="connsiteX26" fmla="*/ 1078707 w 1562101"/>
                  <a:gd name="connsiteY26" fmla="*/ 964406 h 1259681"/>
                  <a:gd name="connsiteX27" fmla="*/ 1054895 w 1562101"/>
                  <a:gd name="connsiteY27" fmla="*/ 1023937 h 1259681"/>
                  <a:gd name="connsiteX28" fmla="*/ 1052513 w 1562101"/>
                  <a:gd name="connsiteY28" fmla="*/ 1083469 h 1259681"/>
                  <a:gd name="connsiteX29" fmla="*/ 1071563 w 1562101"/>
                  <a:gd name="connsiteY29" fmla="*/ 1126331 h 1259681"/>
                  <a:gd name="connsiteX30" fmla="*/ 1069182 w 1562101"/>
                  <a:gd name="connsiteY30" fmla="*/ 1157287 h 1259681"/>
                  <a:gd name="connsiteX31" fmla="*/ 1031082 w 1562101"/>
                  <a:gd name="connsiteY31" fmla="*/ 1159669 h 1259681"/>
                  <a:gd name="connsiteX32" fmla="*/ 992982 w 1562101"/>
                  <a:gd name="connsiteY32" fmla="*/ 1112044 h 1259681"/>
                  <a:gd name="connsiteX33" fmla="*/ 938213 w 1562101"/>
                  <a:gd name="connsiteY33" fmla="*/ 1114425 h 1259681"/>
                  <a:gd name="connsiteX34" fmla="*/ 888207 w 1562101"/>
                  <a:gd name="connsiteY34" fmla="*/ 1073944 h 1259681"/>
                  <a:gd name="connsiteX35" fmla="*/ 773907 w 1562101"/>
                  <a:gd name="connsiteY35" fmla="*/ 1083469 h 1259681"/>
                  <a:gd name="connsiteX36" fmla="*/ 747713 w 1562101"/>
                  <a:gd name="connsiteY36" fmla="*/ 1059656 h 1259681"/>
                  <a:gd name="connsiteX37" fmla="*/ 640557 w 1562101"/>
                  <a:gd name="connsiteY37" fmla="*/ 1052512 h 1259681"/>
                  <a:gd name="connsiteX38" fmla="*/ 597695 w 1562101"/>
                  <a:gd name="connsiteY38" fmla="*/ 1081087 h 1259681"/>
                  <a:gd name="connsiteX39" fmla="*/ 531020 w 1562101"/>
                  <a:gd name="connsiteY39" fmla="*/ 1062037 h 1259681"/>
                  <a:gd name="connsiteX40" fmla="*/ 497682 w 1562101"/>
                  <a:gd name="connsiteY40" fmla="*/ 1104900 h 1259681"/>
                  <a:gd name="connsiteX41" fmla="*/ 511970 w 1562101"/>
                  <a:gd name="connsiteY41" fmla="*/ 1143000 h 1259681"/>
                  <a:gd name="connsiteX42" fmla="*/ 476251 w 1562101"/>
                  <a:gd name="connsiteY42" fmla="*/ 1164431 h 1259681"/>
                  <a:gd name="connsiteX43" fmla="*/ 476251 w 1562101"/>
                  <a:gd name="connsiteY43" fmla="*/ 1202531 h 1259681"/>
                  <a:gd name="connsiteX44" fmla="*/ 461963 w 1562101"/>
                  <a:gd name="connsiteY44" fmla="*/ 1259681 h 1259681"/>
                  <a:gd name="connsiteX45" fmla="*/ 345282 w 1562101"/>
                  <a:gd name="connsiteY45" fmla="*/ 1190625 h 1259681"/>
                  <a:gd name="connsiteX46" fmla="*/ 273845 w 1562101"/>
                  <a:gd name="connsiteY46" fmla="*/ 1107281 h 1259681"/>
                  <a:gd name="connsiteX47" fmla="*/ 280988 w 1562101"/>
                  <a:gd name="connsiteY47" fmla="*/ 1045369 h 1259681"/>
                  <a:gd name="connsiteX48" fmla="*/ 204788 w 1562101"/>
                  <a:gd name="connsiteY48" fmla="*/ 940594 h 1259681"/>
                  <a:gd name="connsiteX49" fmla="*/ 159545 w 1562101"/>
                  <a:gd name="connsiteY49" fmla="*/ 938212 h 1259681"/>
                  <a:gd name="connsiteX50" fmla="*/ 126207 w 1562101"/>
                  <a:gd name="connsiteY50" fmla="*/ 916781 h 1259681"/>
                  <a:gd name="connsiteX51" fmla="*/ 111920 w 1562101"/>
                  <a:gd name="connsiteY51" fmla="*/ 864394 h 1259681"/>
                  <a:gd name="connsiteX52" fmla="*/ 102395 w 1562101"/>
                  <a:gd name="connsiteY52" fmla="*/ 809625 h 1259681"/>
                  <a:gd name="connsiteX53" fmla="*/ 159545 w 1562101"/>
                  <a:gd name="connsiteY53" fmla="*/ 678656 h 1259681"/>
                  <a:gd name="connsiteX54" fmla="*/ 161926 w 1562101"/>
                  <a:gd name="connsiteY54" fmla="*/ 478631 h 1259681"/>
                  <a:gd name="connsiteX55" fmla="*/ 0 w 1562101"/>
                  <a:gd name="connsiteY55" fmla="*/ 85725 h 1259681"/>
                  <a:gd name="connsiteX0" fmla="*/ 0 w 1564482"/>
                  <a:gd name="connsiteY0" fmla="*/ 80963 h 1259681"/>
                  <a:gd name="connsiteX1" fmla="*/ 140494 w 1564482"/>
                  <a:gd name="connsiteY1" fmla="*/ 54769 h 1259681"/>
                  <a:gd name="connsiteX2" fmla="*/ 373857 w 1564482"/>
                  <a:gd name="connsiteY2" fmla="*/ 45244 h 1259681"/>
                  <a:gd name="connsiteX3" fmla="*/ 773907 w 1564482"/>
                  <a:gd name="connsiteY3" fmla="*/ 19050 h 1259681"/>
                  <a:gd name="connsiteX4" fmla="*/ 1052513 w 1564482"/>
                  <a:gd name="connsiteY4" fmla="*/ 0 h 1259681"/>
                  <a:gd name="connsiteX5" fmla="*/ 1085851 w 1564482"/>
                  <a:gd name="connsiteY5" fmla="*/ 107156 h 1259681"/>
                  <a:gd name="connsiteX6" fmla="*/ 1123951 w 1564482"/>
                  <a:gd name="connsiteY6" fmla="*/ 250031 h 1259681"/>
                  <a:gd name="connsiteX7" fmla="*/ 1131094 w 1564482"/>
                  <a:gd name="connsiteY7" fmla="*/ 290512 h 1259681"/>
                  <a:gd name="connsiteX8" fmla="*/ 1221582 w 1564482"/>
                  <a:gd name="connsiteY8" fmla="*/ 364331 h 1259681"/>
                  <a:gd name="connsiteX9" fmla="*/ 1240632 w 1564482"/>
                  <a:gd name="connsiteY9" fmla="*/ 404812 h 1259681"/>
                  <a:gd name="connsiteX10" fmla="*/ 1254919 w 1564482"/>
                  <a:gd name="connsiteY10" fmla="*/ 457200 h 1259681"/>
                  <a:gd name="connsiteX11" fmla="*/ 1390651 w 1564482"/>
                  <a:gd name="connsiteY11" fmla="*/ 523875 h 1259681"/>
                  <a:gd name="connsiteX12" fmla="*/ 1443038 w 1564482"/>
                  <a:gd name="connsiteY12" fmla="*/ 566737 h 1259681"/>
                  <a:gd name="connsiteX13" fmla="*/ 1466851 w 1564482"/>
                  <a:gd name="connsiteY13" fmla="*/ 688181 h 1259681"/>
                  <a:gd name="connsiteX14" fmla="*/ 1495426 w 1564482"/>
                  <a:gd name="connsiteY14" fmla="*/ 773906 h 1259681"/>
                  <a:gd name="connsiteX15" fmla="*/ 1547813 w 1564482"/>
                  <a:gd name="connsiteY15" fmla="*/ 866775 h 1259681"/>
                  <a:gd name="connsiteX16" fmla="*/ 1564482 w 1564482"/>
                  <a:gd name="connsiteY16" fmla="*/ 907256 h 1259681"/>
                  <a:gd name="connsiteX17" fmla="*/ 1550194 w 1564482"/>
                  <a:gd name="connsiteY17" fmla="*/ 959644 h 1259681"/>
                  <a:gd name="connsiteX18" fmla="*/ 1540669 w 1564482"/>
                  <a:gd name="connsiteY18" fmla="*/ 983456 h 1259681"/>
                  <a:gd name="connsiteX19" fmla="*/ 1440657 w 1564482"/>
                  <a:gd name="connsiteY19" fmla="*/ 978694 h 1259681"/>
                  <a:gd name="connsiteX20" fmla="*/ 1388269 w 1564482"/>
                  <a:gd name="connsiteY20" fmla="*/ 950119 h 1259681"/>
                  <a:gd name="connsiteX21" fmla="*/ 1338263 w 1564482"/>
                  <a:gd name="connsiteY21" fmla="*/ 923925 h 1259681"/>
                  <a:gd name="connsiteX22" fmla="*/ 1283494 w 1564482"/>
                  <a:gd name="connsiteY22" fmla="*/ 892969 h 1259681"/>
                  <a:gd name="connsiteX23" fmla="*/ 1233488 w 1564482"/>
                  <a:gd name="connsiteY23" fmla="*/ 873919 h 1259681"/>
                  <a:gd name="connsiteX24" fmla="*/ 1164432 w 1564482"/>
                  <a:gd name="connsiteY24" fmla="*/ 890587 h 1259681"/>
                  <a:gd name="connsiteX25" fmla="*/ 1109663 w 1564482"/>
                  <a:gd name="connsiteY25" fmla="*/ 926306 h 1259681"/>
                  <a:gd name="connsiteX26" fmla="*/ 1081088 w 1564482"/>
                  <a:gd name="connsiteY26" fmla="*/ 964406 h 1259681"/>
                  <a:gd name="connsiteX27" fmla="*/ 1057276 w 1564482"/>
                  <a:gd name="connsiteY27" fmla="*/ 1023937 h 1259681"/>
                  <a:gd name="connsiteX28" fmla="*/ 1054894 w 1564482"/>
                  <a:gd name="connsiteY28" fmla="*/ 1083469 h 1259681"/>
                  <a:gd name="connsiteX29" fmla="*/ 1073944 w 1564482"/>
                  <a:gd name="connsiteY29" fmla="*/ 1126331 h 1259681"/>
                  <a:gd name="connsiteX30" fmla="*/ 1071563 w 1564482"/>
                  <a:gd name="connsiteY30" fmla="*/ 1157287 h 1259681"/>
                  <a:gd name="connsiteX31" fmla="*/ 1033463 w 1564482"/>
                  <a:gd name="connsiteY31" fmla="*/ 1159669 h 1259681"/>
                  <a:gd name="connsiteX32" fmla="*/ 995363 w 1564482"/>
                  <a:gd name="connsiteY32" fmla="*/ 1112044 h 1259681"/>
                  <a:gd name="connsiteX33" fmla="*/ 940594 w 1564482"/>
                  <a:gd name="connsiteY33" fmla="*/ 1114425 h 1259681"/>
                  <a:gd name="connsiteX34" fmla="*/ 890588 w 1564482"/>
                  <a:gd name="connsiteY34" fmla="*/ 1073944 h 1259681"/>
                  <a:gd name="connsiteX35" fmla="*/ 776288 w 1564482"/>
                  <a:gd name="connsiteY35" fmla="*/ 1083469 h 1259681"/>
                  <a:gd name="connsiteX36" fmla="*/ 750094 w 1564482"/>
                  <a:gd name="connsiteY36" fmla="*/ 1059656 h 1259681"/>
                  <a:gd name="connsiteX37" fmla="*/ 642938 w 1564482"/>
                  <a:gd name="connsiteY37" fmla="*/ 1052512 h 1259681"/>
                  <a:gd name="connsiteX38" fmla="*/ 600076 w 1564482"/>
                  <a:gd name="connsiteY38" fmla="*/ 1081087 h 1259681"/>
                  <a:gd name="connsiteX39" fmla="*/ 533401 w 1564482"/>
                  <a:gd name="connsiteY39" fmla="*/ 1062037 h 1259681"/>
                  <a:gd name="connsiteX40" fmla="*/ 500063 w 1564482"/>
                  <a:gd name="connsiteY40" fmla="*/ 1104900 h 1259681"/>
                  <a:gd name="connsiteX41" fmla="*/ 514351 w 1564482"/>
                  <a:gd name="connsiteY41" fmla="*/ 1143000 h 1259681"/>
                  <a:gd name="connsiteX42" fmla="*/ 478632 w 1564482"/>
                  <a:gd name="connsiteY42" fmla="*/ 1164431 h 1259681"/>
                  <a:gd name="connsiteX43" fmla="*/ 478632 w 1564482"/>
                  <a:gd name="connsiteY43" fmla="*/ 1202531 h 1259681"/>
                  <a:gd name="connsiteX44" fmla="*/ 464344 w 1564482"/>
                  <a:gd name="connsiteY44" fmla="*/ 1259681 h 1259681"/>
                  <a:gd name="connsiteX45" fmla="*/ 347663 w 1564482"/>
                  <a:gd name="connsiteY45" fmla="*/ 1190625 h 1259681"/>
                  <a:gd name="connsiteX46" fmla="*/ 276226 w 1564482"/>
                  <a:gd name="connsiteY46" fmla="*/ 1107281 h 1259681"/>
                  <a:gd name="connsiteX47" fmla="*/ 283369 w 1564482"/>
                  <a:gd name="connsiteY47" fmla="*/ 1045369 h 1259681"/>
                  <a:gd name="connsiteX48" fmla="*/ 207169 w 1564482"/>
                  <a:gd name="connsiteY48" fmla="*/ 940594 h 1259681"/>
                  <a:gd name="connsiteX49" fmla="*/ 161926 w 1564482"/>
                  <a:gd name="connsiteY49" fmla="*/ 938212 h 1259681"/>
                  <a:gd name="connsiteX50" fmla="*/ 128588 w 1564482"/>
                  <a:gd name="connsiteY50" fmla="*/ 916781 h 1259681"/>
                  <a:gd name="connsiteX51" fmla="*/ 114301 w 1564482"/>
                  <a:gd name="connsiteY51" fmla="*/ 864394 h 1259681"/>
                  <a:gd name="connsiteX52" fmla="*/ 104776 w 1564482"/>
                  <a:gd name="connsiteY52" fmla="*/ 809625 h 1259681"/>
                  <a:gd name="connsiteX53" fmla="*/ 161926 w 1564482"/>
                  <a:gd name="connsiteY53" fmla="*/ 678656 h 1259681"/>
                  <a:gd name="connsiteX54" fmla="*/ 164307 w 1564482"/>
                  <a:gd name="connsiteY54" fmla="*/ 478631 h 1259681"/>
                  <a:gd name="connsiteX55" fmla="*/ 0 w 1564482"/>
                  <a:gd name="connsiteY55" fmla="*/ 80963 h 1259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564482" h="1259681">
                    <a:moveTo>
                      <a:pt x="0" y="80963"/>
                    </a:moveTo>
                    <a:lnTo>
                      <a:pt x="140494" y="54769"/>
                    </a:lnTo>
                    <a:lnTo>
                      <a:pt x="373857" y="45244"/>
                    </a:lnTo>
                    <a:lnTo>
                      <a:pt x="773907" y="19050"/>
                    </a:lnTo>
                    <a:lnTo>
                      <a:pt x="1052513" y="0"/>
                    </a:lnTo>
                    <a:lnTo>
                      <a:pt x="1085851" y="107156"/>
                    </a:lnTo>
                    <a:lnTo>
                      <a:pt x="1123951" y="250031"/>
                    </a:lnTo>
                    <a:lnTo>
                      <a:pt x="1131094" y="290512"/>
                    </a:lnTo>
                    <a:lnTo>
                      <a:pt x="1221582" y="364331"/>
                    </a:lnTo>
                    <a:lnTo>
                      <a:pt x="1240632" y="404812"/>
                    </a:lnTo>
                    <a:lnTo>
                      <a:pt x="1254919" y="457200"/>
                    </a:lnTo>
                    <a:lnTo>
                      <a:pt x="1390651" y="523875"/>
                    </a:lnTo>
                    <a:lnTo>
                      <a:pt x="1443038" y="566737"/>
                    </a:lnTo>
                    <a:lnTo>
                      <a:pt x="1466851" y="688181"/>
                    </a:lnTo>
                    <a:lnTo>
                      <a:pt x="1495426" y="773906"/>
                    </a:lnTo>
                    <a:lnTo>
                      <a:pt x="1547813" y="866775"/>
                    </a:lnTo>
                    <a:lnTo>
                      <a:pt x="1564482" y="907256"/>
                    </a:lnTo>
                    <a:lnTo>
                      <a:pt x="1550194" y="959644"/>
                    </a:lnTo>
                    <a:lnTo>
                      <a:pt x="1540669" y="983456"/>
                    </a:lnTo>
                    <a:lnTo>
                      <a:pt x="1440657" y="978694"/>
                    </a:lnTo>
                    <a:lnTo>
                      <a:pt x="1388269" y="950119"/>
                    </a:lnTo>
                    <a:lnTo>
                      <a:pt x="1338263" y="923925"/>
                    </a:lnTo>
                    <a:lnTo>
                      <a:pt x="1283494" y="892969"/>
                    </a:lnTo>
                    <a:lnTo>
                      <a:pt x="1233488" y="873919"/>
                    </a:lnTo>
                    <a:lnTo>
                      <a:pt x="1164432" y="890587"/>
                    </a:lnTo>
                    <a:lnTo>
                      <a:pt x="1109663" y="926306"/>
                    </a:lnTo>
                    <a:lnTo>
                      <a:pt x="1081088" y="964406"/>
                    </a:lnTo>
                    <a:lnTo>
                      <a:pt x="1057276" y="1023937"/>
                    </a:lnTo>
                    <a:lnTo>
                      <a:pt x="1054894" y="1083469"/>
                    </a:lnTo>
                    <a:lnTo>
                      <a:pt x="1073944" y="1126331"/>
                    </a:lnTo>
                    <a:lnTo>
                      <a:pt x="1071563" y="1157287"/>
                    </a:lnTo>
                    <a:lnTo>
                      <a:pt x="1033463" y="1159669"/>
                    </a:lnTo>
                    <a:lnTo>
                      <a:pt x="995363" y="1112044"/>
                    </a:lnTo>
                    <a:lnTo>
                      <a:pt x="940594" y="1114425"/>
                    </a:lnTo>
                    <a:lnTo>
                      <a:pt x="890588" y="1073944"/>
                    </a:lnTo>
                    <a:lnTo>
                      <a:pt x="776288" y="1083469"/>
                    </a:lnTo>
                    <a:lnTo>
                      <a:pt x="750094" y="1059656"/>
                    </a:lnTo>
                    <a:lnTo>
                      <a:pt x="642938" y="1052512"/>
                    </a:lnTo>
                    <a:lnTo>
                      <a:pt x="600076" y="1081087"/>
                    </a:lnTo>
                    <a:lnTo>
                      <a:pt x="533401" y="1062037"/>
                    </a:lnTo>
                    <a:lnTo>
                      <a:pt x="500063" y="1104900"/>
                    </a:lnTo>
                    <a:lnTo>
                      <a:pt x="514351" y="1143000"/>
                    </a:lnTo>
                    <a:lnTo>
                      <a:pt x="478632" y="1164431"/>
                    </a:lnTo>
                    <a:lnTo>
                      <a:pt x="478632" y="1202531"/>
                    </a:lnTo>
                    <a:lnTo>
                      <a:pt x="464344" y="1259681"/>
                    </a:lnTo>
                    <a:lnTo>
                      <a:pt x="347663" y="1190625"/>
                    </a:lnTo>
                    <a:lnTo>
                      <a:pt x="276226" y="1107281"/>
                    </a:lnTo>
                    <a:lnTo>
                      <a:pt x="283369" y="1045369"/>
                    </a:lnTo>
                    <a:lnTo>
                      <a:pt x="207169" y="940594"/>
                    </a:lnTo>
                    <a:lnTo>
                      <a:pt x="161926" y="938212"/>
                    </a:lnTo>
                    <a:lnTo>
                      <a:pt x="128588" y="916781"/>
                    </a:lnTo>
                    <a:lnTo>
                      <a:pt x="114301" y="864394"/>
                    </a:lnTo>
                    <a:lnTo>
                      <a:pt x="104776" y="809625"/>
                    </a:lnTo>
                    <a:lnTo>
                      <a:pt x="161926" y="678656"/>
                    </a:lnTo>
                    <a:cubicBezTo>
                      <a:pt x="162720" y="611981"/>
                      <a:pt x="163513" y="545306"/>
                      <a:pt x="164307" y="478631"/>
                    </a:cubicBezTo>
                    <a:lnTo>
                      <a:pt x="0" y="80963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8" name="Freeform 9"/>
              <p:cNvSpPr/>
              <p:nvPr/>
            </p:nvSpPr>
            <p:spPr>
              <a:xfrm>
                <a:off x="1402550" y="2695915"/>
                <a:ext cx="1083055" cy="1112047"/>
              </a:xfrm>
              <a:custGeom>
                <a:avLst/>
                <a:gdLst>
                  <a:gd name="connsiteX0" fmla="*/ 1178719 w 1538288"/>
                  <a:gd name="connsiteY0" fmla="*/ 1697831 h 1707356"/>
                  <a:gd name="connsiteX1" fmla="*/ 1345406 w 1538288"/>
                  <a:gd name="connsiteY1" fmla="*/ 519112 h 1707356"/>
                  <a:gd name="connsiteX2" fmla="*/ 1538288 w 1538288"/>
                  <a:gd name="connsiteY2" fmla="*/ 471487 h 1707356"/>
                  <a:gd name="connsiteX3" fmla="*/ 1514475 w 1538288"/>
                  <a:gd name="connsiteY3" fmla="*/ 169069 h 1707356"/>
                  <a:gd name="connsiteX4" fmla="*/ 1478756 w 1538288"/>
                  <a:gd name="connsiteY4" fmla="*/ 185737 h 1707356"/>
                  <a:gd name="connsiteX5" fmla="*/ 1345406 w 1538288"/>
                  <a:gd name="connsiteY5" fmla="*/ 111919 h 1707356"/>
                  <a:gd name="connsiteX6" fmla="*/ 1262063 w 1538288"/>
                  <a:gd name="connsiteY6" fmla="*/ 0 h 1707356"/>
                  <a:gd name="connsiteX7" fmla="*/ 1202531 w 1538288"/>
                  <a:gd name="connsiteY7" fmla="*/ 64294 h 1707356"/>
                  <a:gd name="connsiteX8" fmla="*/ 1138238 w 1538288"/>
                  <a:gd name="connsiteY8" fmla="*/ 14287 h 1707356"/>
                  <a:gd name="connsiteX9" fmla="*/ 1038225 w 1538288"/>
                  <a:gd name="connsiteY9" fmla="*/ 19050 h 1707356"/>
                  <a:gd name="connsiteX10" fmla="*/ 1009650 w 1538288"/>
                  <a:gd name="connsiteY10" fmla="*/ 57150 h 1707356"/>
                  <a:gd name="connsiteX11" fmla="*/ 938213 w 1538288"/>
                  <a:gd name="connsiteY11" fmla="*/ 28575 h 1707356"/>
                  <a:gd name="connsiteX12" fmla="*/ 869156 w 1538288"/>
                  <a:gd name="connsiteY12" fmla="*/ 59531 h 1707356"/>
                  <a:gd name="connsiteX13" fmla="*/ 800100 w 1538288"/>
                  <a:gd name="connsiteY13" fmla="*/ 57150 h 1707356"/>
                  <a:gd name="connsiteX14" fmla="*/ 750094 w 1538288"/>
                  <a:gd name="connsiteY14" fmla="*/ 109537 h 1707356"/>
                  <a:gd name="connsiteX15" fmla="*/ 716756 w 1538288"/>
                  <a:gd name="connsiteY15" fmla="*/ 164306 h 1707356"/>
                  <a:gd name="connsiteX16" fmla="*/ 714375 w 1538288"/>
                  <a:gd name="connsiteY16" fmla="*/ 202406 h 1707356"/>
                  <a:gd name="connsiteX17" fmla="*/ 731044 w 1538288"/>
                  <a:gd name="connsiteY17" fmla="*/ 245269 h 1707356"/>
                  <a:gd name="connsiteX18" fmla="*/ 750094 w 1538288"/>
                  <a:gd name="connsiteY18" fmla="*/ 278606 h 1707356"/>
                  <a:gd name="connsiteX19" fmla="*/ 783431 w 1538288"/>
                  <a:gd name="connsiteY19" fmla="*/ 278606 h 1707356"/>
                  <a:gd name="connsiteX20" fmla="*/ 800100 w 1538288"/>
                  <a:gd name="connsiteY20" fmla="*/ 311944 h 1707356"/>
                  <a:gd name="connsiteX21" fmla="*/ 831056 w 1538288"/>
                  <a:gd name="connsiteY21" fmla="*/ 352425 h 1707356"/>
                  <a:gd name="connsiteX22" fmla="*/ 857250 w 1538288"/>
                  <a:gd name="connsiteY22" fmla="*/ 326231 h 1707356"/>
                  <a:gd name="connsiteX23" fmla="*/ 857250 w 1538288"/>
                  <a:gd name="connsiteY23" fmla="*/ 297656 h 1707356"/>
                  <a:gd name="connsiteX24" fmla="*/ 897731 w 1538288"/>
                  <a:gd name="connsiteY24" fmla="*/ 290512 h 1707356"/>
                  <a:gd name="connsiteX25" fmla="*/ 935831 w 1538288"/>
                  <a:gd name="connsiteY25" fmla="*/ 250031 h 1707356"/>
                  <a:gd name="connsiteX26" fmla="*/ 976313 w 1538288"/>
                  <a:gd name="connsiteY26" fmla="*/ 290512 h 1707356"/>
                  <a:gd name="connsiteX27" fmla="*/ 983456 w 1538288"/>
                  <a:gd name="connsiteY27" fmla="*/ 297656 h 1707356"/>
                  <a:gd name="connsiteX28" fmla="*/ 952500 w 1538288"/>
                  <a:gd name="connsiteY28" fmla="*/ 345281 h 1707356"/>
                  <a:gd name="connsiteX29" fmla="*/ 1000125 w 1538288"/>
                  <a:gd name="connsiteY29" fmla="*/ 426244 h 1707356"/>
                  <a:gd name="connsiteX30" fmla="*/ 945356 w 1538288"/>
                  <a:gd name="connsiteY30" fmla="*/ 435769 h 1707356"/>
                  <a:gd name="connsiteX31" fmla="*/ 895350 w 1538288"/>
                  <a:gd name="connsiteY31" fmla="*/ 438150 h 1707356"/>
                  <a:gd name="connsiteX32" fmla="*/ 866775 w 1538288"/>
                  <a:gd name="connsiteY32" fmla="*/ 416719 h 1707356"/>
                  <a:gd name="connsiteX33" fmla="*/ 888206 w 1538288"/>
                  <a:gd name="connsiteY33" fmla="*/ 383381 h 1707356"/>
                  <a:gd name="connsiteX34" fmla="*/ 916781 w 1538288"/>
                  <a:gd name="connsiteY34" fmla="*/ 388144 h 1707356"/>
                  <a:gd name="connsiteX35" fmla="*/ 938213 w 1538288"/>
                  <a:gd name="connsiteY35" fmla="*/ 354806 h 1707356"/>
                  <a:gd name="connsiteX36" fmla="*/ 931069 w 1538288"/>
                  <a:gd name="connsiteY36" fmla="*/ 333375 h 1707356"/>
                  <a:gd name="connsiteX37" fmla="*/ 845344 w 1538288"/>
                  <a:gd name="connsiteY37" fmla="*/ 342900 h 1707356"/>
                  <a:gd name="connsiteX38" fmla="*/ 826294 w 1538288"/>
                  <a:gd name="connsiteY38" fmla="*/ 352425 h 1707356"/>
                  <a:gd name="connsiteX39" fmla="*/ 783431 w 1538288"/>
                  <a:gd name="connsiteY39" fmla="*/ 328612 h 1707356"/>
                  <a:gd name="connsiteX40" fmla="*/ 747713 w 1538288"/>
                  <a:gd name="connsiteY40" fmla="*/ 338137 h 1707356"/>
                  <a:gd name="connsiteX41" fmla="*/ 626269 w 1538288"/>
                  <a:gd name="connsiteY41" fmla="*/ 278606 h 1707356"/>
                  <a:gd name="connsiteX42" fmla="*/ 471488 w 1538288"/>
                  <a:gd name="connsiteY42" fmla="*/ 221456 h 1707356"/>
                  <a:gd name="connsiteX43" fmla="*/ 419100 w 1538288"/>
                  <a:gd name="connsiteY43" fmla="*/ 190500 h 1707356"/>
                  <a:gd name="connsiteX44" fmla="*/ 376238 w 1538288"/>
                  <a:gd name="connsiteY44" fmla="*/ 216694 h 1707356"/>
                  <a:gd name="connsiteX45" fmla="*/ 333375 w 1538288"/>
                  <a:gd name="connsiteY45" fmla="*/ 195262 h 1707356"/>
                  <a:gd name="connsiteX46" fmla="*/ 297656 w 1538288"/>
                  <a:gd name="connsiteY46" fmla="*/ 240506 h 1707356"/>
                  <a:gd name="connsiteX47" fmla="*/ 283369 w 1538288"/>
                  <a:gd name="connsiteY47" fmla="*/ 278606 h 1707356"/>
                  <a:gd name="connsiteX48" fmla="*/ 271463 w 1538288"/>
                  <a:gd name="connsiteY48" fmla="*/ 295275 h 1707356"/>
                  <a:gd name="connsiteX49" fmla="*/ 230981 w 1538288"/>
                  <a:gd name="connsiteY49" fmla="*/ 292894 h 1707356"/>
                  <a:gd name="connsiteX50" fmla="*/ 202406 w 1538288"/>
                  <a:gd name="connsiteY50" fmla="*/ 300037 h 1707356"/>
                  <a:gd name="connsiteX51" fmla="*/ 209550 w 1538288"/>
                  <a:gd name="connsiteY51" fmla="*/ 340519 h 1707356"/>
                  <a:gd name="connsiteX52" fmla="*/ 273844 w 1538288"/>
                  <a:gd name="connsiteY52" fmla="*/ 423862 h 1707356"/>
                  <a:gd name="connsiteX53" fmla="*/ 309563 w 1538288"/>
                  <a:gd name="connsiteY53" fmla="*/ 471487 h 1707356"/>
                  <a:gd name="connsiteX54" fmla="*/ 264319 w 1538288"/>
                  <a:gd name="connsiteY54" fmla="*/ 457200 h 1707356"/>
                  <a:gd name="connsiteX55" fmla="*/ 214313 w 1538288"/>
                  <a:gd name="connsiteY55" fmla="*/ 466725 h 1707356"/>
                  <a:gd name="connsiteX56" fmla="*/ 173831 w 1538288"/>
                  <a:gd name="connsiteY56" fmla="*/ 411956 h 1707356"/>
                  <a:gd name="connsiteX57" fmla="*/ 114300 w 1538288"/>
                  <a:gd name="connsiteY57" fmla="*/ 392906 h 1707356"/>
                  <a:gd name="connsiteX58" fmla="*/ 50006 w 1538288"/>
                  <a:gd name="connsiteY58" fmla="*/ 371475 h 1707356"/>
                  <a:gd name="connsiteX59" fmla="*/ 21431 w 1538288"/>
                  <a:gd name="connsiteY59" fmla="*/ 395287 h 1707356"/>
                  <a:gd name="connsiteX60" fmla="*/ 0 w 1538288"/>
                  <a:gd name="connsiteY60" fmla="*/ 442912 h 1707356"/>
                  <a:gd name="connsiteX61" fmla="*/ 9525 w 1538288"/>
                  <a:gd name="connsiteY61" fmla="*/ 476250 h 1707356"/>
                  <a:gd name="connsiteX62" fmla="*/ 80963 w 1538288"/>
                  <a:gd name="connsiteY62" fmla="*/ 504825 h 1707356"/>
                  <a:gd name="connsiteX63" fmla="*/ 116681 w 1538288"/>
                  <a:gd name="connsiteY63" fmla="*/ 533400 h 1707356"/>
                  <a:gd name="connsiteX64" fmla="*/ 123825 w 1538288"/>
                  <a:gd name="connsiteY64" fmla="*/ 590550 h 1707356"/>
                  <a:gd name="connsiteX65" fmla="*/ 130969 w 1538288"/>
                  <a:gd name="connsiteY65" fmla="*/ 623887 h 1707356"/>
                  <a:gd name="connsiteX66" fmla="*/ 145256 w 1538288"/>
                  <a:gd name="connsiteY66" fmla="*/ 673894 h 1707356"/>
                  <a:gd name="connsiteX67" fmla="*/ 147638 w 1538288"/>
                  <a:gd name="connsiteY67" fmla="*/ 721519 h 1707356"/>
                  <a:gd name="connsiteX68" fmla="*/ 183356 w 1538288"/>
                  <a:gd name="connsiteY68" fmla="*/ 773906 h 1707356"/>
                  <a:gd name="connsiteX69" fmla="*/ 178594 w 1538288"/>
                  <a:gd name="connsiteY69" fmla="*/ 809625 h 1707356"/>
                  <a:gd name="connsiteX70" fmla="*/ 178594 w 1538288"/>
                  <a:gd name="connsiteY70" fmla="*/ 845344 h 1707356"/>
                  <a:gd name="connsiteX71" fmla="*/ 166688 w 1538288"/>
                  <a:gd name="connsiteY71" fmla="*/ 881062 h 1707356"/>
                  <a:gd name="connsiteX72" fmla="*/ 154781 w 1538288"/>
                  <a:gd name="connsiteY72" fmla="*/ 909637 h 1707356"/>
                  <a:gd name="connsiteX73" fmla="*/ 195263 w 1538288"/>
                  <a:gd name="connsiteY73" fmla="*/ 902494 h 1707356"/>
                  <a:gd name="connsiteX74" fmla="*/ 250031 w 1538288"/>
                  <a:gd name="connsiteY74" fmla="*/ 921544 h 1707356"/>
                  <a:gd name="connsiteX75" fmla="*/ 269081 w 1538288"/>
                  <a:gd name="connsiteY75" fmla="*/ 947737 h 1707356"/>
                  <a:gd name="connsiteX76" fmla="*/ 276225 w 1538288"/>
                  <a:gd name="connsiteY76" fmla="*/ 988219 h 1707356"/>
                  <a:gd name="connsiteX77" fmla="*/ 290513 w 1538288"/>
                  <a:gd name="connsiteY77" fmla="*/ 1026319 h 1707356"/>
                  <a:gd name="connsiteX78" fmla="*/ 330994 w 1538288"/>
                  <a:gd name="connsiteY78" fmla="*/ 1028700 h 1707356"/>
                  <a:gd name="connsiteX79" fmla="*/ 373856 w 1538288"/>
                  <a:gd name="connsiteY79" fmla="*/ 1050131 h 1707356"/>
                  <a:gd name="connsiteX80" fmla="*/ 409575 w 1538288"/>
                  <a:gd name="connsiteY80" fmla="*/ 1054894 h 1707356"/>
                  <a:gd name="connsiteX81" fmla="*/ 459581 w 1538288"/>
                  <a:gd name="connsiteY81" fmla="*/ 1095375 h 1707356"/>
                  <a:gd name="connsiteX82" fmla="*/ 459581 w 1538288"/>
                  <a:gd name="connsiteY82" fmla="*/ 1147762 h 1707356"/>
                  <a:gd name="connsiteX83" fmla="*/ 445294 w 1538288"/>
                  <a:gd name="connsiteY83" fmla="*/ 1183481 h 1707356"/>
                  <a:gd name="connsiteX84" fmla="*/ 426244 w 1538288"/>
                  <a:gd name="connsiteY84" fmla="*/ 1212056 h 1707356"/>
                  <a:gd name="connsiteX85" fmla="*/ 371475 w 1538288"/>
                  <a:gd name="connsiteY85" fmla="*/ 1273969 h 1707356"/>
                  <a:gd name="connsiteX86" fmla="*/ 357188 w 1538288"/>
                  <a:gd name="connsiteY86" fmla="*/ 1300162 h 1707356"/>
                  <a:gd name="connsiteX87" fmla="*/ 373856 w 1538288"/>
                  <a:gd name="connsiteY87" fmla="*/ 1350169 h 1707356"/>
                  <a:gd name="connsiteX88" fmla="*/ 361950 w 1538288"/>
                  <a:gd name="connsiteY88" fmla="*/ 1371600 h 1707356"/>
                  <a:gd name="connsiteX89" fmla="*/ 350044 w 1538288"/>
                  <a:gd name="connsiteY89" fmla="*/ 1409700 h 1707356"/>
                  <a:gd name="connsiteX90" fmla="*/ 428625 w 1538288"/>
                  <a:gd name="connsiteY90" fmla="*/ 1378744 h 1707356"/>
                  <a:gd name="connsiteX91" fmla="*/ 550069 w 1538288"/>
                  <a:gd name="connsiteY91" fmla="*/ 1300162 h 1707356"/>
                  <a:gd name="connsiteX92" fmla="*/ 781050 w 1538288"/>
                  <a:gd name="connsiteY92" fmla="*/ 1297781 h 1707356"/>
                  <a:gd name="connsiteX93" fmla="*/ 909638 w 1538288"/>
                  <a:gd name="connsiteY93" fmla="*/ 1404937 h 1707356"/>
                  <a:gd name="connsiteX94" fmla="*/ 966788 w 1538288"/>
                  <a:gd name="connsiteY94" fmla="*/ 1447800 h 1707356"/>
                  <a:gd name="connsiteX95" fmla="*/ 969169 w 1538288"/>
                  <a:gd name="connsiteY95" fmla="*/ 1516856 h 1707356"/>
                  <a:gd name="connsiteX96" fmla="*/ 1012031 w 1538288"/>
                  <a:gd name="connsiteY96" fmla="*/ 1593056 h 1707356"/>
                  <a:gd name="connsiteX97" fmla="*/ 1054894 w 1538288"/>
                  <a:gd name="connsiteY97" fmla="*/ 1707356 h 1707356"/>
                  <a:gd name="connsiteX98" fmla="*/ 1178719 w 1538288"/>
                  <a:gd name="connsiteY98" fmla="*/ 1697831 h 1707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538288" h="1707356">
                    <a:moveTo>
                      <a:pt x="1178719" y="1697831"/>
                    </a:moveTo>
                    <a:lnTo>
                      <a:pt x="1345406" y="519112"/>
                    </a:lnTo>
                    <a:lnTo>
                      <a:pt x="1538288" y="471487"/>
                    </a:lnTo>
                    <a:lnTo>
                      <a:pt x="1514475" y="169069"/>
                    </a:lnTo>
                    <a:lnTo>
                      <a:pt x="1478756" y="185737"/>
                    </a:lnTo>
                    <a:lnTo>
                      <a:pt x="1345406" y="111919"/>
                    </a:lnTo>
                    <a:lnTo>
                      <a:pt x="1262063" y="0"/>
                    </a:lnTo>
                    <a:lnTo>
                      <a:pt x="1202531" y="64294"/>
                    </a:lnTo>
                    <a:lnTo>
                      <a:pt x="1138238" y="14287"/>
                    </a:lnTo>
                    <a:lnTo>
                      <a:pt x="1038225" y="19050"/>
                    </a:lnTo>
                    <a:lnTo>
                      <a:pt x="1009650" y="57150"/>
                    </a:lnTo>
                    <a:lnTo>
                      <a:pt x="938213" y="28575"/>
                    </a:lnTo>
                    <a:lnTo>
                      <a:pt x="869156" y="59531"/>
                    </a:lnTo>
                    <a:lnTo>
                      <a:pt x="800100" y="57150"/>
                    </a:lnTo>
                    <a:lnTo>
                      <a:pt x="750094" y="109537"/>
                    </a:lnTo>
                    <a:lnTo>
                      <a:pt x="716756" y="164306"/>
                    </a:lnTo>
                    <a:lnTo>
                      <a:pt x="714375" y="202406"/>
                    </a:lnTo>
                    <a:lnTo>
                      <a:pt x="731044" y="245269"/>
                    </a:lnTo>
                    <a:lnTo>
                      <a:pt x="750094" y="278606"/>
                    </a:lnTo>
                    <a:lnTo>
                      <a:pt x="783431" y="278606"/>
                    </a:lnTo>
                    <a:lnTo>
                      <a:pt x="800100" y="311944"/>
                    </a:lnTo>
                    <a:lnTo>
                      <a:pt x="831056" y="352425"/>
                    </a:lnTo>
                    <a:lnTo>
                      <a:pt x="857250" y="326231"/>
                    </a:lnTo>
                    <a:lnTo>
                      <a:pt x="857250" y="297656"/>
                    </a:lnTo>
                    <a:lnTo>
                      <a:pt x="897731" y="290512"/>
                    </a:lnTo>
                    <a:lnTo>
                      <a:pt x="935831" y="250031"/>
                    </a:lnTo>
                    <a:lnTo>
                      <a:pt x="976313" y="290512"/>
                    </a:lnTo>
                    <a:lnTo>
                      <a:pt x="983456" y="297656"/>
                    </a:lnTo>
                    <a:lnTo>
                      <a:pt x="952500" y="345281"/>
                    </a:lnTo>
                    <a:lnTo>
                      <a:pt x="1000125" y="426244"/>
                    </a:lnTo>
                    <a:lnTo>
                      <a:pt x="945356" y="435769"/>
                    </a:lnTo>
                    <a:lnTo>
                      <a:pt x="895350" y="438150"/>
                    </a:lnTo>
                    <a:lnTo>
                      <a:pt x="866775" y="416719"/>
                    </a:lnTo>
                    <a:lnTo>
                      <a:pt x="888206" y="383381"/>
                    </a:lnTo>
                    <a:lnTo>
                      <a:pt x="916781" y="388144"/>
                    </a:lnTo>
                    <a:lnTo>
                      <a:pt x="938213" y="354806"/>
                    </a:lnTo>
                    <a:lnTo>
                      <a:pt x="931069" y="333375"/>
                    </a:lnTo>
                    <a:lnTo>
                      <a:pt x="845344" y="342900"/>
                    </a:lnTo>
                    <a:lnTo>
                      <a:pt x="826294" y="352425"/>
                    </a:lnTo>
                    <a:lnTo>
                      <a:pt x="783431" y="328612"/>
                    </a:lnTo>
                    <a:lnTo>
                      <a:pt x="747713" y="338137"/>
                    </a:lnTo>
                    <a:lnTo>
                      <a:pt x="626269" y="278606"/>
                    </a:lnTo>
                    <a:lnTo>
                      <a:pt x="471488" y="221456"/>
                    </a:lnTo>
                    <a:lnTo>
                      <a:pt x="419100" y="190500"/>
                    </a:lnTo>
                    <a:lnTo>
                      <a:pt x="376238" y="216694"/>
                    </a:lnTo>
                    <a:lnTo>
                      <a:pt x="333375" y="195262"/>
                    </a:lnTo>
                    <a:lnTo>
                      <a:pt x="297656" y="240506"/>
                    </a:lnTo>
                    <a:lnTo>
                      <a:pt x="283369" y="278606"/>
                    </a:lnTo>
                    <a:lnTo>
                      <a:pt x="271463" y="295275"/>
                    </a:lnTo>
                    <a:lnTo>
                      <a:pt x="230981" y="292894"/>
                    </a:lnTo>
                    <a:lnTo>
                      <a:pt x="202406" y="300037"/>
                    </a:lnTo>
                    <a:lnTo>
                      <a:pt x="209550" y="340519"/>
                    </a:lnTo>
                    <a:lnTo>
                      <a:pt x="273844" y="423862"/>
                    </a:lnTo>
                    <a:lnTo>
                      <a:pt x="309563" y="471487"/>
                    </a:lnTo>
                    <a:lnTo>
                      <a:pt x="264319" y="457200"/>
                    </a:lnTo>
                    <a:lnTo>
                      <a:pt x="214313" y="466725"/>
                    </a:lnTo>
                    <a:lnTo>
                      <a:pt x="173831" y="411956"/>
                    </a:lnTo>
                    <a:lnTo>
                      <a:pt x="114300" y="392906"/>
                    </a:lnTo>
                    <a:lnTo>
                      <a:pt x="50006" y="371475"/>
                    </a:lnTo>
                    <a:lnTo>
                      <a:pt x="21431" y="395287"/>
                    </a:lnTo>
                    <a:lnTo>
                      <a:pt x="0" y="442912"/>
                    </a:lnTo>
                    <a:lnTo>
                      <a:pt x="9525" y="476250"/>
                    </a:lnTo>
                    <a:lnTo>
                      <a:pt x="80963" y="504825"/>
                    </a:lnTo>
                    <a:lnTo>
                      <a:pt x="116681" y="533400"/>
                    </a:lnTo>
                    <a:lnTo>
                      <a:pt x="123825" y="590550"/>
                    </a:lnTo>
                    <a:lnTo>
                      <a:pt x="130969" y="623887"/>
                    </a:lnTo>
                    <a:lnTo>
                      <a:pt x="145256" y="673894"/>
                    </a:lnTo>
                    <a:lnTo>
                      <a:pt x="147638" y="721519"/>
                    </a:lnTo>
                    <a:lnTo>
                      <a:pt x="183356" y="773906"/>
                    </a:lnTo>
                    <a:lnTo>
                      <a:pt x="178594" y="809625"/>
                    </a:lnTo>
                    <a:lnTo>
                      <a:pt x="178594" y="845344"/>
                    </a:lnTo>
                    <a:lnTo>
                      <a:pt x="166688" y="881062"/>
                    </a:lnTo>
                    <a:lnTo>
                      <a:pt x="154781" y="909637"/>
                    </a:lnTo>
                    <a:lnTo>
                      <a:pt x="195263" y="902494"/>
                    </a:lnTo>
                    <a:lnTo>
                      <a:pt x="250031" y="921544"/>
                    </a:lnTo>
                    <a:lnTo>
                      <a:pt x="269081" y="947737"/>
                    </a:lnTo>
                    <a:lnTo>
                      <a:pt x="276225" y="988219"/>
                    </a:lnTo>
                    <a:lnTo>
                      <a:pt x="290513" y="1026319"/>
                    </a:lnTo>
                    <a:lnTo>
                      <a:pt x="330994" y="1028700"/>
                    </a:lnTo>
                    <a:lnTo>
                      <a:pt x="373856" y="1050131"/>
                    </a:lnTo>
                    <a:lnTo>
                      <a:pt x="409575" y="1054894"/>
                    </a:lnTo>
                    <a:lnTo>
                      <a:pt x="459581" y="1095375"/>
                    </a:lnTo>
                    <a:lnTo>
                      <a:pt x="459581" y="1147762"/>
                    </a:lnTo>
                    <a:lnTo>
                      <a:pt x="445294" y="1183481"/>
                    </a:lnTo>
                    <a:lnTo>
                      <a:pt x="426244" y="1212056"/>
                    </a:lnTo>
                    <a:lnTo>
                      <a:pt x="371475" y="1273969"/>
                    </a:lnTo>
                    <a:lnTo>
                      <a:pt x="357188" y="1300162"/>
                    </a:lnTo>
                    <a:lnTo>
                      <a:pt x="373856" y="1350169"/>
                    </a:lnTo>
                    <a:lnTo>
                      <a:pt x="361950" y="1371600"/>
                    </a:lnTo>
                    <a:lnTo>
                      <a:pt x="350044" y="1409700"/>
                    </a:lnTo>
                    <a:lnTo>
                      <a:pt x="428625" y="1378744"/>
                    </a:lnTo>
                    <a:lnTo>
                      <a:pt x="550069" y="1300162"/>
                    </a:lnTo>
                    <a:lnTo>
                      <a:pt x="781050" y="1297781"/>
                    </a:lnTo>
                    <a:lnTo>
                      <a:pt x="909638" y="1404937"/>
                    </a:lnTo>
                    <a:lnTo>
                      <a:pt x="966788" y="1447800"/>
                    </a:lnTo>
                    <a:cubicBezTo>
                      <a:pt x="967582" y="1470819"/>
                      <a:pt x="968375" y="1493837"/>
                      <a:pt x="969169" y="1516856"/>
                    </a:cubicBezTo>
                    <a:lnTo>
                      <a:pt x="1012031" y="1593056"/>
                    </a:lnTo>
                    <a:lnTo>
                      <a:pt x="1054894" y="1707356"/>
                    </a:lnTo>
                    <a:lnTo>
                      <a:pt x="1178719" y="1697831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9" name="Freeform 12"/>
              <p:cNvSpPr/>
              <p:nvPr/>
            </p:nvSpPr>
            <p:spPr>
              <a:xfrm>
                <a:off x="3993955" y="2954098"/>
                <a:ext cx="832565" cy="1132298"/>
              </a:xfrm>
              <a:custGeom>
                <a:avLst/>
                <a:gdLst>
                  <a:gd name="connsiteX0" fmla="*/ 409575 w 1183481"/>
                  <a:gd name="connsiteY0" fmla="*/ 888207 h 1738313"/>
                  <a:gd name="connsiteX1" fmla="*/ 309563 w 1183481"/>
                  <a:gd name="connsiteY1" fmla="*/ 962025 h 1738313"/>
                  <a:gd name="connsiteX2" fmla="*/ 273844 w 1183481"/>
                  <a:gd name="connsiteY2" fmla="*/ 992982 h 1738313"/>
                  <a:gd name="connsiteX3" fmla="*/ 197644 w 1183481"/>
                  <a:gd name="connsiteY3" fmla="*/ 1021557 h 1738313"/>
                  <a:gd name="connsiteX4" fmla="*/ 0 w 1183481"/>
                  <a:gd name="connsiteY4" fmla="*/ 1166813 h 1738313"/>
                  <a:gd name="connsiteX5" fmla="*/ 0 w 1183481"/>
                  <a:gd name="connsiteY5" fmla="*/ 1273969 h 1738313"/>
                  <a:gd name="connsiteX6" fmla="*/ 71438 w 1183481"/>
                  <a:gd name="connsiteY6" fmla="*/ 1273969 h 1738313"/>
                  <a:gd name="connsiteX7" fmla="*/ 107156 w 1183481"/>
                  <a:gd name="connsiteY7" fmla="*/ 1290638 h 1738313"/>
                  <a:gd name="connsiteX8" fmla="*/ 126206 w 1183481"/>
                  <a:gd name="connsiteY8" fmla="*/ 1388269 h 1738313"/>
                  <a:gd name="connsiteX9" fmla="*/ 164306 w 1183481"/>
                  <a:gd name="connsiteY9" fmla="*/ 1562100 h 1738313"/>
                  <a:gd name="connsiteX10" fmla="*/ 304800 w 1183481"/>
                  <a:gd name="connsiteY10" fmla="*/ 1569244 h 1738313"/>
                  <a:gd name="connsiteX11" fmla="*/ 426244 w 1183481"/>
                  <a:gd name="connsiteY11" fmla="*/ 1535907 h 1738313"/>
                  <a:gd name="connsiteX12" fmla="*/ 509588 w 1183481"/>
                  <a:gd name="connsiteY12" fmla="*/ 1602582 h 1738313"/>
                  <a:gd name="connsiteX13" fmla="*/ 502444 w 1183481"/>
                  <a:gd name="connsiteY13" fmla="*/ 1638300 h 1738313"/>
                  <a:gd name="connsiteX14" fmla="*/ 483394 w 1183481"/>
                  <a:gd name="connsiteY14" fmla="*/ 1662113 h 1738313"/>
                  <a:gd name="connsiteX15" fmla="*/ 573881 w 1183481"/>
                  <a:gd name="connsiteY15" fmla="*/ 1738313 h 1738313"/>
                  <a:gd name="connsiteX16" fmla="*/ 623888 w 1183481"/>
                  <a:gd name="connsiteY16" fmla="*/ 1738313 h 1738313"/>
                  <a:gd name="connsiteX17" fmla="*/ 626269 w 1183481"/>
                  <a:gd name="connsiteY17" fmla="*/ 1643063 h 1738313"/>
                  <a:gd name="connsiteX18" fmla="*/ 702469 w 1183481"/>
                  <a:gd name="connsiteY18" fmla="*/ 1545432 h 1738313"/>
                  <a:gd name="connsiteX19" fmla="*/ 838200 w 1183481"/>
                  <a:gd name="connsiteY19" fmla="*/ 1431132 h 1738313"/>
                  <a:gd name="connsiteX20" fmla="*/ 878681 w 1183481"/>
                  <a:gd name="connsiteY20" fmla="*/ 1381125 h 1738313"/>
                  <a:gd name="connsiteX21" fmla="*/ 957263 w 1183481"/>
                  <a:gd name="connsiteY21" fmla="*/ 1378744 h 1738313"/>
                  <a:gd name="connsiteX22" fmla="*/ 1047750 w 1183481"/>
                  <a:gd name="connsiteY22" fmla="*/ 1257300 h 1738313"/>
                  <a:gd name="connsiteX23" fmla="*/ 1064419 w 1183481"/>
                  <a:gd name="connsiteY23" fmla="*/ 1243013 h 1738313"/>
                  <a:gd name="connsiteX24" fmla="*/ 1121569 w 1183481"/>
                  <a:gd name="connsiteY24" fmla="*/ 1271588 h 1738313"/>
                  <a:gd name="connsiteX25" fmla="*/ 1133475 w 1183481"/>
                  <a:gd name="connsiteY25" fmla="*/ 1212057 h 1738313"/>
                  <a:gd name="connsiteX26" fmla="*/ 1176338 w 1183481"/>
                  <a:gd name="connsiteY26" fmla="*/ 1212057 h 1738313"/>
                  <a:gd name="connsiteX27" fmla="*/ 1183481 w 1183481"/>
                  <a:gd name="connsiteY27" fmla="*/ 1176338 h 1738313"/>
                  <a:gd name="connsiteX28" fmla="*/ 1069181 w 1183481"/>
                  <a:gd name="connsiteY28" fmla="*/ 1112044 h 1738313"/>
                  <a:gd name="connsiteX29" fmla="*/ 997744 w 1183481"/>
                  <a:gd name="connsiteY29" fmla="*/ 1028700 h 1738313"/>
                  <a:gd name="connsiteX30" fmla="*/ 997744 w 1183481"/>
                  <a:gd name="connsiteY30" fmla="*/ 971550 h 1738313"/>
                  <a:gd name="connsiteX31" fmla="*/ 921544 w 1183481"/>
                  <a:gd name="connsiteY31" fmla="*/ 862013 h 1738313"/>
                  <a:gd name="connsiteX32" fmla="*/ 873919 w 1183481"/>
                  <a:gd name="connsiteY32" fmla="*/ 862013 h 1738313"/>
                  <a:gd name="connsiteX33" fmla="*/ 838200 w 1183481"/>
                  <a:gd name="connsiteY33" fmla="*/ 816769 h 1738313"/>
                  <a:gd name="connsiteX34" fmla="*/ 823913 w 1183481"/>
                  <a:gd name="connsiteY34" fmla="*/ 742950 h 1738313"/>
                  <a:gd name="connsiteX35" fmla="*/ 850106 w 1183481"/>
                  <a:gd name="connsiteY35" fmla="*/ 664369 h 1738313"/>
                  <a:gd name="connsiteX36" fmla="*/ 885825 w 1183481"/>
                  <a:gd name="connsiteY36" fmla="*/ 600075 h 1738313"/>
                  <a:gd name="connsiteX37" fmla="*/ 881063 w 1183481"/>
                  <a:gd name="connsiteY37" fmla="*/ 466725 h 1738313"/>
                  <a:gd name="connsiteX38" fmla="*/ 888206 w 1183481"/>
                  <a:gd name="connsiteY38" fmla="*/ 381000 h 1738313"/>
                  <a:gd name="connsiteX39" fmla="*/ 778669 w 1183481"/>
                  <a:gd name="connsiteY39" fmla="*/ 154782 h 1738313"/>
                  <a:gd name="connsiteX40" fmla="*/ 723900 w 1183481"/>
                  <a:gd name="connsiteY40" fmla="*/ 0 h 1738313"/>
                  <a:gd name="connsiteX41" fmla="*/ 311944 w 1183481"/>
                  <a:gd name="connsiteY41" fmla="*/ 2382 h 1738313"/>
                  <a:gd name="connsiteX42" fmla="*/ 273844 w 1183481"/>
                  <a:gd name="connsiteY42" fmla="*/ 195263 h 1738313"/>
                  <a:gd name="connsiteX43" fmla="*/ 347663 w 1183481"/>
                  <a:gd name="connsiteY43" fmla="*/ 288132 h 1738313"/>
                  <a:gd name="connsiteX44" fmla="*/ 345281 w 1183481"/>
                  <a:gd name="connsiteY44" fmla="*/ 519113 h 1738313"/>
                  <a:gd name="connsiteX45" fmla="*/ 454819 w 1183481"/>
                  <a:gd name="connsiteY45" fmla="*/ 604838 h 1738313"/>
                  <a:gd name="connsiteX46" fmla="*/ 447675 w 1183481"/>
                  <a:gd name="connsiteY46" fmla="*/ 688182 h 1738313"/>
                  <a:gd name="connsiteX47" fmla="*/ 457200 w 1183481"/>
                  <a:gd name="connsiteY47" fmla="*/ 735807 h 1738313"/>
                  <a:gd name="connsiteX48" fmla="*/ 361950 w 1183481"/>
                  <a:gd name="connsiteY48" fmla="*/ 816769 h 1738313"/>
                  <a:gd name="connsiteX49" fmla="*/ 409575 w 1183481"/>
                  <a:gd name="connsiteY49" fmla="*/ 888207 h 1738313"/>
                  <a:gd name="connsiteX0" fmla="*/ 409575 w 1183481"/>
                  <a:gd name="connsiteY0" fmla="*/ 888207 h 1738313"/>
                  <a:gd name="connsiteX1" fmla="*/ 309563 w 1183481"/>
                  <a:gd name="connsiteY1" fmla="*/ 962025 h 1738313"/>
                  <a:gd name="connsiteX2" fmla="*/ 273844 w 1183481"/>
                  <a:gd name="connsiteY2" fmla="*/ 992982 h 1738313"/>
                  <a:gd name="connsiteX3" fmla="*/ 197644 w 1183481"/>
                  <a:gd name="connsiteY3" fmla="*/ 1021557 h 1738313"/>
                  <a:gd name="connsiteX4" fmla="*/ 0 w 1183481"/>
                  <a:gd name="connsiteY4" fmla="*/ 1166813 h 1738313"/>
                  <a:gd name="connsiteX5" fmla="*/ 0 w 1183481"/>
                  <a:gd name="connsiteY5" fmla="*/ 1273969 h 1738313"/>
                  <a:gd name="connsiteX6" fmla="*/ 71438 w 1183481"/>
                  <a:gd name="connsiteY6" fmla="*/ 1273969 h 1738313"/>
                  <a:gd name="connsiteX7" fmla="*/ 107156 w 1183481"/>
                  <a:gd name="connsiteY7" fmla="*/ 1290638 h 1738313"/>
                  <a:gd name="connsiteX8" fmla="*/ 126206 w 1183481"/>
                  <a:gd name="connsiteY8" fmla="*/ 1388269 h 1738313"/>
                  <a:gd name="connsiteX9" fmla="*/ 164306 w 1183481"/>
                  <a:gd name="connsiteY9" fmla="*/ 1562100 h 1738313"/>
                  <a:gd name="connsiteX10" fmla="*/ 304800 w 1183481"/>
                  <a:gd name="connsiteY10" fmla="*/ 1569244 h 1738313"/>
                  <a:gd name="connsiteX11" fmla="*/ 426244 w 1183481"/>
                  <a:gd name="connsiteY11" fmla="*/ 1535907 h 1738313"/>
                  <a:gd name="connsiteX12" fmla="*/ 509588 w 1183481"/>
                  <a:gd name="connsiteY12" fmla="*/ 1602582 h 1738313"/>
                  <a:gd name="connsiteX13" fmla="*/ 502444 w 1183481"/>
                  <a:gd name="connsiteY13" fmla="*/ 1638300 h 1738313"/>
                  <a:gd name="connsiteX14" fmla="*/ 483394 w 1183481"/>
                  <a:gd name="connsiteY14" fmla="*/ 1662113 h 1738313"/>
                  <a:gd name="connsiteX15" fmla="*/ 573881 w 1183481"/>
                  <a:gd name="connsiteY15" fmla="*/ 1738313 h 1738313"/>
                  <a:gd name="connsiteX16" fmla="*/ 623888 w 1183481"/>
                  <a:gd name="connsiteY16" fmla="*/ 1738313 h 1738313"/>
                  <a:gd name="connsiteX17" fmla="*/ 626269 w 1183481"/>
                  <a:gd name="connsiteY17" fmla="*/ 1643063 h 1738313"/>
                  <a:gd name="connsiteX18" fmla="*/ 702469 w 1183481"/>
                  <a:gd name="connsiteY18" fmla="*/ 1545432 h 1738313"/>
                  <a:gd name="connsiteX19" fmla="*/ 838200 w 1183481"/>
                  <a:gd name="connsiteY19" fmla="*/ 1431132 h 1738313"/>
                  <a:gd name="connsiteX20" fmla="*/ 878681 w 1183481"/>
                  <a:gd name="connsiteY20" fmla="*/ 1381125 h 1738313"/>
                  <a:gd name="connsiteX21" fmla="*/ 957263 w 1183481"/>
                  <a:gd name="connsiteY21" fmla="*/ 1378744 h 1738313"/>
                  <a:gd name="connsiteX22" fmla="*/ 1047750 w 1183481"/>
                  <a:gd name="connsiteY22" fmla="*/ 1257300 h 1738313"/>
                  <a:gd name="connsiteX23" fmla="*/ 1064419 w 1183481"/>
                  <a:gd name="connsiteY23" fmla="*/ 1243013 h 1738313"/>
                  <a:gd name="connsiteX24" fmla="*/ 1121569 w 1183481"/>
                  <a:gd name="connsiteY24" fmla="*/ 1271588 h 1738313"/>
                  <a:gd name="connsiteX25" fmla="*/ 1133475 w 1183481"/>
                  <a:gd name="connsiteY25" fmla="*/ 1212057 h 1738313"/>
                  <a:gd name="connsiteX26" fmla="*/ 1176338 w 1183481"/>
                  <a:gd name="connsiteY26" fmla="*/ 1212057 h 1738313"/>
                  <a:gd name="connsiteX27" fmla="*/ 1183481 w 1183481"/>
                  <a:gd name="connsiteY27" fmla="*/ 1176338 h 1738313"/>
                  <a:gd name="connsiteX28" fmla="*/ 1069181 w 1183481"/>
                  <a:gd name="connsiteY28" fmla="*/ 1112044 h 1738313"/>
                  <a:gd name="connsiteX29" fmla="*/ 997744 w 1183481"/>
                  <a:gd name="connsiteY29" fmla="*/ 1028700 h 1738313"/>
                  <a:gd name="connsiteX30" fmla="*/ 997744 w 1183481"/>
                  <a:gd name="connsiteY30" fmla="*/ 971550 h 1738313"/>
                  <a:gd name="connsiteX31" fmla="*/ 921544 w 1183481"/>
                  <a:gd name="connsiteY31" fmla="*/ 862013 h 1738313"/>
                  <a:gd name="connsiteX32" fmla="*/ 873919 w 1183481"/>
                  <a:gd name="connsiteY32" fmla="*/ 862013 h 1738313"/>
                  <a:gd name="connsiteX33" fmla="*/ 838200 w 1183481"/>
                  <a:gd name="connsiteY33" fmla="*/ 816769 h 1738313"/>
                  <a:gd name="connsiteX34" fmla="*/ 823913 w 1183481"/>
                  <a:gd name="connsiteY34" fmla="*/ 742950 h 1738313"/>
                  <a:gd name="connsiteX35" fmla="*/ 850106 w 1183481"/>
                  <a:gd name="connsiteY35" fmla="*/ 664369 h 1738313"/>
                  <a:gd name="connsiteX36" fmla="*/ 885825 w 1183481"/>
                  <a:gd name="connsiteY36" fmla="*/ 600075 h 1738313"/>
                  <a:gd name="connsiteX37" fmla="*/ 881063 w 1183481"/>
                  <a:gd name="connsiteY37" fmla="*/ 466725 h 1738313"/>
                  <a:gd name="connsiteX38" fmla="*/ 888206 w 1183481"/>
                  <a:gd name="connsiteY38" fmla="*/ 381000 h 1738313"/>
                  <a:gd name="connsiteX39" fmla="*/ 778669 w 1183481"/>
                  <a:gd name="connsiteY39" fmla="*/ 154782 h 1738313"/>
                  <a:gd name="connsiteX40" fmla="*/ 723900 w 1183481"/>
                  <a:gd name="connsiteY40" fmla="*/ 0 h 1738313"/>
                  <a:gd name="connsiteX41" fmla="*/ 307182 w 1183481"/>
                  <a:gd name="connsiteY41" fmla="*/ 4763 h 1738313"/>
                  <a:gd name="connsiteX42" fmla="*/ 273844 w 1183481"/>
                  <a:gd name="connsiteY42" fmla="*/ 195263 h 1738313"/>
                  <a:gd name="connsiteX43" fmla="*/ 347663 w 1183481"/>
                  <a:gd name="connsiteY43" fmla="*/ 288132 h 1738313"/>
                  <a:gd name="connsiteX44" fmla="*/ 345281 w 1183481"/>
                  <a:gd name="connsiteY44" fmla="*/ 519113 h 1738313"/>
                  <a:gd name="connsiteX45" fmla="*/ 454819 w 1183481"/>
                  <a:gd name="connsiteY45" fmla="*/ 604838 h 1738313"/>
                  <a:gd name="connsiteX46" fmla="*/ 447675 w 1183481"/>
                  <a:gd name="connsiteY46" fmla="*/ 688182 h 1738313"/>
                  <a:gd name="connsiteX47" fmla="*/ 457200 w 1183481"/>
                  <a:gd name="connsiteY47" fmla="*/ 735807 h 1738313"/>
                  <a:gd name="connsiteX48" fmla="*/ 361950 w 1183481"/>
                  <a:gd name="connsiteY48" fmla="*/ 816769 h 1738313"/>
                  <a:gd name="connsiteX49" fmla="*/ 409575 w 1183481"/>
                  <a:gd name="connsiteY49" fmla="*/ 888207 h 1738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183481" h="1738313">
                    <a:moveTo>
                      <a:pt x="409575" y="888207"/>
                    </a:moveTo>
                    <a:lnTo>
                      <a:pt x="309563" y="962025"/>
                    </a:lnTo>
                    <a:lnTo>
                      <a:pt x="273844" y="992982"/>
                    </a:lnTo>
                    <a:lnTo>
                      <a:pt x="197644" y="1021557"/>
                    </a:lnTo>
                    <a:lnTo>
                      <a:pt x="0" y="1166813"/>
                    </a:lnTo>
                    <a:lnTo>
                      <a:pt x="0" y="1273969"/>
                    </a:lnTo>
                    <a:lnTo>
                      <a:pt x="71438" y="1273969"/>
                    </a:lnTo>
                    <a:lnTo>
                      <a:pt x="107156" y="1290638"/>
                    </a:lnTo>
                    <a:lnTo>
                      <a:pt x="126206" y="1388269"/>
                    </a:lnTo>
                    <a:lnTo>
                      <a:pt x="164306" y="1562100"/>
                    </a:lnTo>
                    <a:lnTo>
                      <a:pt x="304800" y="1569244"/>
                    </a:lnTo>
                    <a:lnTo>
                      <a:pt x="426244" y="1535907"/>
                    </a:lnTo>
                    <a:lnTo>
                      <a:pt x="509588" y="1602582"/>
                    </a:lnTo>
                    <a:lnTo>
                      <a:pt x="502444" y="1638300"/>
                    </a:lnTo>
                    <a:lnTo>
                      <a:pt x="483394" y="1662113"/>
                    </a:lnTo>
                    <a:lnTo>
                      <a:pt x="573881" y="1738313"/>
                    </a:lnTo>
                    <a:lnTo>
                      <a:pt x="623888" y="1738313"/>
                    </a:lnTo>
                    <a:cubicBezTo>
                      <a:pt x="624682" y="1706563"/>
                      <a:pt x="625475" y="1674813"/>
                      <a:pt x="626269" y="1643063"/>
                    </a:cubicBezTo>
                    <a:lnTo>
                      <a:pt x="702469" y="1545432"/>
                    </a:lnTo>
                    <a:lnTo>
                      <a:pt x="838200" y="1431132"/>
                    </a:lnTo>
                    <a:lnTo>
                      <a:pt x="878681" y="1381125"/>
                    </a:lnTo>
                    <a:lnTo>
                      <a:pt x="957263" y="1378744"/>
                    </a:lnTo>
                    <a:lnTo>
                      <a:pt x="1047750" y="1257300"/>
                    </a:lnTo>
                    <a:lnTo>
                      <a:pt x="1064419" y="1243013"/>
                    </a:lnTo>
                    <a:lnTo>
                      <a:pt x="1121569" y="1271588"/>
                    </a:lnTo>
                    <a:lnTo>
                      <a:pt x="1133475" y="1212057"/>
                    </a:lnTo>
                    <a:lnTo>
                      <a:pt x="1176338" y="1212057"/>
                    </a:lnTo>
                    <a:lnTo>
                      <a:pt x="1183481" y="1176338"/>
                    </a:lnTo>
                    <a:lnTo>
                      <a:pt x="1069181" y="1112044"/>
                    </a:lnTo>
                    <a:lnTo>
                      <a:pt x="997744" y="1028700"/>
                    </a:lnTo>
                    <a:lnTo>
                      <a:pt x="997744" y="971550"/>
                    </a:lnTo>
                    <a:lnTo>
                      <a:pt x="921544" y="862013"/>
                    </a:lnTo>
                    <a:lnTo>
                      <a:pt x="873919" y="862013"/>
                    </a:lnTo>
                    <a:lnTo>
                      <a:pt x="838200" y="816769"/>
                    </a:lnTo>
                    <a:lnTo>
                      <a:pt x="823913" y="742950"/>
                    </a:lnTo>
                    <a:lnTo>
                      <a:pt x="850106" y="664369"/>
                    </a:lnTo>
                    <a:lnTo>
                      <a:pt x="885825" y="600075"/>
                    </a:lnTo>
                    <a:lnTo>
                      <a:pt x="881063" y="466725"/>
                    </a:lnTo>
                    <a:lnTo>
                      <a:pt x="888206" y="381000"/>
                    </a:lnTo>
                    <a:lnTo>
                      <a:pt x="778669" y="154782"/>
                    </a:lnTo>
                    <a:lnTo>
                      <a:pt x="723900" y="0"/>
                    </a:lnTo>
                    <a:lnTo>
                      <a:pt x="307182" y="4763"/>
                    </a:lnTo>
                    <a:lnTo>
                      <a:pt x="273844" y="195263"/>
                    </a:lnTo>
                    <a:lnTo>
                      <a:pt x="347663" y="288132"/>
                    </a:lnTo>
                    <a:lnTo>
                      <a:pt x="345281" y="519113"/>
                    </a:lnTo>
                    <a:lnTo>
                      <a:pt x="454819" y="604838"/>
                    </a:lnTo>
                    <a:lnTo>
                      <a:pt x="447675" y="688182"/>
                    </a:lnTo>
                    <a:lnTo>
                      <a:pt x="457200" y="735807"/>
                    </a:lnTo>
                    <a:lnTo>
                      <a:pt x="361950" y="816769"/>
                    </a:lnTo>
                    <a:lnTo>
                      <a:pt x="409575" y="888207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0" name="Freeform 15"/>
              <p:cNvSpPr/>
              <p:nvPr/>
            </p:nvSpPr>
            <p:spPr>
              <a:xfrm>
                <a:off x="5657283" y="1561930"/>
                <a:ext cx="1524568" cy="1214983"/>
              </a:xfrm>
              <a:custGeom>
                <a:avLst/>
                <a:gdLst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73969 w 2169319"/>
                  <a:gd name="connsiteY106" fmla="*/ 1783557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02582 h 1862138"/>
                  <a:gd name="connsiteX110" fmla="*/ 1097757 w 2169319"/>
                  <a:gd name="connsiteY110" fmla="*/ 1554957 h 1862138"/>
                  <a:gd name="connsiteX111" fmla="*/ 1057275 w 2169319"/>
                  <a:gd name="connsiteY111" fmla="*/ 1569244 h 1862138"/>
                  <a:gd name="connsiteX112" fmla="*/ 1057275 w 2169319"/>
                  <a:gd name="connsiteY112" fmla="*/ 1569244 h 1862138"/>
                  <a:gd name="connsiteX113" fmla="*/ 1028700 w 2169319"/>
                  <a:gd name="connsiteY113" fmla="*/ 1583532 h 1862138"/>
                  <a:gd name="connsiteX114" fmla="*/ 873919 w 2169319"/>
                  <a:gd name="connsiteY114" fmla="*/ 1581150 h 1862138"/>
                  <a:gd name="connsiteX115" fmla="*/ 845344 w 2169319"/>
                  <a:gd name="connsiteY115" fmla="*/ 1571625 h 1862138"/>
                  <a:gd name="connsiteX116" fmla="*/ 788194 w 2169319"/>
                  <a:gd name="connsiteY116" fmla="*/ 1512094 h 1862138"/>
                  <a:gd name="connsiteX117" fmla="*/ 752475 w 2169319"/>
                  <a:gd name="connsiteY117" fmla="*/ 1516857 h 1862138"/>
                  <a:gd name="connsiteX118" fmla="*/ 685800 w 2169319"/>
                  <a:gd name="connsiteY118" fmla="*/ 1571625 h 1862138"/>
                  <a:gd name="connsiteX119" fmla="*/ 638175 w 2169319"/>
                  <a:gd name="connsiteY119" fmla="*/ 1578769 h 1862138"/>
                  <a:gd name="connsiteX120" fmla="*/ 590550 w 2169319"/>
                  <a:gd name="connsiteY120" fmla="*/ 1566863 h 1862138"/>
                  <a:gd name="connsiteX121" fmla="*/ 552450 w 2169319"/>
                  <a:gd name="connsiteY121" fmla="*/ 1514475 h 1862138"/>
                  <a:gd name="connsiteX122" fmla="*/ 483394 w 2169319"/>
                  <a:gd name="connsiteY122" fmla="*/ 1552575 h 1862138"/>
                  <a:gd name="connsiteX123" fmla="*/ 388144 w 2169319"/>
                  <a:gd name="connsiteY123" fmla="*/ 1500188 h 1862138"/>
                  <a:gd name="connsiteX124" fmla="*/ 280988 w 2169319"/>
                  <a:gd name="connsiteY124" fmla="*/ 1516857 h 1862138"/>
                  <a:gd name="connsiteX125" fmla="*/ 207169 w 2169319"/>
                  <a:gd name="connsiteY125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73969 w 2169319"/>
                  <a:gd name="connsiteY106" fmla="*/ 1783557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4907 w 2169319"/>
                  <a:gd name="connsiteY109" fmla="*/ 1640682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8194 w 2169319"/>
                  <a:gd name="connsiteY117" fmla="*/ 1512094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388144 w 2169319"/>
                  <a:gd name="connsiteY124" fmla="*/ 1500188 h 1862138"/>
                  <a:gd name="connsiteX125" fmla="*/ 280988 w 2169319"/>
                  <a:gd name="connsiteY125" fmla="*/ 1516857 h 1862138"/>
                  <a:gd name="connsiteX126" fmla="*/ 207169 w 2169319"/>
                  <a:gd name="connsiteY126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73969 w 2169319"/>
                  <a:gd name="connsiteY106" fmla="*/ 1783557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8194 w 2169319"/>
                  <a:gd name="connsiteY117" fmla="*/ 1512094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388144 w 2169319"/>
                  <a:gd name="connsiteY124" fmla="*/ 1500188 h 1862138"/>
                  <a:gd name="connsiteX125" fmla="*/ 280988 w 2169319"/>
                  <a:gd name="connsiteY125" fmla="*/ 1516857 h 1862138"/>
                  <a:gd name="connsiteX126" fmla="*/ 207169 w 2169319"/>
                  <a:gd name="connsiteY126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62063 w 2169319"/>
                  <a:gd name="connsiteY106" fmla="*/ 1785938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8194 w 2169319"/>
                  <a:gd name="connsiteY117" fmla="*/ 1512094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388144 w 2169319"/>
                  <a:gd name="connsiteY124" fmla="*/ 1500188 h 1862138"/>
                  <a:gd name="connsiteX125" fmla="*/ 280988 w 2169319"/>
                  <a:gd name="connsiteY125" fmla="*/ 1516857 h 1862138"/>
                  <a:gd name="connsiteX126" fmla="*/ 207169 w 2169319"/>
                  <a:gd name="connsiteY126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62063 w 2169319"/>
                  <a:gd name="connsiteY106" fmla="*/ 1785938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5813 w 2169319"/>
                  <a:gd name="connsiteY117" fmla="*/ 1519238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388144 w 2169319"/>
                  <a:gd name="connsiteY124" fmla="*/ 1500188 h 1862138"/>
                  <a:gd name="connsiteX125" fmla="*/ 280988 w 2169319"/>
                  <a:gd name="connsiteY125" fmla="*/ 1516857 h 1862138"/>
                  <a:gd name="connsiteX126" fmla="*/ 207169 w 2169319"/>
                  <a:gd name="connsiteY126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62063 w 2169319"/>
                  <a:gd name="connsiteY106" fmla="*/ 1785938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5813 w 2169319"/>
                  <a:gd name="connsiteY117" fmla="*/ 1519238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419100 w 2169319"/>
                  <a:gd name="connsiteY124" fmla="*/ 1519238 h 1862138"/>
                  <a:gd name="connsiteX125" fmla="*/ 388144 w 2169319"/>
                  <a:gd name="connsiteY125" fmla="*/ 1500188 h 1862138"/>
                  <a:gd name="connsiteX126" fmla="*/ 280988 w 2169319"/>
                  <a:gd name="connsiteY126" fmla="*/ 1516857 h 1862138"/>
                  <a:gd name="connsiteX127" fmla="*/ 207169 w 2169319"/>
                  <a:gd name="connsiteY127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62063 w 2169319"/>
                  <a:gd name="connsiteY106" fmla="*/ 1785938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5813 w 2169319"/>
                  <a:gd name="connsiteY117" fmla="*/ 1519238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404813 w 2169319"/>
                  <a:gd name="connsiteY124" fmla="*/ 1521619 h 1862138"/>
                  <a:gd name="connsiteX125" fmla="*/ 388144 w 2169319"/>
                  <a:gd name="connsiteY125" fmla="*/ 1500188 h 1862138"/>
                  <a:gd name="connsiteX126" fmla="*/ 280988 w 2169319"/>
                  <a:gd name="connsiteY126" fmla="*/ 1516857 h 1862138"/>
                  <a:gd name="connsiteX127" fmla="*/ 207169 w 2169319"/>
                  <a:gd name="connsiteY127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9063 w 2169319"/>
                  <a:gd name="connsiteY8" fmla="*/ 1290638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62063 w 2169319"/>
                  <a:gd name="connsiteY106" fmla="*/ 1785938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5813 w 2169319"/>
                  <a:gd name="connsiteY117" fmla="*/ 1519238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404813 w 2169319"/>
                  <a:gd name="connsiteY124" fmla="*/ 1521619 h 1862138"/>
                  <a:gd name="connsiteX125" fmla="*/ 388144 w 2169319"/>
                  <a:gd name="connsiteY125" fmla="*/ 1500188 h 1862138"/>
                  <a:gd name="connsiteX126" fmla="*/ 273845 w 2169319"/>
                  <a:gd name="connsiteY126" fmla="*/ 1524000 h 1862138"/>
                  <a:gd name="connsiteX127" fmla="*/ 207169 w 2169319"/>
                  <a:gd name="connsiteY127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1919 w 2169319"/>
                  <a:gd name="connsiteY8" fmla="*/ 1288257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5 w 2169319"/>
                  <a:gd name="connsiteY15" fmla="*/ 1014413 h 1862138"/>
                  <a:gd name="connsiteX16" fmla="*/ 19050 w 2169319"/>
                  <a:gd name="connsiteY16" fmla="*/ 962025 h 1862138"/>
                  <a:gd name="connsiteX17" fmla="*/ 21432 w 2169319"/>
                  <a:gd name="connsiteY17" fmla="*/ 914400 h 1862138"/>
                  <a:gd name="connsiteX18" fmla="*/ 40482 w 2169319"/>
                  <a:gd name="connsiteY18" fmla="*/ 900113 h 1862138"/>
                  <a:gd name="connsiteX19" fmla="*/ 61913 w 2169319"/>
                  <a:gd name="connsiteY19" fmla="*/ 864394 h 1862138"/>
                  <a:gd name="connsiteX20" fmla="*/ 16669 w 2169319"/>
                  <a:gd name="connsiteY20" fmla="*/ 809625 h 1862138"/>
                  <a:gd name="connsiteX21" fmla="*/ 0 w 2169319"/>
                  <a:gd name="connsiteY21" fmla="*/ 757238 h 1862138"/>
                  <a:gd name="connsiteX22" fmla="*/ 0 w 2169319"/>
                  <a:gd name="connsiteY22" fmla="*/ 683419 h 1862138"/>
                  <a:gd name="connsiteX23" fmla="*/ 28575 w 2169319"/>
                  <a:gd name="connsiteY23" fmla="*/ 640557 h 1862138"/>
                  <a:gd name="connsiteX24" fmla="*/ 76200 w 2169319"/>
                  <a:gd name="connsiteY24" fmla="*/ 600075 h 1862138"/>
                  <a:gd name="connsiteX25" fmla="*/ 107157 w 2169319"/>
                  <a:gd name="connsiteY25" fmla="*/ 583407 h 1862138"/>
                  <a:gd name="connsiteX26" fmla="*/ 135732 w 2169319"/>
                  <a:gd name="connsiteY26" fmla="*/ 600075 h 1862138"/>
                  <a:gd name="connsiteX27" fmla="*/ 164307 w 2169319"/>
                  <a:gd name="connsiteY27" fmla="*/ 602457 h 1862138"/>
                  <a:gd name="connsiteX28" fmla="*/ 180975 w 2169319"/>
                  <a:gd name="connsiteY28" fmla="*/ 600075 h 1862138"/>
                  <a:gd name="connsiteX29" fmla="*/ 226219 w 2169319"/>
                  <a:gd name="connsiteY29" fmla="*/ 590550 h 1862138"/>
                  <a:gd name="connsiteX30" fmla="*/ 252413 w 2169319"/>
                  <a:gd name="connsiteY30" fmla="*/ 559594 h 1862138"/>
                  <a:gd name="connsiteX31" fmla="*/ 280988 w 2169319"/>
                  <a:gd name="connsiteY31" fmla="*/ 514350 h 1862138"/>
                  <a:gd name="connsiteX32" fmla="*/ 290513 w 2169319"/>
                  <a:gd name="connsiteY32" fmla="*/ 483394 h 1862138"/>
                  <a:gd name="connsiteX33" fmla="*/ 273844 w 2169319"/>
                  <a:gd name="connsiteY33" fmla="*/ 447675 h 1862138"/>
                  <a:gd name="connsiteX34" fmla="*/ 276225 w 2169319"/>
                  <a:gd name="connsiteY34" fmla="*/ 407194 h 1862138"/>
                  <a:gd name="connsiteX35" fmla="*/ 226219 w 2169319"/>
                  <a:gd name="connsiteY35" fmla="*/ 350044 h 1862138"/>
                  <a:gd name="connsiteX36" fmla="*/ 157163 w 2169319"/>
                  <a:gd name="connsiteY36" fmla="*/ 280988 h 1862138"/>
                  <a:gd name="connsiteX37" fmla="*/ 152400 w 2169319"/>
                  <a:gd name="connsiteY37" fmla="*/ 233363 h 1862138"/>
                  <a:gd name="connsiteX38" fmla="*/ 192882 w 2169319"/>
                  <a:gd name="connsiteY38" fmla="*/ 195263 h 1862138"/>
                  <a:gd name="connsiteX39" fmla="*/ 242888 w 2169319"/>
                  <a:gd name="connsiteY39" fmla="*/ 123825 h 1862138"/>
                  <a:gd name="connsiteX40" fmla="*/ 290513 w 2169319"/>
                  <a:gd name="connsiteY40" fmla="*/ 83344 h 1862138"/>
                  <a:gd name="connsiteX41" fmla="*/ 319088 w 2169319"/>
                  <a:gd name="connsiteY41" fmla="*/ 0 h 1862138"/>
                  <a:gd name="connsiteX42" fmla="*/ 540544 w 2169319"/>
                  <a:gd name="connsiteY42" fmla="*/ 304800 h 1862138"/>
                  <a:gd name="connsiteX43" fmla="*/ 552450 w 2169319"/>
                  <a:gd name="connsiteY43" fmla="*/ 316707 h 1862138"/>
                  <a:gd name="connsiteX44" fmla="*/ 597694 w 2169319"/>
                  <a:gd name="connsiteY44" fmla="*/ 257175 h 1862138"/>
                  <a:gd name="connsiteX45" fmla="*/ 626269 w 2169319"/>
                  <a:gd name="connsiteY45" fmla="*/ 238125 h 1862138"/>
                  <a:gd name="connsiteX46" fmla="*/ 621507 w 2169319"/>
                  <a:gd name="connsiteY46" fmla="*/ 169069 h 1862138"/>
                  <a:gd name="connsiteX47" fmla="*/ 633413 w 2169319"/>
                  <a:gd name="connsiteY47" fmla="*/ 140494 h 1862138"/>
                  <a:gd name="connsiteX48" fmla="*/ 719138 w 2169319"/>
                  <a:gd name="connsiteY48" fmla="*/ 140494 h 1862138"/>
                  <a:gd name="connsiteX49" fmla="*/ 752475 w 2169319"/>
                  <a:gd name="connsiteY49" fmla="*/ 147638 h 1862138"/>
                  <a:gd name="connsiteX50" fmla="*/ 764382 w 2169319"/>
                  <a:gd name="connsiteY50" fmla="*/ 197644 h 1862138"/>
                  <a:gd name="connsiteX51" fmla="*/ 809625 w 2169319"/>
                  <a:gd name="connsiteY51" fmla="*/ 214313 h 1862138"/>
                  <a:gd name="connsiteX52" fmla="*/ 847725 w 2169319"/>
                  <a:gd name="connsiteY52" fmla="*/ 264319 h 1862138"/>
                  <a:gd name="connsiteX53" fmla="*/ 890588 w 2169319"/>
                  <a:gd name="connsiteY53" fmla="*/ 280988 h 1862138"/>
                  <a:gd name="connsiteX54" fmla="*/ 950119 w 2169319"/>
                  <a:gd name="connsiteY54" fmla="*/ 235744 h 1862138"/>
                  <a:gd name="connsiteX55" fmla="*/ 1028700 w 2169319"/>
                  <a:gd name="connsiteY55" fmla="*/ 238125 h 1862138"/>
                  <a:gd name="connsiteX56" fmla="*/ 1095375 w 2169319"/>
                  <a:gd name="connsiteY56" fmla="*/ 157163 h 1862138"/>
                  <a:gd name="connsiteX57" fmla="*/ 1147763 w 2169319"/>
                  <a:gd name="connsiteY57" fmla="*/ 161925 h 1862138"/>
                  <a:gd name="connsiteX58" fmla="*/ 1166813 w 2169319"/>
                  <a:gd name="connsiteY58" fmla="*/ 145257 h 1862138"/>
                  <a:gd name="connsiteX59" fmla="*/ 1188244 w 2169319"/>
                  <a:gd name="connsiteY59" fmla="*/ 123825 h 1862138"/>
                  <a:gd name="connsiteX60" fmla="*/ 1259682 w 2169319"/>
                  <a:gd name="connsiteY60" fmla="*/ 123825 h 1862138"/>
                  <a:gd name="connsiteX61" fmla="*/ 1359694 w 2169319"/>
                  <a:gd name="connsiteY61" fmla="*/ 154782 h 1862138"/>
                  <a:gd name="connsiteX62" fmla="*/ 1423988 w 2169319"/>
                  <a:gd name="connsiteY62" fmla="*/ 250032 h 1862138"/>
                  <a:gd name="connsiteX63" fmla="*/ 1440657 w 2169319"/>
                  <a:gd name="connsiteY63" fmla="*/ 264319 h 1862138"/>
                  <a:gd name="connsiteX64" fmla="*/ 1454944 w 2169319"/>
                  <a:gd name="connsiteY64" fmla="*/ 304800 h 1862138"/>
                  <a:gd name="connsiteX65" fmla="*/ 1583532 w 2169319"/>
                  <a:gd name="connsiteY65" fmla="*/ 321469 h 1862138"/>
                  <a:gd name="connsiteX66" fmla="*/ 1654969 w 2169319"/>
                  <a:gd name="connsiteY66" fmla="*/ 423863 h 1862138"/>
                  <a:gd name="connsiteX67" fmla="*/ 1728788 w 2169319"/>
                  <a:gd name="connsiteY67" fmla="*/ 454819 h 1862138"/>
                  <a:gd name="connsiteX68" fmla="*/ 1864519 w 2169319"/>
                  <a:gd name="connsiteY68" fmla="*/ 466725 h 1862138"/>
                  <a:gd name="connsiteX69" fmla="*/ 1909763 w 2169319"/>
                  <a:gd name="connsiteY69" fmla="*/ 450057 h 1862138"/>
                  <a:gd name="connsiteX70" fmla="*/ 1995488 w 2169319"/>
                  <a:gd name="connsiteY70" fmla="*/ 364332 h 1862138"/>
                  <a:gd name="connsiteX71" fmla="*/ 2021682 w 2169319"/>
                  <a:gd name="connsiteY71" fmla="*/ 400050 h 1862138"/>
                  <a:gd name="connsiteX72" fmla="*/ 2069307 w 2169319"/>
                  <a:gd name="connsiteY72" fmla="*/ 435769 h 1862138"/>
                  <a:gd name="connsiteX73" fmla="*/ 2093119 w 2169319"/>
                  <a:gd name="connsiteY73" fmla="*/ 466725 h 1862138"/>
                  <a:gd name="connsiteX74" fmla="*/ 2105025 w 2169319"/>
                  <a:gd name="connsiteY74" fmla="*/ 488157 h 1862138"/>
                  <a:gd name="connsiteX75" fmla="*/ 2169319 w 2169319"/>
                  <a:gd name="connsiteY75" fmla="*/ 483394 h 1862138"/>
                  <a:gd name="connsiteX76" fmla="*/ 2169319 w 2169319"/>
                  <a:gd name="connsiteY76" fmla="*/ 521494 h 1862138"/>
                  <a:gd name="connsiteX77" fmla="*/ 2119313 w 2169319"/>
                  <a:gd name="connsiteY77" fmla="*/ 521494 h 1862138"/>
                  <a:gd name="connsiteX78" fmla="*/ 2045494 w 2169319"/>
                  <a:gd name="connsiteY78" fmla="*/ 578644 h 1862138"/>
                  <a:gd name="connsiteX79" fmla="*/ 2090738 w 2169319"/>
                  <a:gd name="connsiteY79" fmla="*/ 633413 h 1862138"/>
                  <a:gd name="connsiteX80" fmla="*/ 2097882 w 2169319"/>
                  <a:gd name="connsiteY80" fmla="*/ 690563 h 1862138"/>
                  <a:gd name="connsiteX81" fmla="*/ 2093119 w 2169319"/>
                  <a:gd name="connsiteY81" fmla="*/ 716757 h 1862138"/>
                  <a:gd name="connsiteX82" fmla="*/ 1905000 w 2169319"/>
                  <a:gd name="connsiteY82" fmla="*/ 831057 h 1862138"/>
                  <a:gd name="connsiteX83" fmla="*/ 1888332 w 2169319"/>
                  <a:gd name="connsiteY83" fmla="*/ 888207 h 1862138"/>
                  <a:gd name="connsiteX84" fmla="*/ 1895475 w 2169319"/>
                  <a:gd name="connsiteY84" fmla="*/ 1012032 h 1862138"/>
                  <a:gd name="connsiteX85" fmla="*/ 1940719 w 2169319"/>
                  <a:gd name="connsiteY85" fmla="*/ 1100138 h 1862138"/>
                  <a:gd name="connsiteX86" fmla="*/ 1978819 w 2169319"/>
                  <a:gd name="connsiteY86" fmla="*/ 1183482 h 1862138"/>
                  <a:gd name="connsiteX87" fmla="*/ 1966913 w 2169319"/>
                  <a:gd name="connsiteY87" fmla="*/ 1216819 h 1862138"/>
                  <a:gd name="connsiteX88" fmla="*/ 1952625 w 2169319"/>
                  <a:gd name="connsiteY88" fmla="*/ 1273969 h 1862138"/>
                  <a:gd name="connsiteX89" fmla="*/ 1907382 w 2169319"/>
                  <a:gd name="connsiteY89" fmla="*/ 1288257 h 1862138"/>
                  <a:gd name="connsiteX90" fmla="*/ 1885950 w 2169319"/>
                  <a:gd name="connsiteY90" fmla="*/ 1302544 h 1862138"/>
                  <a:gd name="connsiteX91" fmla="*/ 1850232 w 2169319"/>
                  <a:gd name="connsiteY91" fmla="*/ 1350169 h 1862138"/>
                  <a:gd name="connsiteX92" fmla="*/ 1828800 w 2169319"/>
                  <a:gd name="connsiteY92" fmla="*/ 1371600 h 1862138"/>
                  <a:gd name="connsiteX93" fmla="*/ 1783557 w 2169319"/>
                  <a:gd name="connsiteY93" fmla="*/ 1369219 h 1862138"/>
                  <a:gd name="connsiteX94" fmla="*/ 1752600 w 2169319"/>
                  <a:gd name="connsiteY94" fmla="*/ 1321594 h 1862138"/>
                  <a:gd name="connsiteX95" fmla="*/ 1674019 w 2169319"/>
                  <a:gd name="connsiteY95" fmla="*/ 1345407 h 1862138"/>
                  <a:gd name="connsiteX96" fmla="*/ 1626394 w 2169319"/>
                  <a:gd name="connsiteY96" fmla="*/ 1366838 h 1862138"/>
                  <a:gd name="connsiteX97" fmla="*/ 1552575 w 2169319"/>
                  <a:gd name="connsiteY97" fmla="*/ 1376363 h 1862138"/>
                  <a:gd name="connsiteX98" fmla="*/ 1507332 w 2169319"/>
                  <a:gd name="connsiteY98" fmla="*/ 1357313 h 1862138"/>
                  <a:gd name="connsiteX99" fmla="*/ 1447800 w 2169319"/>
                  <a:gd name="connsiteY99" fmla="*/ 1321594 h 1862138"/>
                  <a:gd name="connsiteX100" fmla="*/ 1407319 w 2169319"/>
                  <a:gd name="connsiteY100" fmla="*/ 1331119 h 1862138"/>
                  <a:gd name="connsiteX101" fmla="*/ 1390650 w 2169319"/>
                  <a:gd name="connsiteY101" fmla="*/ 1516857 h 1862138"/>
                  <a:gd name="connsiteX102" fmla="*/ 1359694 w 2169319"/>
                  <a:gd name="connsiteY102" fmla="*/ 1859757 h 1862138"/>
                  <a:gd name="connsiteX103" fmla="*/ 1357313 w 2169319"/>
                  <a:gd name="connsiteY103" fmla="*/ 1862138 h 1862138"/>
                  <a:gd name="connsiteX104" fmla="*/ 1312069 w 2169319"/>
                  <a:gd name="connsiteY104" fmla="*/ 1852613 h 1862138"/>
                  <a:gd name="connsiteX105" fmla="*/ 1285875 w 2169319"/>
                  <a:gd name="connsiteY105" fmla="*/ 1802607 h 1862138"/>
                  <a:gd name="connsiteX106" fmla="*/ 1262063 w 2169319"/>
                  <a:gd name="connsiteY106" fmla="*/ 1785938 h 1862138"/>
                  <a:gd name="connsiteX107" fmla="*/ 1204913 w 2169319"/>
                  <a:gd name="connsiteY107" fmla="*/ 1738313 h 1862138"/>
                  <a:gd name="connsiteX108" fmla="*/ 1166813 w 2169319"/>
                  <a:gd name="connsiteY108" fmla="*/ 1681163 h 1862138"/>
                  <a:gd name="connsiteX109" fmla="*/ 1150144 w 2169319"/>
                  <a:gd name="connsiteY109" fmla="*/ 1643064 h 1862138"/>
                  <a:gd name="connsiteX110" fmla="*/ 1150144 w 2169319"/>
                  <a:gd name="connsiteY110" fmla="*/ 1602582 h 1862138"/>
                  <a:gd name="connsiteX111" fmla="*/ 1097757 w 2169319"/>
                  <a:gd name="connsiteY111" fmla="*/ 1554957 h 1862138"/>
                  <a:gd name="connsiteX112" fmla="*/ 1057275 w 2169319"/>
                  <a:gd name="connsiteY112" fmla="*/ 1569244 h 1862138"/>
                  <a:gd name="connsiteX113" fmla="*/ 1057275 w 2169319"/>
                  <a:gd name="connsiteY113" fmla="*/ 1569244 h 1862138"/>
                  <a:gd name="connsiteX114" fmla="*/ 1028700 w 2169319"/>
                  <a:gd name="connsiteY114" fmla="*/ 1583532 h 1862138"/>
                  <a:gd name="connsiteX115" fmla="*/ 873919 w 2169319"/>
                  <a:gd name="connsiteY115" fmla="*/ 1581150 h 1862138"/>
                  <a:gd name="connsiteX116" fmla="*/ 845344 w 2169319"/>
                  <a:gd name="connsiteY116" fmla="*/ 1571625 h 1862138"/>
                  <a:gd name="connsiteX117" fmla="*/ 785813 w 2169319"/>
                  <a:gd name="connsiteY117" fmla="*/ 1519238 h 1862138"/>
                  <a:gd name="connsiteX118" fmla="*/ 752475 w 2169319"/>
                  <a:gd name="connsiteY118" fmla="*/ 1516857 h 1862138"/>
                  <a:gd name="connsiteX119" fmla="*/ 685800 w 2169319"/>
                  <a:gd name="connsiteY119" fmla="*/ 1571625 h 1862138"/>
                  <a:gd name="connsiteX120" fmla="*/ 638175 w 2169319"/>
                  <a:gd name="connsiteY120" fmla="*/ 1578769 h 1862138"/>
                  <a:gd name="connsiteX121" fmla="*/ 590550 w 2169319"/>
                  <a:gd name="connsiteY121" fmla="*/ 1566863 h 1862138"/>
                  <a:gd name="connsiteX122" fmla="*/ 552450 w 2169319"/>
                  <a:gd name="connsiteY122" fmla="*/ 1514475 h 1862138"/>
                  <a:gd name="connsiteX123" fmla="*/ 483394 w 2169319"/>
                  <a:gd name="connsiteY123" fmla="*/ 1552575 h 1862138"/>
                  <a:gd name="connsiteX124" fmla="*/ 404813 w 2169319"/>
                  <a:gd name="connsiteY124" fmla="*/ 1521619 h 1862138"/>
                  <a:gd name="connsiteX125" fmla="*/ 388144 w 2169319"/>
                  <a:gd name="connsiteY125" fmla="*/ 1500188 h 1862138"/>
                  <a:gd name="connsiteX126" fmla="*/ 273845 w 2169319"/>
                  <a:gd name="connsiteY126" fmla="*/ 1524000 h 1862138"/>
                  <a:gd name="connsiteX127" fmla="*/ 207169 w 2169319"/>
                  <a:gd name="connsiteY127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1919 w 2169319"/>
                  <a:gd name="connsiteY8" fmla="*/ 1288257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61913 w 2169319"/>
                  <a:gd name="connsiteY15" fmla="*/ 1028700 h 1862138"/>
                  <a:gd name="connsiteX16" fmla="*/ 47625 w 2169319"/>
                  <a:gd name="connsiteY16" fmla="*/ 1014413 h 1862138"/>
                  <a:gd name="connsiteX17" fmla="*/ 19050 w 2169319"/>
                  <a:gd name="connsiteY17" fmla="*/ 962025 h 1862138"/>
                  <a:gd name="connsiteX18" fmla="*/ 21432 w 2169319"/>
                  <a:gd name="connsiteY18" fmla="*/ 914400 h 1862138"/>
                  <a:gd name="connsiteX19" fmla="*/ 40482 w 2169319"/>
                  <a:gd name="connsiteY19" fmla="*/ 900113 h 1862138"/>
                  <a:gd name="connsiteX20" fmla="*/ 61913 w 2169319"/>
                  <a:gd name="connsiteY20" fmla="*/ 864394 h 1862138"/>
                  <a:gd name="connsiteX21" fmla="*/ 16669 w 2169319"/>
                  <a:gd name="connsiteY21" fmla="*/ 809625 h 1862138"/>
                  <a:gd name="connsiteX22" fmla="*/ 0 w 2169319"/>
                  <a:gd name="connsiteY22" fmla="*/ 757238 h 1862138"/>
                  <a:gd name="connsiteX23" fmla="*/ 0 w 2169319"/>
                  <a:gd name="connsiteY23" fmla="*/ 683419 h 1862138"/>
                  <a:gd name="connsiteX24" fmla="*/ 28575 w 2169319"/>
                  <a:gd name="connsiteY24" fmla="*/ 640557 h 1862138"/>
                  <a:gd name="connsiteX25" fmla="*/ 76200 w 2169319"/>
                  <a:gd name="connsiteY25" fmla="*/ 600075 h 1862138"/>
                  <a:gd name="connsiteX26" fmla="*/ 107157 w 2169319"/>
                  <a:gd name="connsiteY26" fmla="*/ 583407 h 1862138"/>
                  <a:gd name="connsiteX27" fmla="*/ 135732 w 2169319"/>
                  <a:gd name="connsiteY27" fmla="*/ 600075 h 1862138"/>
                  <a:gd name="connsiteX28" fmla="*/ 164307 w 2169319"/>
                  <a:gd name="connsiteY28" fmla="*/ 602457 h 1862138"/>
                  <a:gd name="connsiteX29" fmla="*/ 180975 w 2169319"/>
                  <a:gd name="connsiteY29" fmla="*/ 600075 h 1862138"/>
                  <a:gd name="connsiteX30" fmla="*/ 226219 w 2169319"/>
                  <a:gd name="connsiteY30" fmla="*/ 590550 h 1862138"/>
                  <a:gd name="connsiteX31" fmla="*/ 252413 w 2169319"/>
                  <a:gd name="connsiteY31" fmla="*/ 559594 h 1862138"/>
                  <a:gd name="connsiteX32" fmla="*/ 280988 w 2169319"/>
                  <a:gd name="connsiteY32" fmla="*/ 514350 h 1862138"/>
                  <a:gd name="connsiteX33" fmla="*/ 290513 w 2169319"/>
                  <a:gd name="connsiteY33" fmla="*/ 483394 h 1862138"/>
                  <a:gd name="connsiteX34" fmla="*/ 273844 w 2169319"/>
                  <a:gd name="connsiteY34" fmla="*/ 447675 h 1862138"/>
                  <a:gd name="connsiteX35" fmla="*/ 276225 w 2169319"/>
                  <a:gd name="connsiteY35" fmla="*/ 407194 h 1862138"/>
                  <a:gd name="connsiteX36" fmla="*/ 226219 w 2169319"/>
                  <a:gd name="connsiteY36" fmla="*/ 350044 h 1862138"/>
                  <a:gd name="connsiteX37" fmla="*/ 157163 w 2169319"/>
                  <a:gd name="connsiteY37" fmla="*/ 280988 h 1862138"/>
                  <a:gd name="connsiteX38" fmla="*/ 152400 w 2169319"/>
                  <a:gd name="connsiteY38" fmla="*/ 233363 h 1862138"/>
                  <a:gd name="connsiteX39" fmla="*/ 192882 w 2169319"/>
                  <a:gd name="connsiteY39" fmla="*/ 195263 h 1862138"/>
                  <a:gd name="connsiteX40" fmla="*/ 242888 w 2169319"/>
                  <a:gd name="connsiteY40" fmla="*/ 123825 h 1862138"/>
                  <a:gd name="connsiteX41" fmla="*/ 290513 w 2169319"/>
                  <a:gd name="connsiteY41" fmla="*/ 83344 h 1862138"/>
                  <a:gd name="connsiteX42" fmla="*/ 319088 w 2169319"/>
                  <a:gd name="connsiteY42" fmla="*/ 0 h 1862138"/>
                  <a:gd name="connsiteX43" fmla="*/ 540544 w 2169319"/>
                  <a:gd name="connsiteY43" fmla="*/ 304800 h 1862138"/>
                  <a:gd name="connsiteX44" fmla="*/ 552450 w 2169319"/>
                  <a:gd name="connsiteY44" fmla="*/ 316707 h 1862138"/>
                  <a:gd name="connsiteX45" fmla="*/ 597694 w 2169319"/>
                  <a:gd name="connsiteY45" fmla="*/ 257175 h 1862138"/>
                  <a:gd name="connsiteX46" fmla="*/ 626269 w 2169319"/>
                  <a:gd name="connsiteY46" fmla="*/ 238125 h 1862138"/>
                  <a:gd name="connsiteX47" fmla="*/ 621507 w 2169319"/>
                  <a:gd name="connsiteY47" fmla="*/ 169069 h 1862138"/>
                  <a:gd name="connsiteX48" fmla="*/ 633413 w 2169319"/>
                  <a:gd name="connsiteY48" fmla="*/ 140494 h 1862138"/>
                  <a:gd name="connsiteX49" fmla="*/ 719138 w 2169319"/>
                  <a:gd name="connsiteY49" fmla="*/ 140494 h 1862138"/>
                  <a:gd name="connsiteX50" fmla="*/ 752475 w 2169319"/>
                  <a:gd name="connsiteY50" fmla="*/ 147638 h 1862138"/>
                  <a:gd name="connsiteX51" fmla="*/ 764382 w 2169319"/>
                  <a:gd name="connsiteY51" fmla="*/ 197644 h 1862138"/>
                  <a:gd name="connsiteX52" fmla="*/ 809625 w 2169319"/>
                  <a:gd name="connsiteY52" fmla="*/ 214313 h 1862138"/>
                  <a:gd name="connsiteX53" fmla="*/ 847725 w 2169319"/>
                  <a:gd name="connsiteY53" fmla="*/ 264319 h 1862138"/>
                  <a:gd name="connsiteX54" fmla="*/ 890588 w 2169319"/>
                  <a:gd name="connsiteY54" fmla="*/ 280988 h 1862138"/>
                  <a:gd name="connsiteX55" fmla="*/ 950119 w 2169319"/>
                  <a:gd name="connsiteY55" fmla="*/ 235744 h 1862138"/>
                  <a:gd name="connsiteX56" fmla="*/ 1028700 w 2169319"/>
                  <a:gd name="connsiteY56" fmla="*/ 238125 h 1862138"/>
                  <a:gd name="connsiteX57" fmla="*/ 1095375 w 2169319"/>
                  <a:gd name="connsiteY57" fmla="*/ 157163 h 1862138"/>
                  <a:gd name="connsiteX58" fmla="*/ 1147763 w 2169319"/>
                  <a:gd name="connsiteY58" fmla="*/ 161925 h 1862138"/>
                  <a:gd name="connsiteX59" fmla="*/ 1166813 w 2169319"/>
                  <a:gd name="connsiteY59" fmla="*/ 145257 h 1862138"/>
                  <a:gd name="connsiteX60" fmla="*/ 1188244 w 2169319"/>
                  <a:gd name="connsiteY60" fmla="*/ 123825 h 1862138"/>
                  <a:gd name="connsiteX61" fmla="*/ 1259682 w 2169319"/>
                  <a:gd name="connsiteY61" fmla="*/ 123825 h 1862138"/>
                  <a:gd name="connsiteX62" fmla="*/ 1359694 w 2169319"/>
                  <a:gd name="connsiteY62" fmla="*/ 154782 h 1862138"/>
                  <a:gd name="connsiteX63" fmla="*/ 1423988 w 2169319"/>
                  <a:gd name="connsiteY63" fmla="*/ 250032 h 1862138"/>
                  <a:gd name="connsiteX64" fmla="*/ 1440657 w 2169319"/>
                  <a:gd name="connsiteY64" fmla="*/ 264319 h 1862138"/>
                  <a:gd name="connsiteX65" fmla="*/ 1454944 w 2169319"/>
                  <a:gd name="connsiteY65" fmla="*/ 304800 h 1862138"/>
                  <a:gd name="connsiteX66" fmla="*/ 1583532 w 2169319"/>
                  <a:gd name="connsiteY66" fmla="*/ 321469 h 1862138"/>
                  <a:gd name="connsiteX67" fmla="*/ 1654969 w 2169319"/>
                  <a:gd name="connsiteY67" fmla="*/ 423863 h 1862138"/>
                  <a:gd name="connsiteX68" fmla="*/ 1728788 w 2169319"/>
                  <a:gd name="connsiteY68" fmla="*/ 454819 h 1862138"/>
                  <a:gd name="connsiteX69" fmla="*/ 1864519 w 2169319"/>
                  <a:gd name="connsiteY69" fmla="*/ 466725 h 1862138"/>
                  <a:gd name="connsiteX70" fmla="*/ 1909763 w 2169319"/>
                  <a:gd name="connsiteY70" fmla="*/ 450057 h 1862138"/>
                  <a:gd name="connsiteX71" fmla="*/ 1995488 w 2169319"/>
                  <a:gd name="connsiteY71" fmla="*/ 364332 h 1862138"/>
                  <a:gd name="connsiteX72" fmla="*/ 2021682 w 2169319"/>
                  <a:gd name="connsiteY72" fmla="*/ 400050 h 1862138"/>
                  <a:gd name="connsiteX73" fmla="*/ 2069307 w 2169319"/>
                  <a:gd name="connsiteY73" fmla="*/ 435769 h 1862138"/>
                  <a:gd name="connsiteX74" fmla="*/ 2093119 w 2169319"/>
                  <a:gd name="connsiteY74" fmla="*/ 466725 h 1862138"/>
                  <a:gd name="connsiteX75" fmla="*/ 2105025 w 2169319"/>
                  <a:gd name="connsiteY75" fmla="*/ 488157 h 1862138"/>
                  <a:gd name="connsiteX76" fmla="*/ 2169319 w 2169319"/>
                  <a:gd name="connsiteY76" fmla="*/ 483394 h 1862138"/>
                  <a:gd name="connsiteX77" fmla="*/ 2169319 w 2169319"/>
                  <a:gd name="connsiteY77" fmla="*/ 521494 h 1862138"/>
                  <a:gd name="connsiteX78" fmla="*/ 2119313 w 2169319"/>
                  <a:gd name="connsiteY78" fmla="*/ 521494 h 1862138"/>
                  <a:gd name="connsiteX79" fmla="*/ 2045494 w 2169319"/>
                  <a:gd name="connsiteY79" fmla="*/ 578644 h 1862138"/>
                  <a:gd name="connsiteX80" fmla="*/ 2090738 w 2169319"/>
                  <a:gd name="connsiteY80" fmla="*/ 633413 h 1862138"/>
                  <a:gd name="connsiteX81" fmla="*/ 2097882 w 2169319"/>
                  <a:gd name="connsiteY81" fmla="*/ 690563 h 1862138"/>
                  <a:gd name="connsiteX82" fmla="*/ 2093119 w 2169319"/>
                  <a:gd name="connsiteY82" fmla="*/ 716757 h 1862138"/>
                  <a:gd name="connsiteX83" fmla="*/ 1905000 w 2169319"/>
                  <a:gd name="connsiteY83" fmla="*/ 831057 h 1862138"/>
                  <a:gd name="connsiteX84" fmla="*/ 1888332 w 2169319"/>
                  <a:gd name="connsiteY84" fmla="*/ 888207 h 1862138"/>
                  <a:gd name="connsiteX85" fmla="*/ 1895475 w 2169319"/>
                  <a:gd name="connsiteY85" fmla="*/ 1012032 h 1862138"/>
                  <a:gd name="connsiteX86" fmla="*/ 1940719 w 2169319"/>
                  <a:gd name="connsiteY86" fmla="*/ 1100138 h 1862138"/>
                  <a:gd name="connsiteX87" fmla="*/ 1978819 w 2169319"/>
                  <a:gd name="connsiteY87" fmla="*/ 1183482 h 1862138"/>
                  <a:gd name="connsiteX88" fmla="*/ 1966913 w 2169319"/>
                  <a:gd name="connsiteY88" fmla="*/ 1216819 h 1862138"/>
                  <a:gd name="connsiteX89" fmla="*/ 1952625 w 2169319"/>
                  <a:gd name="connsiteY89" fmla="*/ 1273969 h 1862138"/>
                  <a:gd name="connsiteX90" fmla="*/ 1907382 w 2169319"/>
                  <a:gd name="connsiteY90" fmla="*/ 1288257 h 1862138"/>
                  <a:gd name="connsiteX91" fmla="*/ 1885950 w 2169319"/>
                  <a:gd name="connsiteY91" fmla="*/ 1302544 h 1862138"/>
                  <a:gd name="connsiteX92" fmla="*/ 1850232 w 2169319"/>
                  <a:gd name="connsiteY92" fmla="*/ 1350169 h 1862138"/>
                  <a:gd name="connsiteX93" fmla="*/ 1828800 w 2169319"/>
                  <a:gd name="connsiteY93" fmla="*/ 1371600 h 1862138"/>
                  <a:gd name="connsiteX94" fmla="*/ 1783557 w 2169319"/>
                  <a:gd name="connsiteY94" fmla="*/ 1369219 h 1862138"/>
                  <a:gd name="connsiteX95" fmla="*/ 1752600 w 2169319"/>
                  <a:gd name="connsiteY95" fmla="*/ 1321594 h 1862138"/>
                  <a:gd name="connsiteX96" fmla="*/ 1674019 w 2169319"/>
                  <a:gd name="connsiteY96" fmla="*/ 1345407 h 1862138"/>
                  <a:gd name="connsiteX97" fmla="*/ 1626394 w 2169319"/>
                  <a:gd name="connsiteY97" fmla="*/ 1366838 h 1862138"/>
                  <a:gd name="connsiteX98" fmla="*/ 1552575 w 2169319"/>
                  <a:gd name="connsiteY98" fmla="*/ 1376363 h 1862138"/>
                  <a:gd name="connsiteX99" fmla="*/ 1507332 w 2169319"/>
                  <a:gd name="connsiteY99" fmla="*/ 1357313 h 1862138"/>
                  <a:gd name="connsiteX100" fmla="*/ 1447800 w 2169319"/>
                  <a:gd name="connsiteY100" fmla="*/ 1321594 h 1862138"/>
                  <a:gd name="connsiteX101" fmla="*/ 1407319 w 2169319"/>
                  <a:gd name="connsiteY101" fmla="*/ 1331119 h 1862138"/>
                  <a:gd name="connsiteX102" fmla="*/ 1390650 w 2169319"/>
                  <a:gd name="connsiteY102" fmla="*/ 1516857 h 1862138"/>
                  <a:gd name="connsiteX103" fmla="*/ 1359694 w 2169319"/>
                  <a:gd name="connsiteY103" fmla="*/ 1859757 h 1862138"/>
                  <a:gd name="connsiteX104" fmla="*/ 1357313 w 2169319"/>
                  <a:gd name="connsiteY104" fmla="*/ 1862138 h 1862138"/>
                  <a:gd name="connsiteX105" fmla="*/ 1312069 w 2169319"/>
                  <a:gd name="connsiteY105" fmla="*/ 1852613 h 1862138"/>
                  <a:gd name="connsiteX106" fmla="*/ 1285875 w 2169319"/>
                  <a:gd name="connsiteY106" fmla="*/ 1802607 h 1862138"/>
                  <a:gd name="connsiteX107" fmla="*/ 1262063 w 2169319"/>
                  <a:gd name="connsiteY107" fmla="*/ 1785938 h 1862138"/>
                  <a:gd name="connsiteX108" fmla="*/ 1204913 w 2169319"/>
                  <a:gd name="connsiteY108" fmla="*/ 1738313 h 1862138"/>
                  <a:gd name="connsiteX109" fmla="*/ 1166813 w 2169319"/>
                  <a:gd name="connsiteY109" fmla="*/ 1681163 h 1862138"/>
                  <a:gd name="connsiteX110" fmla="*/ 1150144 w 2169319"/>
                  <a:gd name="connsiteY110" fmla="*/ 1643064 h 1862138"/>
                  <a:gd name="connsiteX111" fmla="*/ 1150144 w 2169319"/>
                  <a:gd name="connsiteY111" fmla="*/ 1602582 h 1862138"/>
                  <a:gd name="connsiteX112" fmla="*/ 1097757 w 2169319"/>
                  <a:gd name="connsiteY112" fmla="*/ 1554957 h 1862138"/>
                  <a:gd name="connsiteX113" fmla="*/ 1057275 w 2169319"/>
                  <a:gd name="connsiteY113" fmla="*/ 1569244 h 1862138"/>
                  <a:gd name="connsiteX114" fmla="*/ 1057275 w 2169319"/>
                  <a:gd name="connsiteY114" fmla="*/ 1569244 h 1862138"/>
                  <a:gd name="connsiteX115" fmla="*/ 1028700 w 2169319"/>
                  <a:gd name="connsiteY115" fmla="*/ 1583532 h 1862138"/>
                  <a:gd name="connsiteX116" fmla="*/ 873919 w 2169319"/>
                  <a:gd name="connsiteY116" fmla="*/ 1581150 h 1862138"/>
                  <a:gd name="connsiteX117" fmla="*/ 845344 w 2169319"/>
                  <a:gd name="connsiteY117" fmla="*/ 1571625 h 1862138"/>
                  <a:gd name="connsiteX118" fmla="*/ 785813 w 2169319"/>
                  <a:gd name="connsiteY118" fmla="*/ 1519238 h 1862138"/>
                  <a:gd name="connsiteX119" fmla="*/ 752475 w 2169319"/>
                  <a:gd name="connsiteY119" fmla="*/ 1516857 h 1862138"/>
                  <a:gd name="connsiteX120" fmla="*/ 685800 w 2169319"/>
                  <a:gd name="connsiteY120" fmla="*/ 1571625 h 1862138"/>
                  <a:gd name="connsiteX121" fmla="*/ 638175 w 2169319"/>
                  <a:gd name="connsiteY121" fmla="*/ 1578769 h 1862138"/>
                  <a:gd name="connsiteX122" fmla="*/ 590550 w 2169319"/>
                  <a:gd name="connsiteY122" fmla="*/ 1566863 h 1862138"/>
                  <a:gd name="connsiteX123" fmla="*/ 552450 w 2169319"/>
                  <a:gd name="connsiteY123" fmla="*/ 1514475 h 1862138"/>
                  <a:gd name="connsiteX124" fmla="*/ 483394 w 2169319"/>
                  <a:gd name="connsiteY124" fmla="*/ 1552575 h 1862138"/>
                  <a:gd name="connsiteX125" fmla="*/ 404813 w 2169319"/>
                  <a:gd name="connsiteY125" fmla="*/ 1521619 h 1862138"/>
                  <a:gd name="connsiteX126" fmla="*/ 388144 w 2169319"/>
                  <a:gd name="connsiteY126" fmla="*/ 1500188 h 1862138"/>
                  <a:gd name="connsiteX127" fmla="*/ 273845 w 2169319"/>
                  <a:gd name="connsiteY127" fmla="*/ 1524000 h 1862138"/>
                  <a:gd name="connsiteX128" fmla="*/ 207169 w 2169319"/>
                  <a:gd name="connsiteY128" fmla="*/ 1562100 h 1862138"/>
                  <a:gd name="connsiteX0" fmla="*/ 207169 w 2169319"/>
                  <a:gd name="connsiteY0" fmla="*/ 1562100 h 1862138"/>
                  <a:gd name="connsiteX1" fmla="*/ 138113 w 2169319"/>
                  <a:gd name="connsiteY1" fmla="*/ 1569244 h 1862138"/>
                  <a:gd name="connsiteX2" fmla="*/ 95250 w 2169319"/>
                  <a:gd name="connsiteY2" fmla="*/ 1607344 h 1862138"/>
                  <a:gd name="connsiteX3" fmla="*/ 78582 w 2169319"/>
                  <a:gd name="connsiteY3" fmla="*/ 1614488 h 1862138"/>
                  <a:gd name="connsiteX4" fmla="*/ 16669 w 2169319"/>
                  <a:gd name="connsiteY4" fmla="*/ 1538288 h 1862138"/>
                  <a:gd name="connsiteX5" fmla="*/ 52388 w 2169319"/>
                  <a:gd name="connsiteY5" fmla="*/ 1514475 h 1862138"/>
                  <a:gd name="connsiteX6" fmla="*/ 66675 w 2169319"/>
                  <a:gd name="connsiteY6" fmla="*/ 1495425 h 1862138"/>
                  <a:gd name="connsiteX7" fmla="*/ 66675 w 2169319"/>
                  <a:gd name="connsiteY7" fmla="*/ 1345407 h 1862138"/>
                  <a:gd name="connsiteX8" fmla="*/ 111919 w 2169319"/>
                  <a:gd name="connsiteY8" fmla="*/ 1288257 h 1862138"/>
                  <a:gd name="connsiteX9" fmla="*/ 28575 w 2169319"/>
                  <a:gd name="connsiteY9" fmla="*/ 1195388 h 1862138"/>
                  <a:gd name="connsiteX10" fmla="*/ 16669 w 2169319"/>
                  <a:gd name="connsiteY10" fmla="*/ 1154907 h 1862138"/>
                  <a:gd name="connsiteX11" fmla="*/ 38100 w 2169319"/>
                  <a:gd name="connsiteY11" fmla="*/ 1126332 h 1862138"/>
                  <a:gd name="connsiteX12" fmla="*/ 64294 w 2169319"/>
                  <a:gd name="connsiteY12" fmla="*/ 1119188 h 1862138"/>
                  <a:gd name="connsiteX13" fmla="*/ 76200 w 2169319"/>
                  <a:gd name="connsiteY13" fmla="*/ 1102519 h 1862138"/>
                  <a:gd name="connsiteX14" fmla="*/ 85725 w 2169319"/>
                  <a:gd name="connsiteY14" fmla="*/ 1064419 h 1862138"/>
                  <a:gd name="connsiteX15" fmla="*/ 47626 w 2169319"/>
                  <a:gd name="connsiteY15" fmla="*/ 1035844 h 1862138"/>
                  <a:gd name="connsiteX16" fmla="*/ 47625 w 2169319"/>
                  <a:gd name="connsiteY16" fmla="*/ 1014413 h 1862138"/>
                  <a:gd name="connsiteX17" fmla="*/ 19050 w 2169319"/>
                  <a:gd name="connsiteY17" fmla="*/ 962025 h 1862138"/>
                  <a:gd name="connsiteX18" fmla="*/ 21432 w 2169319"/>
                  <a:gd name="connsiteY18" fmla="*/ 914400 h 1862138"/>
                  <a:gd name="connsiteX19" fmla="*/ 40482 w 2169319"/>
                  <a:gd name="connsiteY19" fmla="*/ 900113 h 1862138"/>
                  <a:gd name="connsiteX20" fmla="*/ 61913 w 2169319"/>
                  <a:gd name="connsiteY20" fmla="*/ 864394 h 1862138"/>
                  <a:gd name="connsiteX21" fmla="*/ 16669 w 2169319"/>
                  <a:gd name="connsiteY21" fmla="*/ 809625 h 1862138"/>
                  <a:gd name="connsiteX22" fmla="*/ 0 w 2169319"/>
                  <a:gd name="connsiteY22" fmla="*/ 757238 h 1862138"/>
                  <a:gd name="connsiteX23" fmla="*/ 0 w 2169319"/>
                  <a:gd name="connsiteY23" fmla="*/ 683419 h 1862138"/>
                  <a:gd name="connsiteX24" fmla="*/ 28575 w 2169319"/>
                  <a:gd name="connsiteY24" fmla="*/ 640557 h 1862138"/>
                  <a:gd name="connsiteX25" fmla="*/ 76200 w 2169319"/>
                  <a:gd name="connsiteY25" fmla="*/ 600075 h 1862138"/>
                  <a:gd name="connsiteX26" fmla="*/ 107157 w 2169319"/>
                  <a:gd name="connsiteY26" fmla="*/ 583407 h 1862138"/>
                  <a:gd name="connsiteX27" fmla="*/ 135732 w 2169319"/>
                  <a:gd name="connsiteY27" fmla="*/ 600075 h 1862138"/>
                  <a:gd name="connsiteX28" fmla="*/ 164307 w 2169319"/>
                  <a:gd name="connsiteY28" fmla="*/ 602457 h 1862138"/>
                  <a:gd name="connsiteX29" fmla="*/ 180975 w 2169319"/>
                  <a:gd name="connsiteY29" fmla="*/ 600075 h 1862138"/>
                  <a:gd name="connsiteX30" fmla="*/ 226219 w 2169319"/>
                  <a:gd name="connsiteY30" fmla="*/ 590550 h 1862138"/>
                  <a:gd name="connsiteX31" fmla="*/ 252413 w 2169319"/>
                  <a:gd name="connsiteY31" fmla="*/ 559594 h 1862138"/>
                  <a:gd name="connsiteX32" fmla="*/ 280988 w 2169319"/>
                  <a:gd name="connsiteY32" fmla="*/ 514350 h 1862138"/>
                  <a:gd name="connsiteX33" fmla="*/ 290513 w 2169319"/>
                  <a:gd name="connsiteY33" fmla="*/ 483394 h 1862138"/>
                  <a:gd name="connsiteX34" fmla="*/ 273844 w 2169319"/>
                  <a:gd name="connsiteY34" fmla="*/ 447675 h 1862138"/>
                  <a:gd name="connsiteX35" fmla="*/ 276225 w 2169319"/>
                  <a:gd name="connsiteY35" fmla="*/ 407194 h 1862138"/>
                  <a:gd name="connsiteX36" fmla="*/ 226219 w 2169319"/>
                  <a:gd name="connsiteY36" fmla="*/ 350044 h 1862138"/>
                  <a:gd name="connsiteX37" fmla="*/ 157163 w 2169319"/>
                  <a:gd name="connsiteY37" fmla="*/ 280988 h 1862138"/>
                  <a:gd name="connsiteX38" fmla="*/ 152400 w 2169319"/>
                  <a:gd name="connsiteY38" fmla="*/ 233363 h 1862138"/>
                  <a:gd name="connsiteX39" fmla="*/ 192882 w 2169319"/>
                  <a:gd name="connsiteY39" fmla="*/ 195263 h 1862138"/>
                  <a:gd name="connsiteX40" fmla="*/ 242888 w 2169319"/>
                  <a:gd name="connsiteY40" fmla="*/ 123825 h 1862138"/>
                  <a:gd name="connsiteX41" fmla="*/ 290513 w 2169319"/>
                  <a:gd name="connsiteY41" fmla="*/ 83344 h 1862138"/>
                  <a:gd name="connsiteX42" fmla="*/ 319088 w 2169319"/>
                  <a:gd name="connsiteY42" fmla="*/ 0 h 1862138"/>
                  <a:gd name="connsiteX43" fmla="*/ 540544 w 2169319"/>
                  <a:gd name="connsiteY43" fmla="*/ 304800 h 1862138"/>
                  <a:gd name="connsiteX44" fmla="*/ 552450 w 2169319"/>
                  <a:gd name="connsiteY44" fmla="*/ 316707 h 1862138"/>
                  <a:gd name="connsiteX45" fmla="*/ 597694 w 2169319"/>
                  <a:gd name="connsiteY45" fmla="*/ 257175 h 1862138"/>
                  <a:gd name="connsiteX46" fmla="*/ 626269 w 2169319"/>
                  <a:gd name="connsiteY46" fmla="*/ 238125 h 1862138"/>
                  <a:gd name="connsiteX47" fmla="*/ 621507 w 2169319"/>
                  <a:gd name="connsiteY47" fmla="*/ 169069 h 1862138"/>
                  <a:gd name="connsiteX48" fmla="*/ 633413 w 2169319"/>
                  <a:gd name="connsiteY48" fmla="*/ 140494 h 1862138"/>
                  <a:gd name="connsiteX49" fmla="*/ 719138 w 2169319"/>
                  <a:gd name="connsiteY49" fmla="*/ 140494 h 1862138"/>
                  <a:gd name="connsiteX50" fmla="*/ 752475 w 2169319"/>
                  <a:gd name="connsiteY50" fmla="*/ 147638 h 1862138"/>
                  <a:gd name="connsiteX51" fmla="*/ 764382 w 2169319"/>
                  <a:gd name="connsiteY51" fmla="*/ 197644 h 1862138"/>
                  <a:gd name="connsiteX52" fmla="*/ 809625 w 2169319"/>
                  <a:gd name="connsiteY52" fmla="*/ 214313 h 1862138"/>
                  <a:gd name="connsiteX53" fmla="*/ 847725 w 2169319"/>
                  <a:gd name="connsiteY53" fmla="*/ 264319 h 1862138"/>
                  <a:gd name="connsiteX54" fmla="*/ 890588 w 2169319"/>
                  <a:gd name="connsiteY54" fmla="*/ 280988 h 1862138"/>
                  <a:gd name="connsiteX55" fmla="*/ 950119 w 2169319"/>
                  <a:gd name="connsiteY55" fmla="*/ 235744 h 1862138"/>
                  <a:gd name="connsiteX56" fmla="*/ 1028700 w 2169319"/>
                  <a:gd name="connsiteY56" fmla="*/ 238125 h 1862138"/>
                  <a:gd name="connsiteX57" fmla="*/ 1095375 w 2169319"/>
                  <a:gd name="connsiteY57" fmla="*/ 157163 h 1862138"/>
                  <a:gd name="connsiteX58" fmla="*/ 1147763 w 2169319"/>
                  <a:gd name="connsiteY58" fmla="*/ 161925 h 1862138"/>
                  <a:gd name="connsiteX59" fmla="*/ 1166813 w 2169319"/>
                  <a:gd name="connsiteY59" fmla="*/ 145257 h 1862138"/>
                  <a:gd name="connsiteX60" fmla="*/ 1188244 w 2169319"/>
                  <a:gd name="connsiteY60" fmla="*/ 123825 h 1862138"/>
                  <a:gd name="connsiteX61" fmla="*/ 1259682 w 2169319"/>
                  <a:gd name="connsiteY61" fmla="*/ 123825 h 1862138"/>
                  <a:gd name="connsiteX62" fmla="*/ 1359694 w 2169319"/>
                  <a:gd name="connsiteY62" fmla="*/ 154782 h 1862138"/>
                  <a:gd name="connsiteX63" fmla="*/ 1423988 w 2169319"/>
                  <a:gd name="connsiteY63" fmla="*/ 250032 h 1862138"/>
                  <a:gd name="connsiteX64" fmla="*/ 1440657 w 2169319"/>
                  <a:gd name="connsiteY64" fmla="*/ 264319 h 1862138"/>
                  <a:gd name="connsiteX65" fmla="*/ 1454944 w 2169319"/>
                  <a:gd name="connsiteY65" fmla="*/ 304800 h 1862138"/>
                  <a:gd name="connsiteX66" fmla="*/ 1583532 w 2169319"/>
                  <a:gd name="connsiteY66" fmla="*/ 321469 h 1862138"/>
                  <a:gd name="connsiteX67" fmla="*/ 1654969 w 2169319"/>
                  <a:gd name="connsiteY67" fmla="*/ 423863 h 1862138"/>
                  <a:gd name="connsiteX68" fmla="*/ 1728788 w 2169319"/>
                  <a:gd name="connsiteY68" fmla="*/ 454819 h 1862138"/>
                  <a:gd name="connsiteX69" fmla="*/ 1864519 w 2169319"/>
                  <a:gd name="connsiteY69" fmla="*/ 466725 h 1862138"/>
                  <a:gd name="connsiteX70" fmla="*/ 1909763 w 2169319"/>
                  <a:gd name="connsiteY70" fmla="*/ 450057 h 1862138"/>
                  <a:gd name="connsiteX71" fmla="*/ 1995488 w 2169319"/>
                  <a:gd name="connsiteY71" fmla="*/ 364332 h 1862138"/>
                  <a:gd name="connsiteX72" fmla="*/ 2021682 w 2169319"/>
                  <a:gd name="connsiteY72" fmla="*/ 400050 h 1862138"/>
                  <a:gd name="connsiteX73" fmla="*/ 2069307 w 2169319"/>
                  <a:gd name="connsiteY73" fmla="*/ 435769 h 1862138"/>
                  <a:gd name="connsiteX74" fmla="*/ 2093119 w 2169319"/>
                  <a:gd name="connsiteY74" fmla="*/ 466725 h 1862138"/>
                  <a:gd name="connsiteX75" fmla="*/ 2105025 w 2169319"/>
                  <a:gd name="connsiteY75" fmla="*/ 488157 h 1862138"/>
                  <a:gd name="connsiteX76" fmla="*/ 2169319 w 2169319"/>
                  <a:gd name="connsiteY76" fmla="*/ 483394 h 1862138"/>
                  <a:gd name="connsiteX77" fmla="*/ 2169319 w 2169319"/>
                  <a:gd name="connsiteY77" fmla="*/ 521494 h 1862138"/>
                  <a:gd name="connsiteX78" fmla="*/ 2119313 w 2169319"/>
                  <a:gd name="connsiteY78" fmla="*/ 521494 h 1862138"/>
                  <a:gd name="connsiteX79" fmla="*/ 2045494 w 2169319"/>
                  <a:gd name="connsiteY79" fmla="*/ 578644 h 1862138"/>
                  <a:gd name="connsiteX80" fmla="*/ 2090738 w 2169319"/>
                  <a:gd name="connsiteY80" fmla="*/ 633413 h 1862138"/>
                  <a:gd name="connsiteX81" fmla="*/ 2097882 w 2169319"/>
                  <a:gd name="connsiteY81" fmla="*/ 690563 h 1862138"/>
                  <a:gd name="connsiteX82" fmla="*/ 2093119 w 2169319"/>
                  <a:gd name="connsiteY82" fmla="*/ 716757 h 1862138"/>
                  <a:gd name="connsiteX83" fmla="*/ 1905000 w 2169319"/>
                  <a:gd name="connsiteY83" fmla="*/ 831057 h 1862138"/>
                  <a:gd name="connsiteX84" fmla="*/ 1888332 w 2169319"/>
                  <a:gd name="connsiteY84" fmla="*/ 888207 h 1862138"/>
                  <a:gd name="connsiteX85" fmla="*/ 1895475 w 2169319"/>
                  <a:gd name="connsiteY85" fmla="*/ 1012032 h 1862138"/>
                  <a:gd name="connsiteX86" fmla="*/ 1940719 w 2169319"/>
                  <a:gd name="connsiteY86" fmla="*/ 1100138 h 1862138"/>
                  <a:gd name="connsiteX87" fmla="*/ 1978819 w 2169319"/>
                  <a:gd name="connsiteY87" fmla="*/ 1183482 h 1862138"/>
                  <a:gd name="connsiteX88" fmla="*/ 1966913 w 2169319"/>
                  <a:gd name="connsiteY88" fmla="*/ 1216819 h 1862138"/>
                  <a:gd name="connsiteX89" fmla="*/ 1952625 w 2169319"/>
                  <a:gd name="connsiteY89" fmla="*/ 1273969 h 1862138"/>
                  <a:gd name="connsiteX90" fmla="*/ 1907382 w 2169319"/>
                  <a:gd name="connsiteY90" fmla="*/ 1288257 h 1862138"/>
                  <a:gd name="connsiteX91" fmla="*/ 1885950 w 2169319"/>
                  <a:gd name="connsiteY91" fmla="*/ 1302544 h 1862138"/>
                  <a:gd name="connsiteX92" fmla="*/ 1850232 w 2169319"/>
                  <a:gd name="connsiteY92" fmla="*/ 1350169 h 1862138"/>
                  <a:gd name="connsiteX93" fmla="*/ 1828800 w 2169319"/>
                  <a:gd name="connsiteY93" fmla="*/ 1371600 h 1862138"/>
                  <a:gd name="connsiteX94" fmla="*/ 1783557 w 2169319"/>
                  <a:gd name="connsiteY94" fmla="*/ 1369219 h 1862138"/>
                  <a:gd name="connsiteX95" fmla="*/ 1752600 w 2169319"/>
                  <a:gd name="connsiteY95" fmla="*/ 1321594 h 1862138"/>
                  <a:gd name="connsiteX96" fmla="*/ 1674019 w 2169319"/>
                  <a:gd name="connsiteY96" fmla="*/ 1345407 h 1862138"/>
                  <a:gd name="connsiteX97" fmla="*/ 1626394 w 2169319"/>
                  <a:gd name="connsiteY97" fmla="*/ 1366838 h 1862138"/>
                  <a:gd name="connsiteX98" fmla="*/ 1552575 w 2169319"/>
                  <a:gd name="connsiteY98" fmla="*/ 1376363 h 1862138"/>
                  <a:gd name="connsiteX99" fmla="*/ 1507332 w 2169319"/>
                  <a:gd name="connsiteY99" fmla="*/ 1357313 h 1862138"/>
                  <a:gd name="connsiteX100" fmla="*/ 1447800 w 2169319"/>
                  <a:gd name="connsiteY100" fmla="*/ 1321594 h 1862138"/>
                  <a:gd name="connsiteX101" fmla="*/ 1407319 w 2169319"/>
                  <a:gd name="connsiteY101" fmla="*/ 1331119 h 1862138"/>
                  <a:gd name="connsiteX102" fmla="*/ 1390650 w 2169319"/>
                  <a:gd name="connsiteY102" fmla="*/ 1516857 h 1862138"/>
                  <a:gd name="connsiteX103" fmla="*/ 1359694 w 2169319"/>
                  <a:gd name="connsiteY103" fmla="*/ 1859757 h 1862138"/>
                  <a:gd name="connsiteX104" fmla="*/ 1357313 w 2169319"/>
                  <a:gd name="connsiteY104" fmla="*/ 1862138 h 1862138"/>
                  <a:gd name="connsiteX105" fmla="*/ 1312069 w 2169319"/>
                  <a:gd name="connsiteY105" fmla="*/ 1852613 h 1862138"/>
                  <a:gd name="connsiteX106" fmla="*/ 1285875 w 2169319"/>
                  <a:gd name="connsiteY106" fmla="*/ 1802607 h 1862138"/>
                  <a:gd name="connsiteX107" fmla="*/ 1262063 w 2169319"/>
                  <a:gd name="connsiteY107" fmla="*/ 1785938 h 1862138"/>
                  <a:gd name="connsiteX108" fmla="*/ 1204913 w 2169319"/>
                  <a:gd name="connsiteY108" fmla="*/ 1738313 h 1862138"/>
                  <a:gd name="connsiteX109" fmla="*/ 1166813 w 2169319"/>
                  <a:gd name="connsiteY109" fmla="*/ 1681163 h 1862138"/>
                  <a:gd name="connsiteX110" fmla="*/ 1150144 w 2169319"/>
                  <a:gd name="connsiteY110" fmla="*/ 1643064 h 1862138"/>
                  <a:gd name="connsiteX111" fmla="*/ 1150144 w 2169319"/>
                  <a:gd name="connsiteY111" fmla="*/ 1602582 h 1862138"/>
                  <a:gd name="connsiteX112" fmla="*/ 1097757 w 2169319"/>
                  <a:gd name="connsiteY112" fmla="*/ 1554957 h 1862138"/>
                  <a:gd name="connsiteX113" fmla="*/ 1057275 w 2169319"/>
                  <a:gd name="connsiteY113" fmla="*/ 1569244 h 1862138"/>
                  <a:gd name="connsiteX114" fmla="*/ 1057275 w 2169319"/>
                  <a:gd name="connsiteY114" fmla="*/ 1569244 h 1862138"/>
                  <a:gd name="connsiteX115" fmla="*/ 1028700 w 2169319"/>
                  <a:gd name="connsiteY115" fmla="*/ 1583532 h 1862138"/>
                  <a:gd name="connsiteX116" fmla="*/ 873919 w 2169319"/>
                  <a:gd name="connsiteY116" fmla="*/ 1581150 h 1862138"/>
                  <a:gd name="connsiteX117" fmla="*/ 845344 w 2169319"/>
                  <a:gd name="connsiteY117" fmla="*/ 1571625 h 1862138"/>
                  <a:gd name="connsiteX118" fmla="*/ 785813 w 2169319"/>
                  <a:gd name="connsiteY118" fmla="*/ 1519238 h 1862138"/>
                  <a:gd name="connsiteX119" fmla="*/ 752475 w 2169319"/>
                  <a:gd name="connsiteY119" fmla="*/ 1516857 h 1862138"/>
                  <a:gd name="connsiteX120" fmla="*/ 685800 w 2169319"/>
                  <a:gd name="connsiteY120" fmla="*/ 1571625 h 1862138"/>
                  <a:gd name="connsiteX121" fmla="*/ 638175 w 2169319"/>
                  <a:gd name="connsiteY121" fmla="*/ 1578769 h 1862138"/>
                  <a:gd name="connsiteX122" fmla="*/ 590550 w 2169319"/>
                  <a:gd name="connsiteY122" fmla="*/ 1566863 h 1862138"/>
                  <a:gd name="connsiteX123" fmla="*/ 552450 w 2169319"/>
                  <a:gd name="connsiteY123" fmla="*/ 1514475 h 1862138"/>
                  <a:gd name="connsiteX124" fmla="*/ 483394 w 2169319"/>
                  <a:gd name="connsiteY124" fmla="*/ 1552575 h 1862138"/>
                  <a:gd name="connsiteX125" fmla="*/ 404813 w 2169319"/>
                  <a:gd name="connsiteY125" fmla="*/ 1521619 h 1862138"/>
                  <a:gd name="connsiteX126" fmla="*/ 388144 w 2169319"/>
                  <a:gd name="connsiteY126" fmla="*/ 1500188 h 1862138"/>
                  <a:gd name="connsiteX127" fmla="*/ 273845 w 2169319"/>
                  <a:gd name="connsiteY127" fmla="*/ 1524000 h 1862138"/>
                  <a:gd name="connsiteX128" fmla="*/ 207169 w 2169319"/>
                  <a:gd name="connsiteY128" fmla="*/ 1562100 h 1862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</a:cxnLst>
                <a:rect l="l" t="t" r="r" b="b"/>
                <a:pathLst>
                  <a:path w="2169319" h="1862138">
                    <a:moveTo>
                      <a:pt x="207169" y="1562100"/>
                    </a:moveTo>
                    <a:lnTo>
                      <a:pt x="138113" y="1569244"/>
                    </a:lnTo>
                    <a:lnTo>
                      <a:pt x="95250" y="1607344"/>
                    </a:lnTo>
                    <a:lnTo>
                      <a:pt x="78582" y="1614488"/>
                    </a:lnTo>
                    <a:lnTo>
                      <a:pt x="16669" y="1538288"/>
                    </a:lnTo>
                    <a:lnTo>
                      <a:pt x="52388" y="1514475"/>
                    </a:lnTo>
                    <a:lnTo>
                      <a:pt x="66675" y="1495425"/>
                    </a:lnTo>
                    <a:lnTo>
                      <a:pt x="66675" y="1345407"/>
                    </a:lnTo>
                    <a:lnTo>
                      <a:pt x="111919" y="1288257"/>
                    </a:lnTo>
                    <a:lnTo>
                      <a:pt x="28575" y="1195388"/>
                    </a:lnTo>
                    <a:lnTo>
                      <a:pt x="16669" y="1154907"/>
                    </a:lnTo>
                    <a:lnTo>
                      <a:pt x="38100" y="1126332"/>
                    </a:lnTo>
                    <a:lnTo>
                      <a:pt x="64294" y="1119188"/>
                    </a:lnTo>
                    <a:lnTo>
                      <a:pt x="76200" y="1102519"/>
                    </a:lnTo>
                    <a:lnTo>
                      <a:pt x="85725" y="1064419"/>
                    </a:lnTo>
                    <a:lnTo>
                      <a:pt x="47626" y="1035844"/>
                    </a:lnTo>
                    <a:cubicBezTo>
                      <a:pt x="47626" y="1028700"/>
                      <a:pt x="47625" y="1021557"/>
                      <a:pt x="47625" y="1014413"/>
                    </a:cubicBezTo>
                    <a:lnTo>
                      <a:pt x="19050" y="962025"/>
                    </a:lnTo>
                    <a:lnTo>
                      <a:pt x="21432" y="914400"/>
                    </a:lnTo>
                    <a:cubicBezTo>
                      <a:pt x="39014" y="901841"/>
                      <a:pt x="33271" y="907321"/>
                      <a:pt x="40482" y="900113"/>
                    </a:cubicBezTo>
                    <a:lnTo>
                      <a:pt x="61913" y="864394"/>
                    </a:lnTo>
                    <a:lnTo>
                      <a:pt x="16669" y="809625"/>
                    </a:lnTo>
                    <a:lnTo>
                      <a:pt x="0" y="757238"/>
                    </a:lnTo>
                    <a:lnTo>
                      <a:pt x="0" y="683419"/>
                    </a:lnTo>
                    <a:lnTo>
                      <a:pt x="28575" y="640557"/>
                    </a:lnTo>
                    <a:lnTo>
                      <a:pt x="76200" y="600075"/>
                    </a:lnTo>
                    <a:lnTo>
                      <a:pt x="107157" y="583407"/>
                    </a:lnTo>
                    <a:lnTo>
                      <a:pt x="135732" y="600075"/>
                    </a:lnTo>
                    <a:cubicBezTo>
                      <a:pt x="159530" y="602720"/>
                      <a:pt x="149975" y="602457"/>
                      <a:pt x="164307" y="602457"/>
                    </a:cubicBezTo>
                    <a:lnTo>
                      <a:pt x="180975" y="600075"/>
                    </a:lnTo>
                    <a:lnTo>
                      <a:pt x="226219" y="590550"/>
                    </a:lnTo>
                    <a:lnTo>
                      <a:pt x="252413" y="559594"/>
                    </a:lnTo>
                    <a:lnTo>
                      <a:pt x="280988" y="514350"/>
                    </a:lnTo>
                    <a:lnTo>
                      <a:pt x="290513" y="483394"/>
                    </a:lnTo>
                    <a:lnTo>
                      <a:pt x="273844" y="447675"/>
                    </a:lnTo>
                    <a:lnTo>
                      <a:pt x="276225" y="407194"/>
                    </a:lnTo>
                    <a:lnTo>
                      <a:pt x="226219" y="350044"/>
                    </a:lnTo>
                    <a:lnTo>
                      <a:pt x="157163" y="280988"/>
                    </a:lnTo>
                    <a:lnTo>
                      <a:pt x="152400" y="233363"/>
                    </a:lnTo>
                    <a:lnTo>
                      <a:pt x="192882" y="195263"/>
                    </a:lnTo>
                    <a:lnTo>
                      <a:pt x="242888" y="123825"/>
                    </a:lnTo>
                    <a:lnTo>
                      <a:pt x="290513" y="83344"/>
                    </a:lnTo>
                    <a:lnTo>
                      <a:pt x="319088" y="0"/>
                    </a:lnTo>
                    <a:lnTo>
                      <a:pt x="540544" y="304800"/>
                    </a:lnTo>
                    <a:lnTo>
                      <a:pt x="552450" y="316707"/>
                    </a:lnTo>
                    <a:lnTo>
                      <a:pt x="597694" y="257175"/>
                    </a:lnTo>
                    <a:lnTo>
                      <a:pt x="626269" y="238125"/>
                    </a:lnTo>
                    <a:lnTo>
                      <a:pt x="621507" y="169069"/>
                    </a:lnTo>
                    <a:lnTo>
                      <a:pt x="633413" y="140494"/>
                    </a:lnTo>
                    <a:lnTo>
                      <a:pt x="719138" y="140494"/>
                    </a:lnTo>
                    <a:lnTo>
                      <a:pt x="752475" y="147638"/>
                    </a:lnTo>
                    <a:lnTo>
                      <a:pt x="764382" y="197644"/>
                    </a:lnTo>
                    <a:lnTo>
                      <a:pt x="809625" y="214313"/>
                    </a:lnTo>
                    <a:lnTo>
                      <a:pt x="847725" y="264319"/>
                    </a:lnTo>
                    <a:lnTo>
                      <a:pt x="890588" y="280988"/>
                    </a:lnTo>
                    <a:lnTo>
                      <a:pt x="950119" y="235744"/>
                    </a:lnTo>
                    <a:lnTo>
                      <a:pt x="1028700" y="238125"/>
                    </a:lnTo>
                    <a:lnTo>
                      <a:pt x="1095375" y="157163"/>
                    </a:lnTo>
                    <a:lnTo>
                      <a:pt x="1147763" y="161925"/>
                    </a:lnTo>
                    <a:lnTo>
                      <a:pt x="1166813" y="145257"/>
                    </a:lnTo>
                    <a:lnTo>
                      <a:pt x="1188244" y="123825"/>
                    </a:lnTo>
                    <a:lnTo>
                      <a:pt x="1259682" y="123825"/>
                    </a:lnTo>
                    <a:lnTo>
                      <a:pt x="1359694" y="154782"/>
                    </a:lnTo>
                    <a:lnTo>
                      <a:pt x="1423988" y="250032"/>
                    </a:lnTo>
                    <a:lnTo>
                      <a:pt x="1440657" y="264319"/>
                    </a:lnTo>
                    <a:lnTo>
                      <a:pt x="1454944" y="304800"/>
                    </a:lnTo>
                    <a:lnTo>
                      <a:pt x="1583532" y="321469"/>
                    </a:lnTo>
                    <a:lnTo>
                      <a:pt x="1654969" y="423863"/>
                    </a:lnTo>
                    <a:lnTo>
                      <a:pt x="1728788" y="454819"/>
                    </a:lnTo>
                    <a:lnTo>
                      <a:pt x="1864519" y="466725"/>
                    </a:lnTo>
                    <a:lnTo>
                      <a:pt x="1909763" y="450057"/>
                    </a:lnTo>
                    <a:lnTo>
                      <a:pt x="1995488" y="364332"/>
                    </a:lnTo>
                    <a:lnTo>
                      <a:pt x="2021682" y="400050"/>
                    </a:lnTo>
                    <a:lnTo>
                      <a:pt x="2069307" y="435769"/>
                    </a:lnTo>
                    <a:lnTo>
                      <a:pt x="2093119" y="466725"/>
                    </a:lnTo>
                    <a:lnTo>
                      <a:pt x="2105025" y="488157"/>
                    </a:lnTo>
                    <a:lnTo>
                      <a:pt x="2169319" y="483394"/>
                    </a:lnTo>
                    <a:lnTo>
                      <a:pt x="2169319" y="521494"/>
                    </a:lnTo>
                    <a:lnTo>
                      <a:pt x="2119313" y="521494"/>
                    </a:lnTo>
                    <a:lnTo>
                      <a:pt x="2045494" y="578644"/>
                    </a:lnTo>
                    <a:lnTo>
                      <a:pt x="2090738" y="633413"/>
                    </a:lnTo>
                    <a:lnTo>
                      <a:pt x="2097882" y="690563"/>
                    </a:lnTo>
                    <a:lnTo>
                      <a:pt x="2093119" y="716757"/>
                    </a:lnTo>
                    <a:lnTo>
                      <a:pt x="1905000" y="831057"/>
                    </a:lnTo>
                    <a:lnTo>
                      <a:pt x="1888332" y="888207"/>
                    </a:lnTo>
                    <a:lnTo>
                      <a:pt x="1895475" y="1012032"/>
                    </a:lnTo>
                    <a:lnTo>
                      <a:pt x="1940719" y="1100138"/>
                    </a:lnTo>
                    <a:lnTo>
                      <a:pt x="1978819" y="1183482"/>
                    </a:lnTo>
                    <a:lnTo>
                      <a:pt x="1966913" y="1216819"/>
                    </a:lnTo>
                    <a:lnTo>
                      <a:pt x="1952625" y="1273969"/>
                    </a:lnTo>
                    <a:lnTo>
                      <a:pt x="1907382" y="1288257"/>
                    </a:lnTo>
                    <a:lnTo>
                      <a:pt x="1885950" y="1302544"/>
                    </a:lnTo>
                    <a:lnTo>
                      <a:pt x="1850232" y="1350169"/>
                    </a:lnTo>
                    <a:lnTo>
                      <a:pt x="1828800" y="1371600"/>
                    </a:lnTo>
                    <a:lnTo>
                      <a:pt x="1783557" y="1369219"/>
                    </a:lnTo>
                    <a:lnTo>
                      <a:pt x="1752600" y="1321594"/>
                    </a:lnTo>
                    <a:lnTo>
                      <a:pt x="1674019" y="1345407"/>
                    </a:lnTo>
                    <a:lnTo>
                      <a:pt x="1626394" y="1366838"/>
                    </a:lnTo>
                    <a:lnTo>
                      <a:pt x="1552575" y="1376363"/>
                    </a:lnTo>
                    <a:lnTo>
                      <a:pt x="1507332" y="1357313"/>
                    </a:lnTo>
                    <a:lnTo>
                      <a:pt x="1447800" y="1321594"/>
                    </a:lnTo>
                    <a:lnTo>
                      <a:pt x="1407319" y="1331119"/>
                    </a:lnTo>
                    <a:lnTo>
                      <a:pt x="1390650" y="1516857"/>
                    </a:lnTo>
                    <a:lnTo>
                      <a:pt x="1359694" y="1859757"/>
                    </a:lnTo>
                    <a:lnTo>
                      <a:pt x="1357313" y="1862138"/>
                    </a:lnTo>
                    <a:lnTo>
                      <a:pt x="1312069" y="1852613"/>
                    </a:lnTo>
                    <a:lnTo>
                      <a:pt x="1285875" y="1802607"/>
                    </a:lnTo>
                    <a:lnTo>
                      <a:pt x="1262063" y="1785938"/>
                    </a:lnTo>
                    <a:lnTo>
                      <a:pt x="1204913" y="1738313"/>
                    </a:lnTo>
                    <a:lnTo>
                      <a:pt x="1166813" y="1681163"/>
                    </a:lnTo>
                    <a:lnTo>
                      <a:pt x="1150144" y="1643064"/>
                    </a:lnTo>
                    <a:lnTo>
                      <a:pt x="1150144" y="1602582"/>
                    </a:lnTo>
                    <a:lnTo>
                      <a:pt x="1097757" y="1554957"/>
                    </a:lnTo>
                    <a:lnTo>
                      <a:pt x="1057275" y="1569244"/>
                    </a:lnTo>
                    <a:lnTo>
                      <a:pt x="1057275" y="1569244"/>
                    </a:lnTo>
                    <a:lnTo>
                      <a:pt x="1028700" y="1583532"/>
                    </a:lnTo>
                    <a:lnTo>
                      <a:pt x="873919" y="1581150"/>
                    </a:lnTo>
                    <a:lnTo>
                      <a:pt x="845344" y="1571625"/>
                    </a:lnTo>
                    <a:lnTo>
                      <a:pt x="785813" y="1519238"/>
                    </a:lnTo>
                    <a:lnTo>
                      <a:pt x="752475" y="1516857"/>
                    </a:lnTo>
                    <a:lnTo>
                      <a:pt x="685800" y="1571625"/>
                    </a:lnTo>
                    <a:lnTo>
                      <a:pt x="638175" y="1578769"/>
                    </a:lnTo>
                    <a:lnTo>
                      <a:pt x="590550" y="1566863"/>
                    </a:lnTo>
                    <a:lnTo>
                      <a:pt x="552450" y="1514475"/>
                    </a:lnTo>
                    <a:lnTo>
                      <a:pt x="483394" y="1552575"/>
                    </a:lnTo>
                    <a:lnTo>
                      <a:pt x="404813" y="1521619"/>
                    </a:lnTo>
                    <a:lnTo>
                      <a:pt x="388144" y="1500188"/>
                    </a:lnTo>
                    <a:lnTo>
                      <a:pt x="273845" y="1524000"/>
                    </a:lnTo>
                    <a:lnTo>
                      <a:pt x="207169" y="1562100"/>
                    </a:lnTo>
                    <a:close/>
                  </a:path>
                </a:pathLst>
              </a:custGeom>
              <a:solidFill>
                <a:srgbClr val="92D050">
                  <a:alpha val="50000"/>
                </a:srgb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1" name="Freeform 16"/>
              <p:cNvSpPr/>
              <p:nvPr/>
            </p:nvSpPr>
            <p:spPr>
              <a:xfrm>
                <a:off x="3181212" y="1086062"/>
                <a:ext cx="1126307" cy="1373606"/>
              </a:xfrm>
              <a:custGeom>
                <a:avLst/>
                <a:gdLst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8637 w 1602581"/>
                  <a:gd name="connsiteY101" fmla="*/ 1833562 h 2107406"/>
                  <a:gd name="connsiteX102" fmla="*/ 471487 w 1602581"/>
                  <a:gd name="connsiteY102" fmla="*/ 1883568 h 2107406"/>
                  <a:gd name="connsiteX103" fmla="*/ 400050 w 1602581"/>
                  <a:gd name="connsiteY103" fmla="*/ 1800225 h 2107406"/>
                  <a:gd name="connsiteX104" fmla="*/ 421481 w 1602581"/>
                  <a:gd name="connsiteY104" fmla="*/ 1759743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8637 w 1602581"/>
                  <a:gd name="connsiteY107" fmla="*/ 1540668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26243 w 1602581"/>
                  <a:gd name="connsiteY110" fmla="*/ 1240631 h 2107406"/>
                  <a:gd name="connsiteX111" fmla="*/ 469106 w 1602581"/>
                  <a:gd name="connsiteY111" fmla="*/ 1209675 h 2107406"/>
                  <a:gd name="connsiteX112" fmla="*/ 409575 w 1602581"/>
                  <a:gd name="connsiteY112" fmla="*/ 1109662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8637 w 1602581"/>
                  <a:gd name="connsiteY101" fmla="*/ 1833562 h 2107406"/>
                  <a:gd name="connsiteX102" fmla="*/ 471487 w 1602581"/>
                  <a:gd name="connsiteY102" fmla="*/ 1883568 h 2107406"/>
                  <a:gd name="connsiteX103" fmla="*/ 400050 w 1602581"/>
                  <a:gd name="connsiteY103" fmla="*/ 1800225 h 2107406"/>
                  <a:gd name="connsiteX104" fmla="*/ 421481 w 1602581"/>
                  <a:gd name="connsiteY104" fmla="*/ 1759743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8637 w 1602581"/>
                  <a:gd name="connsiteY107" fmla="*/ 1540668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26243 w 1602581"/>
                  <a:gd name="connsiteY110" fmla="*/ 1240631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8637 w 1602581"/>
                  <a:gd name="connsiteY101" fmla="*/ 1833562 h 2107406"/>
                  <a:gd name="connsiteX102" fmla="*/ 471487 w 1602581"/>
                  <a:gd name="connsiteY102" fmla="*/ 1883568 h 2107406"/>
                  <a:gd name="connsiteX103" fmla="*/ 400050 w 1602581"/>
                  <a:gd name="connsiteY103" fmla="*/ 1800225 h 2107406"/>
                  <a:gd name="connsiteX104" fmla="*/ 421481 w 1602581"/>
                  <a:gd name="connsiteY104" fmla="*/ 1759743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8637 w 1602581"/>
                  <a:gd name="connsiteY107" fmla="*/ 1540668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8637 w 1602581"/>
                  <a:gd name="connsiteY101" fmla="*/ 1833562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21481 w 1602581"/>
                  <a:gd name="connsiteY104" fmla="*/ 1759743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8637 w 1602581"/>
                  <a:gd name="connsiteY107" fmla="*/ 1540668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8637 w 1602581"/>
                  <a:gd name="connsiteY101" fmla="*/ 1833562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8637 w 1602581"/>
                  <a:gd name="connsiteY107" fmla="*/ 1540668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8637 w 1602581"/>
                  <a:gd name="connsiteY101" fmla="*/ 1833562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90537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14338 w 1602581"/>
                  <a:gd name="connsiteY112" fmla="*/ 1121568 h 2107406"/>
                  <a:gd name="connsiteX113" fmla="*/ 357187 w 1602581"/>
                  <a:gd name="connsiteY113" fmla="*/ 1147762 h 2107406"/>
                  <a:gd name="connsiteX114" fmla="*/ 366712 w 1602581"/>
                  <a:gd name="connsiteY114" fmla="*/ 1059656 h 2107406"/>
                  <a:gd name="connsiteX115" fmla="*/ 278606 w 1602581"/>
                  <a:gd name="connsiteY115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42912 w 1602581"/>
                  <a:gd name="connsiteY112" fmla="*/ 1162050 h 2107406"/>
                  <a:gd name="connsiteX113" fmla="*/ 414338 w 1602581"/>
                  <a:gd name="connsiteY113" fmla="*/ 1121568 h 2107406"/>
                  <a:gd name="connsiteX114" fmla="*/ 357187 w 1602581"/>
                  <a:gd name="connsiteY114" fmla="*/ 1147762 h 2107406"/>
                  <a:gd name="connsiteX115" fmla="*/ 366712 w 1602581"/>
                  <a:gd name="connsiteY115" fmla="*/ 1059656 h 2107406"/>
                  <a:gd name="connsiteX116" fmla="*/ 278606 w 1602581"/>
                  <a:gd name="connsiteY116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35768 w 1602581"/>
                  <a:gd name="connsiteY112" fmla="*/ 1162050 h 2107406"/>
                  <a:gd name="connsiteX113" fmla="*/ 414338 w 1602581"/>
                  <a:gd name="connsiteY113" fmla="*/ 1121568 h 2107406"/>
                  <a:gd name="connsiteX114" fmla="*/ 357187 w 1602581"/>
                  <a:gd name="connsiteY114" fmla="*/ 1147762 h 2107406"/>
                  <a:gd name="connsiteX115" fmla="*/ 366712 w 1602581"/>
                  <a:gd name="connsiteY115" fmla="*/ 1059656 h 2107406"/>
                  <a:gd name="connsiteX116" fmla="*/ 278606 w 1602581"/>
                  <a:gd name="connsiteY116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9106 w 1602581"/>
                  <a:gd name="connsiteY111" fmla="*/ 1209675 h 2107406"/>
                  <a:gd name="connsiteX112" fmla="*/ 435768 w 1602581"/>
                  <a:gd name="connsiteY112" fmla="*/ 1162050 h 2107406"/>
                  <a:gd name="connsiteX113" fmla="*/ 402432 w 1602581"/>
                  <a:gd name="connsiteY113" fmla="*/ 1121568 h 2107406"/>
                  <a:gd name="connsiteX114" fmla="*/ 357187 w 1602581"/>
                  <a:gd name="connsiteY114" fmla="*/ 1147762 h 2107406"/>
                  <a:gd name="connsiteX115" fmla="*/ 366712 w 1602581"/>
                  <a:gd name="connsiteY115" fmla="*/ 1059656 h 2107406"/>
                  <a:gd name="connsiteX116" fmla="*/ 278606 w 1602581"/>
                  <a:gd name="connsiteY116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1963 w 1602581"/>
                  <a:gd name="connsiteY111" fmla="*/ 1209675 h 2107406"/>
                  <a:gd name="connsiteX112" fmla="*/ 435768 w 1602581"/>
                  <a:gd name="connsiteY112" fmla="*/ 1162050 h 2107406"/>
                  <a:gd name="connsiteX113" fmla="*/ 402432 w 1602581"/>
                  <a:gd name="connsiteY113" fmla="*/ 1121568 h 2107406"/>
                  <a:gd name="connsiteX114" fmla="*/ 357187 w 1602581"/>
                  <a:gd name="connsiteY114" fmla="*/ 1147762 h 2107406"/>
                  <a:gd name="connsiteX115" fmla="*/ 366712 w 1602581"/>
                  <a:gd name="connsiteY115" fmla="*/ 1059656 h 2107406"/>
                  <a:gd name="connsiteX116" fmla="*/ 278606 w 1602581"/>
                  <a:gd name="connsiteY116" fmla="*/ 1064418 h 2107406"/>
                  <a:gd name="connsiteX0" fmla="*/ 278606 w 1602581"/>
                  <a:gd name="connsiteY0" fmla="*/ 1064418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1963 w 1602581"/>
                  <a:gd name="connsiteY111" fmla="*/ 1209675 h 2107406"/>
                  <a:gd name="connsiteX112" fmla="*/ 435768 w 1602581"/>
                  <a:gd name="connsiteY112" fmla="*/ 1162050 h 2107406"/>
                  <a:gd name="connsiteX113" fmla="*/ 402432 w 1602581"/>
                  <a:gd name="connsiteY113" fmla="*/ 1121568 h 2107406"/>
                  <a:gd name="connsiteX114" fmla="*/ 357187 w 1602581"/>
                  <a:gd name="connsiteY114" fmla="*/ 1159668 h 2107406"/>
                  <a:gd name="connsiteX115" fmla="*/ 366712 w 1602581"/>
                  <a:gd name="connsiteY115" fmla="*/ 1059656 h 2107406"/>
                  <a:gd name="connsiteX116" fmla="*/ 278606 w 1602581"/>
                  <a:gd name="connsiteY116" fmla="*/ 1064418 h 2107406"/>
                  <a:gd name="connsiteX0" fmla="*/ 285750 w 1602581"/>
                  <a:gd name="connsiteY0" fmla="*/ 1073943 h 2107406"/>
                  <a:gd name="connsiteX1" fmla="*/ 247650 w 1602581"/>
                  <a:gd name="connsiteY1" fmla="*/ 1016793 h 2107406"/>
                  <a:gd name="connsiteX2" fmla="*/ 209550 w 1602581"/>
                  <a:gd name="connsiteY2" fmla="*/ 1000125 h 2107406"/>
                  <a:gd name="connsiteX3" fmla="*/ 164306 w 1602581"/>
                  <a:gd name="connsiteY3" fmla="*/ 1012031 h 2107406"/>
                  <a:gd name="connsiteX4" fmla="*/ 135731 w 1602581"/>
                  <a:gd name="connsiteY4" fmla="*/ 957262 h 2107406"/>
                  <a:gd name="connsiteX5" fmla="*/ 76200 w 1602581"/>
                  <a:gd name="connsiteY5" fmla="*/ 957262 h 2107406"/>
                  <a:gd name="connsiteX6" fmla="*/ 47625 w 1602581"/>
                  <a:gd name="connsiteY6" fmla="*/ 947737 h 2107406"/>
                  <a:gd name="connsiteX7" fmla="*/ 50006 w 1602581"/>
                  <a:gd name="connsiteY7" fmla="*/ 897731 h 2107406"/>
                  <a:gd name="connsiteX8" fmla="*/ 21431 w 1602581"/>
                  <a:gd name="connsiteY8" fmla="*/ 876300 h 2107406"/>
                  <a:gd name="connsiteX9" fmla="*/ 0 w 1602581"/>
                  <a:gd name="connsiteY9" fmla="*/ 835818 h 2107406"/>
                  <a:gd name="connsiteX10" fmla="*/ 47625 w 1602581"/>
                  <a:gd name="connsiteY10" fmla="*/ 788193 h 2107406"/>
                  <a:gd name="connsiteX11" fmla="*/ 133350 w 1602581"/>
                  <a:gd name="connsiteY11" fmla="*/ 759618 h 2107406"/>
                  <a:gd name="connsiteX12" fmla="*/ 173831 w 1602581"/>
                  <a:gd name="connsiteY12" fmla="*/ 731043 h 2107406"/>
                  <a:gd name="connsiteX13" fmla="*/ 183356 w 1602581"/>
                  <a:gd name="connsiteY13" fmla="*/ 652462 h 2107406"/>
                  <a:gd name="connsiteX14" fmla="*/ 133350 w 1602581"/>
                  <a:gd name="connsiteY14" fmla="*/ 597693 h 2107406"/>
                  <a:gd name="connsiteX15" fmla="*/ 157162 w 1602581"/>
                  <a:gd name="connsiteY15" fmla="*/ 588168 h 2107406"/>
                  <a:gd name="connsiteX16" fmla="*/ 207168 w 1602581"/>
                  <a:gd name="connsiteY16" fmla="*/ 519112 h 2107406"/>
                  <a:gd name="connsiteX17" fmla="*/ 250031 w 1602581"/>
                  <a:gd name="connsiteY17" fmla="*/ 500062 h 2107406"/>
                  <a:gd name="connsiteX18" fmla="*/ 321468 w 1602581"/>
                  <a:gd name="connsiteY18" fmla="*/ 521493 h 2107406"/>
                  <a:gd name="connsiteX19" fmla="*/ 402431 w 1602581"/>
                  <a:gd name="connsiteY19" fmla="*/ 521493 h 2107406"/>
                  <a:gd name="connsiteX20" fmla="*/ 419100 w 1602581"/>
                  <a:gd name="connsiteY20" fmla="*/ 509587 h 2107406"/>
                  <a:gd name="connsiteX21" fmla="*/ 416718 w 1602581"/>
                  <a:gd name="connsiteY21" fmla="*/ 469106 h 2107406"/>
                  <a:gd name="connsiteX22" fmla="*/ 354806 w 1602581"/>
                  <a:gd name="connsiteY22" fmla="*/ 440531 h 2107406"/>
                  <a:gd name="connsiteX23" fmla="*/ 309562 w 1602581"/>
                  <a:gd name="connsiteY23" fmla="*/ 419100 h 2107406"/>
                  <a:gd name="connsiteX24" fmla="*/ 247650 w 1602581"/>
                  <a:gd name="connsiteY24" fmla="*/ 419100 h 2107406"/>
                  <a:gd name="connsiteX25" fmla="*/ 228600 w 1602581"/>
                  <a:gd name="connsiteY25" fmla="*/ 388143 h 2107406"/>
                  <a:gd name="connsiteX26" fmla="*/ 250031 w 1602581"/>
                  <a:gd name="connsiteY26" fmla="*/ 364331 h 2107406"/>
                  <a:gd name="connsiteX27" fmla="*/ 314325 w 1602581"/>
                  <a:gd name="connsiteY27" fmla="*/ 345281 h 2107406"/>
                  <a:gd name="connsiteX28" fmla="*/ 328612 w 1602581"/>
                  <a:gd name="connsiteY28" fmla="*/ 323850 h 2107406"/>
                  <a:gd name="connsiteX29" fmla="*/ 297656 w 1602581"/>
                  <a:gd name="connsiteY29" fmla="*/ 292893 h 2107406"/>
                  <a:gd name="connsiteX30" fmla="*/ 250031 w 1602581"/>
                  <a:gd name="connsiteY30" fmla="*/ 311943 h 2107406"/>
                  <a:gd name="connsiteX31" fmla="*/ 216693 w 1602581"/>
                  <a:gd name="connsiteY31" fmla="*/ 280987 h 2107406"/>
                  <a:gd name="connsiteX32" fmla="*/ 238125 w 1602581"/>
                  <a:gd name="connsiteY32" fmla="*/ 257175 h 2107406"/>
                  <a:gd name="connsiteX33" fmla="*/ 245268 w 1602581"/>
                  <a:gd name="connsiteY33" fmla="*/ 219075 h 2107406"/>
                  <a:gd name="connsiteX34" fmla="*/ 233362 w 1602581"/>
                  <a:gd name="connsiteY34" fmla="*/ 195262 h 2107406"/>
                  <a:gd name="connsiteX35" fmla="*/ 261937 w 1602581"/>
                  <a:gd name="connsiteY35" fmla="*/ 145256 h 2107406"/>
                  <a:gd name="connsiteX36" fmla="*/ 319087 w 1602581"/>
                  <a:gd name="connsiteY36" fmla="*/ 157162 h 2107406"/>
                  <a:gd name="connsiteX37" fmla="*/ 357187 w 1602581"/>
                  <a:gd name="connsiteY37" fmla="*/ 195262 h 2107406"/>
                  <a:gd name="connsiteX38" fmla="*/ 485775 w 1602581"/>
                  <a:gd name="connsiteY38" fmla="*/ 197643 h 2107406"/>
                  <a:gd name="connsiteX39" fmla="*/ 614362 w 1602581"/>
                  <a:gd name="connsiteY39" fmla="*/ 178593 h 2107406"/>
                  <a:gd name="connsiteX40" fmla="*/ 673893 w 1602581"/>
                  <a:gd name="connsiteY40" fmla="*/ 157162 h 2107406"/>
                  <a:gd name="connsiteX41" fmla="*/ 812006 w 1602581"/>
                  <a:gd name="connsiteY41" fmla="*/ 126206 h 2107406"/>
                  <a:gd name="connsiteX42" fmla="*/ 833437 w 1602581"/>
                  <a:gd name="connsiteY42" fmla="*/ 123825 h 2107406"/>
                  <a:gd name="connsiteX43" fmla="*/ 866775 w 1602581"/>
                  <a:gd name="connsiteY43" fmla="*/ 107156 h 2107406"/>
                  <a:gd name="connsiteX44" fmla="*/ 1028700 w 1602581"/>
                  <a:gd name="connsiteY44" fmla="*/ 111918 h 2107406"/>
                  <a:gd name="connsiteX45" fmla="*/ 1042987 w 1602581"/>
                  <a:gd name="connsiteY45" fmla="*/ 57150 h 2107406"/>
                  <a:gd name="connsiteX46" fmla="*/ 1114425 w 1602581"/>
                  <a:gd name="connsiteY46" fmla="*/ 14287 h 2107406"/>
                  <a:gd name="connsiteX47" fmla="*/ 1133475 w 1602581"/>
                  <a:gd name="connsiteY47" fmla="*/ 4762 h 2107406"/>
                  <a:gd name="connsiteX48" fmla="*/ 1223962 w 1602581"/>
                  <a:gd name="connsiteY48" fmla="*/ 0 h 2107406"/>
                  <a:gd name="connsiteX49" fmla="*/ 1262062 w 1602581"/>
                  <a:gd name="connsiteY49" fmla="*/ 2381 h 2107406"/>
                  <a:gd name="connsiteX50" fmla="*/ 1233487 w 1602581"/>
                  <a:gd name="connsiteY50" fmla="*/ 30956 h 2107406"/>
                  <a:gd name="connsiteX51" fmla="*/ 1259681 w 1602581"/>
                  <a:gd name="connsiteY51" fmla="*/ 76200 h 2107406"/>
                  <a:gd name="connsiteX52" fmla="*/ 1273968 w 1602581"/>
                  <a:gd name="connsiteY52" fmla="*/ 104775 h 2107406"/>
                  <a:gd name="connsiteX53" fmla="*/ 1235868 w 1602581"/>
                  <a:gd name="connsiteY53" fmla="*/ 140493 h 2107406"/>
                  <a:gd name="connsiteX54" fmla="*/ 1273968 w 1602581"/>
                  <a:gd name="connsiteY54" fmla="*/ 159543 h 2107406"/>
                  <a:gd name="connsiteX55" fmla="*/ 1276350 w 1602581"/>
                  <a:gd name="connsiteY55" fmla="*/ 188118 h 2107406"/>
                  <a:gd name="connsiteX56" fmla="*/ 1219200 w 1602581"/>
                  <a:gd name="connsiteY56" fmla="*/ 245268 h 2107406"/>
                  <a:gd name="connsiteX57" fmla="*/ 1278731 w 1602581"/>
                  <a:gd name="connsiteY57" fmla="*/ 309562 h 2107406"/>
                  <a:gd name="connsiteX58" fmla="*/ 1243012 w 1602581"/>
                  <a:gd name="connsiteY58" fmla="*/ 354806 h 2107406"/>
                  <a:gd name="connsiteX59" fmla="*/ 1281112 w 1602581"/>
                  <a:gd name="connsiteY59" fmla="*/ 397668 h 2107406"/>
                  <a:gd name="connsiteX60" fmla="*/ 1240631 w 1602581"/>
                  <a:gd name="connsiteY60" fmla="*/ 433387 h 2107406"/>
                  <a:gd name="connsiteX61" fmla="*/ 1269206 w 1602581"/>
                  <a:gd name="connsiteY61" fmla="*/ 469106 h 2107406"/>
                  <a:gd name="connsiteX62" fmla="*/ 1202531 w 1602581"/>
                  <a:gd name="connsiteY62" fmla="*/ 526256 h 2107406"/>
                  <a:gd name="connsiteX63" fmla="*/ 1202531 w 1602581"/>
                  <a:gd name="connsiteY63" fmla="*/ 719137 h 2107406"/>
                  <a:gd name="connsiteX64" fmla="*/ 1131093 w 1602581"/>
                  <a:gd name="connsiteY64" fmla="*/ 845343 h 2107406"/>
                  <a:gd name="connsiteX65" fmla="*/ 1042987 w 1602581"/>
                  <a:gd name="connsiteY65" fmla="*/ 952500 h 2107406"/>
                  <a:gd name="connsiteX66" fmla="*/ 1092993 w 1602581"/>
                  <a:gd name="connsiteY66" fmla="*/ 992981 h 2107406"/>
                  <a:gd name="connsiteX67" fmla="*/ 1097756 w 1602581"/>
                  <a:gd name="connsiteY67" fmla="*/ 1157287 h 2107406"/>
                  <a:gd name="connsiteX68" fmla="*/ 1181100 w 1602581"/>
                  <a:gd name="connsiteY68" fmla="*/ 1154906 h 2107406"/>
                  <a:gd name="connsiteX69" fmla="*/ 1209675 w 1602581"/>
                  <a:gd name="connsiteY69" fmla="*/ 1178718 h 2107406"/>
                  <a:gd name="connsiteX70" fmla="*/ 1252537 w 1602581"/>
                  <a:gd name="connsiteY70" fmla="*/ 1238250 h 2107406"/>
                  <a:gd name="connsiteX71" fmla="*/ 1347787 w 1602581"/>
                  <a:gd name="connsiteY71" fmla="*/ 1235868 h 2107406"/>
                  <a:gd name="connsiteX72" fmla="*/ 1390650 w 1602581"/>
                  <a:gd name="connsiteY72" fmla="*/ 1300162 h 2107406"/>
                  <a:gd name="connsiteX73" fmla="*/ 1481137 w 1602581"/>
                  <a:gd name="connsiteY73" fmla="*/ 1347787 h 2107406"/>
                  <a:gd name="connsiteX74" fmla="*/ 1583531 w 1602581"/>
                  <a:gd name="connsiteY74" fmla="*/ 1333500 h 2107406"/>
                  <a:gd name="connsiteX75" fmla="*/ 1602581 w 1602581"/>
                  <a:gd name="connsiteY75" fmla="*/ 1357312 h 2107406"/>
                  <a:gd name="connsiteX76" fmla="*/ 1552575 w 1602581"/>
                  <a:gd name="connsiteY76" fmla="*/ 1407318 h 2107406"/>
                  <a:gd name="connsiteX77" fmla="*/ 1493043 w 1602581"/>
                  <a:gd name="connsiteY77" fmla="*/ 1447800 h 2107406"/>
                  <a:gd name="connsiteX78" fmla="*/ 1419225 w 1602581"/>
                  <a:gd name="connsiteY78" fmla="*/ 1585912 h 2107406"/>
                  <a:gd name="connsiteX79" fmla="*/ 1297781 w 1602581"/>
                  <a:gd name="connsiteY79" fmla="*/ 1688306 h 2107406"/>
                  <a:gd name="connsiteX80" fmla="*/ 1262062 w 1602581"/>
                  <a:gd name="connsiteY80" fmla="*/ 1719262 h 2107406"/>
                  <a:gd name="connsiteX81" fmla="*/ 1271587 w 1602581"/>
                  <a:gd name="connsiteY81" fmla="*/ 1762125 h 2107406"/>
                  <a:gd name="connsiteX82" fmla="*/ 1240631 w 1602581"/>
                  <a:gd name="connsiteY82" fmla="*/ 1797843 h 2107406"/>
                  <a:gd name="connsiteX83" fmla="*/ 1202531 w 1602581"/>
                  <a:gd name="connsiteY83" fmla="*/ 1821656 h 2107406"/>
                  <a:gd name="connsiteX84" fmla="*/ 1183481 w 1602581"/>
                  <a:gd name="connsiteY84" fmla="*/ 1883568 h 2107406"/>
                  <a:gd name="connsiteX85" fmla="*/ 1131093 w 1602581"/>
                  <a:gd name="connsiteY85" fmla="*/ 1859756 h 2107406"/>
                  <a:gd name="connsiteX86" fmla="*/ 1085850 w 1602581"/>
                  <a:gd name="connsiteY86" fmla="*/ 1921668 h 2107406"/>
                  <a:gd name="connsiteX87" fmla="*/ 1050131 w 1602581"/>
                  <a:gd name="connsiteY87" fmla="*/ 1921668 h 2107406"/>
                  <a:gd name="connsiteX88" fmla="*/ 1009650 w 1602581"/>
                  <a:gd name="connsiteY88" fmla="*/ 1914525 h 2107406"/>
                  <a:gd name="connsiteX89" fmla="*/ 947737 w 1602581"/>
                  <a:gd name="connsiteY89" fmla="*/ 1895475 h 2107406"/>
                  <a:gd name="connsiteX90" fmla="*/ 933450 w 1602581"/>
                  <a:gd name="connsiteY90" fmla="*/ 1866900 h 2107406"/>
                  <a:gd name="connsiteX91" fmla="*/ 895350 w 1602581"/>
                  <a:gd name="connsiteY91" fmla="*/ 1878806 h 2107406"/>
                  <a:gd name="connsiteX92" fmla="*/ 890587 w 1602581"/>
                  <a:gd name="connsiteY92" fmla="*/ 1926431 h 2107406"/>
                  <a:gd name="connsiteX93" fmla="*/ 878681 w 1602581"/>
                  <a:gd name="connsiteY93" fmla="*/ 1959768 h 2107406"/>
                  <a:gd name="connsiteX94" fmla="*/ 823912 w 1602581"/>
                  <a:gd name="connsiteY94" fmla="*/ 2019300 h 2107406"/>
                  <a:gd name="connsiteX95" fmla="*/ 800100 w 1602581"/>
                  <a:gd name="connsiteY95" fmla="*/ 2040731 h 2107406"/>
                  <a:gd name="connsiteX96" fmla="*/ 797718 w 1602581"/>
                  <a:gd name="connsiteY96" fmla="*/ 2090737 h 2107406"/>
                  <a:gd name="connsiteX97" fmla="*/ 747712 w 1602581"/>
                  <a:gd name="connsiteY97" fmla="*/ 2107406 h 2107406"/>
                  <a:gd name="connsiteX98" fmla="*/ 719137 w 1602581"/>
                  <a:gd name="connsiteY98" fmla="*/ 2028825 h 2107406"/>
                  <a:gd name="connsiteX99" fmla="*/ 523875 w 1602581"/>
                  <a:gd name="connsiteY99" fmla="*/ 1916906 h 2107406"/>
                  <a:gd name="connsiteX100" fmla="*/ 550068 w 1602581"/>
                  <a:gd name="connsiteY100" fmla="*/ 1862137 h 2107406"/>
                  <a:gd name="connsiteX101" fmla="*/ 521493 w 1602581"/>
                  <a:gd name="connsiteY101" fmla="*/ 1843087 h 2107406"/>
                  <a:gd name="connsiteX102" fmla="*/ 471487 w 1602581"/>
                  <a:gd name="connsiteY102" fmla="*/ 1883568 h 2107406"/>
                  <a:gd name="connsiteX103" fmla="*/ 392907 w 1602581"/>
                  <a:gd name="connsiteY103" fmla="*/ 1797844 h 2107406"/>
                  <a:gd name="connsiteX104" fmla="*/ 411956 w 1602581"/>
                  <a:gd name="connsiteY104" fmla="*/ 1762124 h 2107406"/>
                  <a:gd name="connsiteX105" fmla="*/ 409575 w 1602581"/>
                  <a:gd name="connsiteY105" fmla="*/ 1654968 h 2107406"/>
                  <a:gd name="connsiteX106" fmla="*/ 504825 w 1602581"/>
                  <a:gd name="connsiteY106" fmla="*/ 1545431 h 2107406"/>
                  <a:gd name="connsiteX107" fmla="*/ 523875 w 1602581"/>
                  <a:gd name="connsiteY107" fmla="*/ 1531143 h 2107406"/>
                  <a:gd name="connsiteX108" fmla="*/ 545306 w 1602581"/>
                  <a:gd name="connsiteY108" fmla="*/ 1519237 h 2107406"/>
                  <a:gd name="connsiteX109" fmla="*/ 488156 w 1602581"/>
                  <a:gd name="connsiteY109" fmla="*/ 1347787 h 2107406"/>
                  <a:gd name="connsiteX110" fmla="*/ 419099 w 1602581"/>
                  <a:gd name="connsiteY110" fmla="*/ 1233488 h 2107406"/>
                  <a:gd name="connsiteX111" fmla="*/ 461963 w 1602581"/>
                  <a:gd name="connsiteY111" fmla="*/ 1209675 h 2107406"/>
                  <a:gd name="connsiteX112" fmla="*/ 435768 w 1602581"/>
                  <a:gd name="connsiteY112" fmla="*/ 1162050 h 2107406"/>
                  <a:gd name="connsiteX113" fmla="*/ 402432 w 1602581"/>
                  <a:gd name="connsiteY113" fmla="*/ 1121568 h 2107406"/>
                  <a:gd name="connsiteX114" fmla="*/ 357187 w 1602581"/>
                  <a:gd name="connsiteY114" fmla="*/ 1159668 h 2107406"/>
                  <a:gd name="connsiteX115" fmla="*/ 366712 w 1602581"/>
                  <a:gd name="connsiteY115" fmla="*/ 1059656 h 2107406"/>
                  <a:gd name="connsiteX116" fmla="*/ 285750 w 1602581"/>
                  <a:gd name="connsiteY116" fmla="*/ 1073943 h 210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1602581" h="2107406">
                    <a:moveTo>
                      <a:pt x="285750" y="1073943"/>
                    </a:moveTo>
                    <a:lnTo>
                      <a:pt x="247650" y="1016793"/>
                    </a:lnTo>
                    <a:lnTo>
                      <a:pt x="209550" y="1000125"/>
                    </a:lnTo>
                    <a:lnTo>
                      <a:pt x="164306" y="1012031"/>
                    </a:lnTo>
                    <a:lnTo>
                      <a:pt x="135731" y="957262"/>
                    </a:lnTo>
                    <a:lnTo>
                      <a:pt x="76200" y="957262"/>
                    </a:lnTo>
                    <a:lnTo>
                      <a:pt x="47625" y="947737"/>
                    </a:lnTo>
                    <a:lnTo>
                      <a:pt x="50006" y="897731"/>
                    </a:lnTo>
                    <a:lnTo>
                      <a:pt x="21431" y="876300"/>
                    </a:lnTo>
                    <a:lnTo>
                      <a:pt x="0" y="835818"/>
                    </a:lnTo>
                    <a:lnTo>
                      <a:pt x="47625" y="788193"/>
                    </a:lnTo>
                    <a:lnTo>
                      <a:pt x="133350" y="759618"/>
                    </a:lnTo>
                    <a:lnTo>
                      <a:pt x="173831" y="731043"/>
                    </a:lnTo>
                    <a:lnTo>
                      <a:pt x="183356" y="652462"/>
                    </a:lnTo>
                    <a:lnTo>
                      <a:pt x="133350" y="597693"/>
                    </a:lnTo>
                    <a:cubicBezTo>
                      <a:pt x="154062" y="589927"/>
                      <a:pt x="146335" y="593584"/>
                      <a:pt x="157162" y="588168"/>
                    </a:cubicBezTo>
                    <a:lnTo>
                      <a:pt x="207168" y="519112"/>
                    </a:lnTo>
                    <a:lnTo>
                      <a:pt x="250031" y="500062"/>
                    </a:lnTo>
                    <a:lnTo>
                      <a:pt x="321468" y="521493"/>
                    </a:lnTo>
                    <a:lnTo>
                      <a:pt x="402431" y="521493"/>
                    </a:lnTo>
                    <a:lnTo>
                      <a:pt x="419100" y="509587"/>
                    </a:lnTo>
                    <a:lnTo>
                      <a:pt x="416718" y="469106"/>
                    </a:lnTo>
                    <a:lnTo>
                      <a:pt x="354806" y="440531"/>
                    </a:lnTo>
                    <a:lnTo>
                      <a:pt x="309562" y="419100"/>
                    </a:lnTo>
                    <a:lnTo>
                      <a:pt x="247650" y="419100"/>
                    </a:lnTo>
                    <a:lnTo>
                      <a:pt x="228600" y="388143"/>
                    </a:lnTo>
                    <a:lnTo>
                      <a:pt x="250031" y="364331"/>
                    </a:lnTo>
                    <a:lnTo>
                      <a:pt x="314325" y="345281"/>
                    </a:lnTo>
                    <a:lnTo>
                      <a:pt x="328612" y="323850"/>
                    </a:lnTo>
                    <a:lnTo>
                      <a:pt x="297656" y="292893"/>
                    </a:lnTo>
                    <a:lnTo>
                      <a:pt x="250031" y="311943"/>
                    </a:lnTo>
                    <a:lnTo>
                      <a:pt x="216693" y="280987"/>
                    </a:lnTo>
                    <a:lnTo>
                      <a:pt x="238125" y="257175"/>
                    </a:lnTo>
                    <a:lnTo>
                      <a:pt x="245268" y="219075"/>
                    </a:lnTo>
                    <a:lnTo>
                      <a:pt x="233362" y="195262"/>
                    </a:lnTo>
                    <a:lnTo>
                      <a:pt x="261937" y="145256"/>
                    </a:lnTo>
                    <a:lnTo>
                      <a:pt x="319087" y="157162"/>
                    </a:lnTo>
                    <a:lnTo>
                      <a:pt x="357187" y="195262"/>
                    </a:lnTo>
                    <a:lnTo>
                      <a:pt x="485775" y="197643"/>
                    </a:lnTo>
                    <a:lnTo>
                      <a:pt x="614362" y="178593"/>
                    </a:lnTo>
                    <a:lnTo>
                      <a:pt x="673893" y="157162"/>
                    </a:lnTo>
                    <a:lnTo>
                      <a:pt x="812006" y="126206"/>
                    </a:lnTo>
                    <a:lnTo>
                      <a:pt x="833437" y="123825"/>
                    </a:lnTo>
                    <a:lnTo>
                      <a:pt x="866775" y="107156"/>
                    </a:lnTo>
                    <a:lnTo>
                      <a:pt x="1028700" y="111918"/>
                    </a:lnTo>
                    <a:lnTo>
                      <a:pt x="1042987" y="57150"/>
                    </a:lnTo>
                    <a:lnTo>
                      <a:pt x="1114425" y="14287"/>
                    </a:lnTo>
                    <a:lnTo>
                      <a:pt x="1133475" y="4762"/>
                    </a:lnTo>
                    <a:lnTo>
                      <a:pt x="1223962" y="0"/>
                    </a:lnTo>
                    <a:lnTo>
                      <a:pt x="1262062" y="2381"/>
                    </a:lnTo>
                    <a:lnTo>
                      <a:pt x="1233487" y="30956"/>
                    </a:lnTo>
                    <a:lnTo>
                      <a:pt x="1259681" y="76200"/>
                    </a:lnTo>
                    <a:lnTo>
                      <a:pt x="1273968" y="104775"/>
                    </a:lnTo>
                    <a:lnTo>
                      <a:pt x="1235868" y="140493"/>
                    </a:lnTo>
                    <a:lnTo>
                      <a:pt x="1273968" y="159543"/>
                    </a:lnTo>
                    <a:lnTo>
                      <a:pt x="1276350" y="188118"/>
                    </a:lnTo>
                    <a:lnTo>
                      <a:pt x="1219200" y="245268"/>
                    </a:lnTo>
                    <a:lnTo>
                      <a:pt x="1278731" y="309562"/>
                    </a:lnTo>
                    <a:lnTo>
                      <a:pt x="1243012" y="354806"/>
                    </a:lnTo>
                    <a:lnTo>
                      <a:pt x="1281112" y="397668"/>
                    </a:lnTo>
                    <a:lnTo>
                      <a:pt x="1240631" y="433387"/>
                    </a:lnTo>
                    <a:lnTo>
                      <a:pt x="1269206" y="469106"/>
                    </a:lnTo>
                    <a:lnTo>
                      <a:pt x="1202531" y="526256"/>
                    </a:lnTo>
                    <a:lnTo>
                      <a:pt x="1202531" y="719137"/>
                    </a:lnTo>
                    <a:lnTo>
                      <a:pt x="1131093" y="845343"/>
                    </a:lnTo>
                    <a:lnTo>
                      <a:pt x="1042987" y="952500"/>
                    </a:lnTo>
                    <a:lnTo>
                      <a:pt x="1092993" y="992981"/>
                    </a:lnTo>
                    <a:lnTo>
                      <a:pt x="1097756" y="1157287"/>
                    </a:lnTo>
                    <a:lnTo>
                      <a:pt x="1181100" y="1154906"/>
                    </a:lnTo>
                    <a:lnTo>
                      <a:pt x="1209675" y="1178718"/>
                    </a:lnTo>
                    <a:lnTo>
                      <a:pt x="1252537" y="1238250"/>
                    </a:lnTo>
                    <a:lnTo>
                      <a:pt x="1347787" y="1235868"/>
                    </a:lnTo>
                    <a:lnTo>
                      <a:pt x="1390650" y="1300162"/>
                    </a:lnTo>
                    <a:lnTo>
                      <a:pt x="1481137" y="1347787"/>
                    </a:lnTo>
                    <a:lnTo>
                      <a:pt x="1583531" y="1333500"/>
                    </a:lnTo>
                    <a:lnTo>
                      <a:pt x="1602581" y="1357312"/>
                    </a:lnTo>
                    <a:lnTo>
                      <a:pt x="1552575" y="1407318"/>
                    </a:lnTo>
                    <a:lnTo>
                      <a:pt x="1493043" y="1447800"/>
                    </a:lnTo>
                    <a:lnTo>
                      <a:pt x="1419225" y="1585912"/>
                    </a:lnTo>
                    <a:lnTo>
                      <a:pt x="1297781" y="1688306"/>
                    </a:lnTo>
                    <a:lnTo>
                      <a:pt x="1262062" y="1719262"/>
                    </a:lnTo>
                    <a:lnTo>
                      <a:pt x="1271587" y="1762125"/>
                    </a:lnTo>
                    <a:lnTo>
                      <a:pt x="1240631" y="1797843"/>
                    </a:lnTo>
                    <a:lnTo>
                      <a:pt x="1202531" y="1821656"/>
                    </a:lnTo>
                    <a:lnTo>
                      <a:pt x="1183481" y="1883568"/>
                    </a:lnTo>
                    <a:lnTo>
                      <a:pt x="1131093" y="1859756"/>
                    </a:lnTo>
                    <a:lnTo>
                      <a:pt x="1085850" y="1921668"/>
                    </a:lnTo>
                    <a:lnTo>
                      <a:pt x="1050131" y="1921668"/>
                    </a:lnTo>
                    <a:lnTo>
                      <a:pt x="1009650" y="1914525"/>
                    </a:lnTo>
                    <a:lnTo>
                      <a:pt x="947737" y="1895475"/>
                    </a:lnTo>
                    <a:lnTo>
                      <a:pt x="933450" y="1866900"/>
                    </a:lnTo>
                    <a:lnTo>
                      <a:pt x="895350" y="1878806"/>
                    </a:lnTo>
                    <a:lnTo>
                      <a:pt x="890587" y="1926431"/>
                    </a:lnTo>
                    <a:lnTo>
                      <a:pt x="878681" y="1959768"/>
                    </a:lnTo>
                    <a:lnTo>
                      <a:pt x="823912" y="2019300"/>
                    </a:lnTo>
                    <a:lnTo>
                      <a:pt x="800100" y="2040731"/>
                    </a:lnTo>
                    <a:lnTo>
                      <a:pt x="797718" y="2090737"/>
                    </a:lnTo>
                    <a:lnTo>
                      <a:pt x="747712" y="2107406"/>
                    </a:lnTo>
                    <a:lnTo>
                      <a:pt x="719137" y="2028825"/>
                    </a:lnTo>
                    <a:lnTo>
                      <a:pt x="523875" y="1916906"/>
                    </a:lnTo>
                    <a:lnTo>
                      <a:pt x="550068" y="1862137"/>
                    </a:lnTo>
                    <a:lnTo>
                      <a:pt x="521493" y="1843087"/>
                    </a:lnTo>
                    <a:lnTo>
                      <a:pt x="471487" y="1883568"/>
                    </a:lnTo>
                    <a:lnTo>
                      <a:pt x="392907" y="1797844"/>
                    </a:lnTo>
                    <a:lnTo>
                      <a:pt x="411956" y="1762124"/>
                    </a:lnTo>
                    <a:cubicBezTo>
                      <a:pt x="411162" y="1726405"/>
                      <a:pt x="410369" y="1690687"/>
                      <a:pt x="409575" y="1654968"/>
                    </a:cubicBezTo>
                    <a:lnTo>
                      <a:pt x="504825" y="1545431"/>
                    </a:lnTo>
                    <a:cubicBezTo>
                      <a:pt x="527031" y="1540496"/>
                      <a:pt x="514176" y="1531143"/>
                      <a:pt x="523875" y="1531143"/>
                    </a:cubicBezTo>
                    <a:lnTo>
                      <a:pt x="545306" y="1519237"/>
                    </a:lnTo>
                    <a:lnTo>
                      <a:pt x="488156" y="1347787"/>
                    </a:lnTo>
                    <a:lnTo>
                      <a:pt x="419099" y="1233488"/>
                    </a:lnTo>
                    <a:lnTo>
                      <a:pt x="461963" y="1209675"/>
                    </a:lnTo>
                    <a:lnTo>
                      <a:pt x="435768" y="1162050"/>
                    </a:lnTo>
                    <a:lnTo>
                      <a:pt x="402432" y="1121568"/>
                    </a:lnTo>
                    <a:lnTo>
                      <a:pt x="357187" y="1159668"/>
                    </a:lnTo>
                    <a:lnTo>
                      <a:pt x="366712" y="1059656"/>
                    </a:lnTo>
                    <a:lnTo>
                      <a:pt x="285750" y="1073943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2" name="Freeform 17"/>
              <p:cNvSpPr/>
              <p:nvPr/>
            </p:nvSpPr>
            <p:spPr>
              <a:xfrm>
                <a:off x="4022789" y="929126"/>
                <a:ext cx="1075847" cy="631116"/>
              </a:xfrm>
              <a:custGeom>
                <a:avLst/>
                <a:gdLst>
                  <a:gd name="connsiteX0" fmla="*/ 50007 w 1521619"/>
                  <a:gd name="connsiteY0" fmla="*/ 240507 h 969169"/>
                  <a:gd name="connsiteX1" fmla="*/ 345282 w 1521619"/>
                  <a:gd name="connsiteY1" fmla="*/ 130969 h 969169"/>
                  <a:gd name="connsiteX2" fmla="*/ 397669 w 1521619"/>
                  <a:gd name="connsiteY2" fmla="*/ 142875 h 969169"/>
                  <a:gd name="connsiteX3" fmla="*/ 459582 w 1521619"/>
                  <a:gd name="connsiteY3" fmla="*/ 50007 h 969169"/>
                  <a:gd name="connsiteX4" fmla="*/ 552450 w 1521619"/>
                  <a:gd name="connsiteY4" fmla="*/ 0 h 969169"/>
                  <a:gd name="connsiteX5" fmla="*/ 647700 w 1521619"/>
                  <a:gd name="connsiteY5" fmla="*/ 4763 h 969169"/>
                  <a:gd name="connsiteX6" fmla="*/ 747713 w 1521619"/>
                  <a:gd name="connsiteY6" fmla="*/ 57150 h 969169"/>
                  <a:gd name="connsiteX7" fmla="*/ 781050 w 1521619"/>
                  <a:gd name="connsiteY7" fmla="*/ 73819 h 969169"/>
                  <a:gd name="connsiteX8" fmla="*/ 831057 w 1521619"/>
                  <a:gd name="connsiteY8" fmla="*/ 23813 h 969169"/>
                  <a:gd name="connsiteX9" fmla="*/ 876300 w 1521619"/>
                  <a:gd name="connsiteY9" fmla="*/ 11907 h 969169"/>
                  <a:gd name="connsiteX10" fmla="*/ 921544 w 1521619"/>
                  <a:gd name="connsiteY10" fmla="*/ 52388 h 969169"/>
                  <a:gd name="connsiteX11" fmla="*/ 938213 w 1521619"/>
                  <a:gd name="connsiteY11" fmla="*/ 102394 h 969169"/>
                  <a:gd name="connsiteX12" fmla="*/ 933450 w 1521619"/>
                  <a:gd name="connsiteY12" fmla="*/ 154782 h 969169"/>
                  <a:gd name="connsiteX13" fmla="*/ 981075 w 1521619"/>
                  <a:gd name="connsiteY13" fmla="*/ 209550 h 969169"/>
                  <a:gd name="connsiteX14" fmla="*/ 992982 w 1521619"/>
                  <a:gd name="connsiteY14" fmla="*/ 228600 h 969169"/>
                  <a:gd name="connsiteX15" fmla="*/ 973932 w 1521619"/>
                  <a:gd name="connsiteY15" fmla="*/ 288132 h 969169"/>
                  <a:gd name="connsiteX16" fmla="*/ 978694 w 1521619"/>
                  <a:gd name="connsiteY16" fmla="*/ 316707 h 969169"/>
                  <a:gd name="connsiteX17" fmla="*/ 947738 w 1521619"/>
                  <a:gd name="connsiteY17" fmla="*/ 345282 h 969169"/>
                  <a:gd name="connsiteX18" fmla="*/ 973932 w 1521619"/>
                  <a:gd name="connsiteY18" fmla="*/ 390525 h 969169"/>
                  <a:gd name="connsiteX19" fmla="*/ 995363 w 1521619"/>
                  <a:gd name="connsiteY19" fmla="*/ 397669 h 969169"/>
                  <a:gd name="connsiteX20" fmla="*/ 1023938 w 1521619"/>
                  <a:gd name="connsiteY20" fmla="*/ 366713 h 969169"/>
                  <a:gd name="connsiteX21" fmla="*/ 1064419 w 1521619"/>
                  <a:gd name="connsiteY21" fmla="*/ 404813 h 969169"/>
                  <a:gd name="connsiteX22" fmla="*/ 1116807 w 1521619"/>
                  <a:gd name="connsiteY22" fmla="*/ 345282 h 969169"/>
                  <a:gd name="connsiteX23" fmla="*/ 1166813 w 1521619"/>
                  <a:gd name="connsiteY23" fmla="*/ 321469 h 969169"/>
                  <a:gd name="connsiteX24" fmla="*/ 1209675 w 1521619"/>
                  <a:gd name="connsiteY24" fmla="*/ 357188 h 969169"/>
                  <a:gd name="connsiteX25" fmla="*/ 1228725 w 1521619"/>
                  <a:gd name="connsiteY25" fmla="*/ 388144 h 969169"/>
                  <a:gd name="connsiteX26" fmla="*/ 1231107 w 1521619"/>
                  <a:gd name="connsiteY26" fmla="*/ 435769 h 969169"/>
                  <a:gd name="connsiteX27" fmla="*/ 1271588 w 1521619"/>
                  <a:gd name="connsiteY27" fmla="*/ 445294 h 969169"/>
                  <a:gd name="connsiteX28" fmla="*/ 1281113 w 1521619"/>
                  <a:gd name="connsiteY28" fmla="*/ 383382 h 969169"/>
                  <a:gd name="connsiteX29" fmla="*/ 1316832 w 1521619"/>
                  <a:gd name="connsiteY29" fmla="*/ 366713 h 969169"/>
                  <a:gd name="connsiteX30" fmla="*/ 1388269 w 1521619"/>
                  <a:gd name="connsiteY30" fmla="*/ 414338 h 969169"/>
                  <a:gd name="connsiteX31" fmla="*/ 1416844 w 1521619"/>
                  <a:gd name="connsiteY31" fmla="*/ 421482 h 969169"/>
                  <a:gd name="connsiteX32" fmla="*/ 1464469 w 1521619"/>
                  <a:gd name="connsiteY32" fmla="*/ 376238 h 969169"/>
                  <a:gd name="connsiteX33" fmla="*/ 1507332 w 1521619"/>
                  <a:gd name="connsiteY33" fmla="*/ 421482 h 969169"/>
                  <a:gd name="connsiteX34" fmla="*/ 1493044 w 1521619"/>
                  <a:gd name="connsiteY34" fmla="*/ 447675 h 969169"/>
                  <a:gd name="connsiteX35" fmla="*/ 1454944 w 1521619"/>
                  <a:gd name="connsiteY35" fmla="*/ 466725 h 969169"/>
                  <a:gd name="connsiteX36" fmla="*/ 1421607 w 1521619"/>
                  <a:gd name="connsiteY36" fmla="*/ 507207 h 969169"/>
                  <a:gd name="connsiteX37" fmla="*/ 1388269 w 1521619"/>
                  <a:gd name="connsiteY37" fmla="*/ 547688 h 969169"/>
                  <a:gd name="connsiteX38" fmla="*/ 1388269 w 1521619"/>
                  <a:gd name="connsiteY38" fmla="*/ 547688 h 969169"/>
                  <a:gd name="connsiteX39" fmla="*/ 1416844 w 1521619"/>
                  <a:gd name="connsiteY39" fmla="*/ 588169 h 969169"/>
                  <a:gd name="connsiteX40" fmla="*/ 1426369 w 1521619"/>
                  <a:gd name="connsiteY40" fmla="*/ 635794 h 969169"/>
                  <a:gd name="connsiteX41" fmla="*/ 1478757 w 1521619"/>
                  <a:gd name="connsiteY41" fmla="*/ 619125 h 969169"/>
                  <a:gd name="connsiteX42" fmla="*/ 1464469 w 1521619"/>
                  <a:gd name="connsiteY42" fmla="*/ 657225 h 969169"/>
                  <a:gd name="connsiteX43" fmla="*/ 1438275 w 1521619"/>
                  <a:gd name="connsiteY43" fmla="*/ 683419 h 969169"/>
                  <a:gd name="connsiteX44" fmla="*/ 1485900 w 1521619"/>
                  <a:gd name="connsiteY44" fmla="*/ 719138 h 969169"/>
                  <a:gd name="connsiteX45" fmla="*/ 1521619 w 1521619"/>
                  <a:gd name="connsiteY45" fmla="*/ 738188 h 969169"/>
                  <a:gd name="connsiteX46" fmla="*/ 1502569 w 1521619"/>
                  <a:gd name="connsiteY46" fmla="*/ 764382 h 969169"/>
                  <a:gd name="connsiteX47" fmla="*/ 1473994 w 1521619"/>
                  <a:gd name="connsiteY47" fmla="*/ 759619 h 969169"/>
                  <a:gd name="connsiteX48" fmla="*/ 1512094 w 1521619"/>
                  <a:gd name="connsiteY48" fmla="*/ 814388 h 969169"/>
                  <a:gd name="connsiteX49" fmla="*/ 1473994 w 1521619"/>
                  <a:gd name="connsiteY49" fmla="*/ 816769 h 969169"/>
                  <a:gd name="connsiteX50" fmla="*/ 1438275 w 1521619"/>
                  <a:gd name="connsiteY50" fmla="*/ 812007 h 969169"/>
                  <a:gd name="connsiteX51" fmla="*/ 1362075 w 1521619"/>
                  <a:gd name="connsiteY51" fmla="*/ 795338 h 969169"/>
                  <a:gd name="connsiteX52" fmla="*/ 1328738 w 1521619"/>
                  <a:gd name="connsiteY52" fmla="*/ 790575 h 969169"/>
                  <a:gd name="connsiteX53" fmla="*/ 1309688 w 1521619"/>
                  <a:gd name="connsiteY53" fmla="*/ 723900 h 969169"/>
                  <a:gd name="connsiteX54" fmla="*/ 1171575 w 1521619"/>
                  <a:gd name="connsiteY54" fmla="*/ 757238 h 969169"/>
                  <a:gd name="connsiteX55" fmla="*/ 1135857 w 1521619"/>
                  <a:gd name="connsiteY55" fmla="*/ 738188 h 969169"/>
                  <a:gd name="connsiteX56" fmla="*/ 1052513 w 1521619"/>
                  <a:gd name="connsiteY56" fmla="*/ 645319 h 969169"/>
                  <a:gd name="connsiteX57" fmla="*/ 1019175 w 1521619"/>
                  <a:gd name="connsiteY57" fmla="*/ 654844 h 969169"/>
                  <a:gd name="connsiteX58" fmla="*/ 983457 w 1521619"/>
                  <a:gd name="connsiteY58" fmla="*/ 652463 h 969169"/>
                  <a:gd name="connsiteX59" fmla="*/ 888207 w 1521619"/>
                  <a:gd name="connsiteY59" fmla="*/ 621507 h 969169"/>
                  <a:gd name="connsiteX60" fmla="*/ 831057 w 1521619"/>
                  <a:gd name="connsiteY60" fmla="*/ 673894 h 969169"/>
                  <a:gd name="connsiteX61" fmla="*/ 783432 w 1521619"/>
                  <a:gd name="connsiteY61" fmla="*/ 611982 h 969169"/>
                  <a:gd name="connsiteX62" fmla="*/ 738188 w 1521619"/>
                  <a:gd name="connsiteY62" fmla="*/ 597694 h 969169"/>
                  <a:gd name="connsiteX63" fmla="*/ 733425 w 1521619"/>
                  <a:gd name="connsiteY63" fmla="*/ 552450 h 969169"/>
                  <a:gd name="connsiteX64" fmla="*/ 697707 w 1521619"/>
                  <a:gd name="connsiteY64" fmla="*/ 533400 h 969169"/>
                  <a:gd name="connsiteX65" fmla="*/ 654844 w 1521619"/>
                  <a:gd name="connsiteY65" fmla="*/ 542925 h 969169"/>
                  <a:gd name="connsiteX66" fmla="*/ 642938 w 1521619"/>
                  <a:gd name="connsiteY66" fmla="*/ 564357 h 969169"/>
                  <a:gd name="connsiteX67" fmla="*/ 581025 w 1521619"/>
                  <a:gd name="connsiteY67" fmla="*/ 550069 h 969169"/>
                  <a:gd name="connsiteX68" fmla="*/ 471488 w 1521619"/>
                  <a:gd name="connsiteY68" fmla="*/ 626269 h 969169"/>
                  <a:gd name="connsiteX69" fmla="*/ 504825 w 1521619"/>
                  <a:gd name="connsiteY69" fmla="*/ 728663 h 969169"/>
                  <a:gd name="connsiteX70" fmla="*/ 526257 w 1521619"/>
                  <a:gd name="connsiteY70" fmla="*/ 797719 h 969169"/>
                  <a:gd name="connsiteX71" fmla="*/ 445294 w 1521619"/>
                  <a:gd name="connsiteY71" fmla="*/ 859632 h 969169"/>
                  <a:gd name="connsiteX72" fmla="*/ 316707 w 1521619"/>
                  <a:gd name="connsiteY72" fmla="*/ 964407 h 969169"/>
                  <a:gd name="connsiteX73" fmla="*/ 250032 w 1521619"/>
                  <a:gd name="connsiteY73" fmla="*/ 912019 h 969169"/>
                  <a:gd name="connsiteX74" fmla="*/ 207169 w 1521619"/>
                  <a:gd name="connsiteY74" fmla="*/ 969169 h 969169"/>
                  <a:gd name="connsiteX75" fmla="*/ 0 w 1521619"/>
                  <a:gd name="connsiteY75" fmla="*/ 962025 h 969169"/>
                  <a:gd name="connsiteX76" fmla="*/ 0 w 1521619"/>
                  <a:gd name="connsiteY76" fmla="*/ 766763 h 969169"/>
                  <a:gd name="connsiteX77" fmla="*/ 59532 w 1521619"/>
                  <a:gd name="connsiteY77" fmla="*/ 719138 h 969169"/>
                  <a:gd name="connsiteX78" fmla="*/ 35719 w 1521619"/>
                  <a:gd name="connsiteY78" fmla="*/ 678657 h 969169"/>
                  <a:gd name="connsiteX79" fmla="*/ 73819 w 1521619"/>
                  <a:gd name="connsiteY79" fmla="*/ 642938 h 969169"/>
                  <a:gd name="connsiteX80" fmla="*/ 40482 w 1521619"/>
                  <a:gd name="connsiteY80" fmla="*/ 592932 h 969169"/>
                  <a:gd name="connsiteX81" fmla="*/ 71438 w 1521619"/>
                  <a:gd name="connsiteY81" fmla="*/ 554832 h 969169"/>
                  <a:gd name="connsiteX82" fmla="*/ 14288 w 1521619"/>
                  <a:gd name="connsiteY82" fmla="*/ 481013 h 969169"/>
                  <a:gd name="connsiteX83" fmla="*/ 71438 w 1521619"/>
                  <a:gd name="connsiteY83" fmla="*/ 433388 h 969169"/>
                  <a:gd name="connsiteX84" fmla="*/ 66675 w 1521619"/>
                  <a:gd name="connsiteY84" fmla="*/ 395288 h 969169"/>
                  <a:gd name="connsiteX85" fmla="*/ 30957 w 1521619"/>
                  <a:gd name="connsiteY85" fmla="*/ 383382 h 969169"/>
                  <a:gd name="connsiteX86" fmla="*/ 66675 w 1521619"/>
                  <a:gd name="connsiteY86" fmla="*/ 340519 h 969169"/>
                  <a:gd name="connsiteX87" fmla="*/ 50007 w 1521619"/>
                  <a:gd name="connsiteY87" fmla="*/ 240507 h 969169"/>
                  <a:gd name="connsiteX0" fmla="*/ 50007 w 1521619"/>
                  <a:gd name="connsiteY0" fmla="*/ 240507 h 969169"/>
                  <a:gd name="connsiteX1" fmla="*/ 345282 w 1521619"/>
                  <a:gd name="connsiteY1" fmla="*/ 130969 h 969169"/>
                  <a:gd name="connsiteX2" fmla="*/ 397669 w 1521619"/>
                  <a:gd name="connsiteY2" fmla="*/ 142875 h 969169"/>
                  <a:gd name="connsiteX3" fmla="*/ 459582 w 1521619"/>
                  <a:gd name="connsiteY3" fmla="*/ 50007 h 969169"/>
                  <a:gd name="connsiteX4" fmla="*/ 552450 w 1521619"/>
                  <a:gd name="connsiteY4" fmla="*/ 0 h 969169"/>
                  <a:gd name="connsiteX5" fmla="*/ 647700 w 1521619"/>
                  <a:gd name="connsiteY5" fmla="*/ 4763 h 969169"/>
                  <a:gd name="connsiteX6" fmla="*/ 747713 w 1521619"/>
                  <a:gd name="connsiteY6" fmla="*/ 57150 h 969169"/>
                  <a:gd name="connsiteX7" fmla="*/ 781050 w 1521619"/>
                  <a:gd name="connsiteY7" fmla="*/ 73819 h 969169"/>
                  <a:gd name="connsiteX8" fmla="*/ 831057 w 1521619"/>
                  <a:gd name="connsiteY8" fmla="*/ 23813 h 969169"/>
                  <a:gd name="connsiteX9" fmla="*/ 876300 w 1521619"/>
                  <a:gd name="connsiteY9" fmla="*/ 11907 h 969169"/>
                  <a:gd name="connsiteX10" fmla="*/ 921544 w 1521619"/>
                  <a:gd name="connsiteY10" fmla="*/ 52388 h 969169"/>
                  <a:gd name="connsiteX11" fmla="*/ 938213 w 1521619"/>
                  <a:gd name="connsiteY11" fmla="*/ 102394 h 969169"/>
                  <a:gd name="connsiteX12" fmla="*/ 933450 w 1521619"/>
                  <a:gd name="connsiteY12" fmla="*/ 154782 h 969169"/>
                  <a:gd name="connsiteX13" fmla="*/ 981075 w 1521619"/>
                  <a:gd name="connsiteY13" fmla="*/ 209550 h 969169"/>
                  <a:gd name="connsiteX14" fmla="*/ 992982 w 1521619"/>
                  <a:gd name="connsiteY14" fmla="*/ 228600 h 969169"/>
                  <a:gd name="connsiteX15" fmla="*/ 973932 w 1521619"/>
                  <a:gd name="connsiteY15" fmla="*/ 288132 h 969169"/>
                  <a:gd name="connsiteX16" fmla="*/ 978694 w 1521619"/>
                  <a:gd name="connsiteY16" fmla="*/ 316707 h 969169"/>
                  <a:gd name="connsiteX17" fmla="*/ 947738 w 1521619"/>
                  <a:gd name="connsiteY17" fmla="*/ 345282 h 969169"/>
                  <a:gd name="connsiteX18" fmla="*/ 973932 w 1521619"/>
                  <a:gd name="connsiteY18" fmla="*/ 390525 h 969169"/>
                  <a:gd name="connsiteX19" fmla="*/ 995363 w 1521619"/>
                  <a:gd name="connsiteY19" fmla="*/ 397669 h 969169"/>
                  <a:gd name="connsiteX20" fmla="*/ 1023938 w 1521619"/>
                  <a:gd name="connsiteY20" fmla="*/ 366713 h 969169"/>
                  <a:gd name="connsiteX21" fmla="*/ 1064419 w 1521619"/>
                  <a:gd name="connsiteY21" fmla="*/ 404813 h 969169"/>
                  <a:gd name="connsiteX22" fmla="*/ 1116807 w 1521619"/>
                  <a:gd name="connsiteY22" fmla="*/ 345282 h 969169"/>
                  <a:gd name="connsiteX23" fmla="*/ 1166813 w 1521619"/>
                  <a:gd name="connsiteY23" fmla="*/ 321469 h 969169"/>
                  <a:gd name="connsiteX24" fmla="*/ 1209675 w 1521619"/>
                  <a:gd name="connsiteY24" fmla="*/ 357188 h 969169"/>
                  <a:gd name="connsiteX25" fmla="*/ 1228725 w 1521619"/>
                  <a:gd name="connsiteY25" fmla="*/ 388144 h 969169"/>
                  <a:gd name="connsiteX26" fmla="*/ 1231107 w 1521619"/>
                  <a:gd name="connsiteY26" fmla="*/ 435769 h 969169"/>
                  <a:gd name="connsiteX27" fmla="*/ 1271588 w 1521619"/>
                  <a:gd name="connsiteY27" fmla="*/ 445294 h 969169"/>
                  <a:gd name="connsiteX28" fmla="*/ 1281113 w 1521619"/>
                  <a:gd name="connsiteY28" fmla="*/ 383382 h 969169"/>
                  <a:gd name="connsiteX29" fmla="*/ 1316832 w 1521619"/>
                  <a:gd name="connsiteY29" fmla="*/ 366713 h 969169"/>
                  <a:gd name="connsiteX30" fmla="*/ 1388269 w 1521619"/>
                  <a:gd name="connsiteY30" fmla="*/ 414338 h 969169"/>
                  <a:gd name="connsiteX31" fmla="*/ 1416844 w 1521619"/>
                  <a:gd name="connsiteY31" fmla="*/ 421482 h 969169"/>
                  <a:gd name="connsiteX32" fmla="*/ 1464469 w 1521619"/>
                  <a:gd name="connsiteY32" fmla="*/ 376238 h 969169"/>
                  <a:gd name="connsiteX33" fmla="*/ 1507332 w 1521619"/>
                  <a:gd name="connsiteY33" fmla="*/ 421482 h 969169"/>
                  <a:gd name="connsiteX34" fmla="*/ 1493044 w 1521619"/>
                  <a:gd name="connsiteY34" fmla="*/ 447675 h 969169"/>
                  <a:gd name="connsiteX35" fmla="*/ 1454944 w 1521619"/>
                  <a:gd name="connsiteY35" fmla="*/ 466725 h 969169"/>
                  <a:gd name="connsiteX36" fmla="*/ 1421607 w 1521619"/>
                  <a:gd name="connsiteY36" fmla="*/ 507207 h 969169"/>
                  <a:gd name="connsiteX37" fmla="*/ 1388269 w 1521619"/>
                  <a:gd name="connsiteY37" fmla="*/ 547688 h 969169"/>
                  <a:gd name="connsiteX38" fmla="*/ 1388269 w 1521619"/>
                  <a:gd name="connsiteY38" fmla="*/ 547688 h 969169"/>
                  <a:gd name="connsiteX39" fmla="*/ 1416844 w 1521619"/>
                  <a:gd name="connsiteY39" fmla="*/ 588169 h 969169"/>
                  <a:gd name="connsiteX40" fmla="*/ 1426369 w 1521619"/>
                  <a:gd name="connsiteY40" fmla="*/ 635794 h 969169"/>
                  <a:gd name="connsiteX41" fmla="*/ 1478757 w 1521619"/>
                  <a:gd name="connsiteY41" fmla="*/ 619125 h 969169"/>
                  <a:gd name="connsiteX42" fmla="*/ 1464469 w 1521619"/>
                  <a:gd name="connsiteY42" fmla="*/ 657225 h 969169"/>
                  <a:gd name="connsiteX43" fmla="*/ 1438275 w 1521619"/>
                  <a:gd name="connsiteY43" fmla="*/ 683419 h 969169"/>
                  <a:gd name="connsiteX44" fmla="*/ 1485900 w 1521619"/>
                  <a:gd name="connsiteY44" fmla="*/ 719138 h 969169"/>
                  <a:gd name="connsiteX45" fmla="*/ 1521619 w 1521619"/>
                  <a:gd name="connsiteY45" fmla="*/ 738188 h 969169"/>
                  <a:gd name="connsiteX46" fmla="*/ 1502569 w 1521619"/>
                  <a:gd name="connsiteY46" fmla="*/ 764382 h 969169"/>
                  <a:gd name="connsiteX47" fmla="*/ 1473994 w 1521619"/>
                  <a:gd name="connsiteY47" fmla="*/ 759619 h 969169"/>
                  <a:gd name="connsiteX48" fmla="*/ 1512094 w 1521619"/>
                  <a:gd name="connsiteY48" fmla="*/ 814388 h 969169"/>
                  <a:gd name="connsiteX49" fmla="*/ 1473994 w 1521619"/>
                  <a:gd name="connsiteY49" fmla="*/ 816769 h 969169"/>
                  <a:gd name="connsiteX50" fmla="*/ 1438275 w 1521619"/>
                  <a:gd name="connsiteY50" fmla="*/ 812007 h 969169"/>
                  <a:gd name="connsiteX51" fmla="*/ 1362075 w 1521619"/>
                  <a:gd name="connsiteY51" fmla="*/ 795338 h 969169"/>
                  <a:gd name="connsiteX52" fmla="*/ 1328738 w 1521619"/>
                  <a:gd name="connsiteY52" fmla="*/ 790575 h 969169"/>
                  <a:gd name="connsiteX53" fmla="*/ 1309688 w 1521619"/>
                  <a:gd name="connsiteY53" fmla="*/ 723900 h 969169"/>
                  <a:gd name="connsiteX54" fmla="*/ 1171575 w 1521619"/>
                  <a:gd name="connsiteY54" fmla="*/ 757238 h 969169"/>
                  <a:gd name="connsiteX55" fmla="*/ 1135857 w 1521619"/>
                  <a:gd name="connsiteY55" fmla="*/ 738188 h 969169"/>
                  <a:gd name="connsiteX56" fmla="*/ 1052513 w 1521619"/>
                  <a:gd name="connsiteY56" fmla="*/ 645319 h 969169"/>
                  <a:gd name="connsiteX57" fmla="*/ 1019175 w 1521619"/>
                  <a:gd name="connsiteY57" fmla="*/ 654844 h 969169"/>
                  <a:gd name="connsiteX58" fmla="*/ 983457 w 1521619"/>
                  <a:gd name="connsiteY58" fmla="*/ 652463 h 969169"/>
                  <a:gd name="connsiteX59" fmla="*/ 888207 w 1521619"/>
                  <a:gd name="connsiteY59" fmla="*/ 621507 h 969169"/>
                  <a:gd name="connsiteX60" fmla="*/ 831057 w 1521619"/>
                  <a:gd name="connsiteY60" fmla="*/ 673894 h 969169"/>
                  <a:gd name="connsiteX61" fmla="*/ 783432 w 1521619"/>
                  <a:gd name="connsiteY61" fmla="*/ 611982 h 969169"/>
                  <a:gd name="connsiteX62" fmla="*/ 738188 w 1521619"/>
                  <a:gd name="connsiteY62" fmla="*/ 597694 h 969169"/>
                  <a:gd name="connsiteX63" fmla="*/ 733425 w 1521619"/>
                  <a:gd name="connsiteY63" fmla="*/ 552450 h 969169"/>
                  <a:gd name="connsiteX64" fmla="*/ 697707 w 1521619"/>
                  <a:gd name="connsiteY64" fmla="*/ 533400 h 969169"/>
                  <a:gd name="connsiteX65" fmla="*/ 654844 w 1521619"/>
                  <a:gd name="connsiteY65" fmla="*/ 542925 h 969169"/>
                  <a:gd name="connsiteX66" fmla="*/ 642938 w 1521619"/>
                  <a:gd name="connsiteY66" fmla="*/ 564357 h 969169"/>
                  <a:gd name="connsiteX67" fmla="*/ 581025 w 1521619"/>
                  <a:gd name="connsiteY67" fmla="*/ 550069 h 969169"/>
                  <a:gd name="connsiteX68" fmla="*/ 471488 w 1521619"/>
                  <a:gd name="connsiteY68" fmla="*/ 626269 h 969169"/>
                  <a:gd name="connsiteX69" fmla="*/ 504825 w 1521619"/>
                  <a:gd name="connsiteY69" fmla="*/ 728663 h 969169"/>
                  <a:gd name="connsiteX70" fmla="*/ 526257 w 1521619"/>
                  <a:gd name="connsiteY70" fmla="*/ 797719 h 969169"/>
                  <a:gd name="connsiteX71" fmla="*/ 445294 w 1521619"/>
                  <a:gd name="connsiteY71" fmla="*/ 859632 h 969169"/>
                  <a:gd name="connsiteX72" fmla="*/ 316707 w 1521619"/>
                  <a:gd name="connsiteY72" fmla="*/ 964407 h 969169"/>
                  <a:gd name="connsiteX73" fmla="*/ 250032 w 1521619"/>
                  <a:gd name="connsiteY73" fmla="*/ 912019 h 969169"/>
                  <a:gd name="connsiteX74" fmla="*/ 207169 w 1521619"/>
                  <a:gd name="connsiteY74" fmla="*/ 969169 h 969169"/>
                  <a:gd name="connsiteX75" fmla="*/ 0 w 1521619"/>
                  <a:gd name="connsiteY75" fmla="*/ 962025 h 969169"/>
                  <a:gd name="connsiteX76" fmla="*/ 0 w 1521619"/>
                  <a:gd name="connsiteY76" fmla="*/ 766763 h 969169"/>
                  <a:gd name="connsiteX77" fmla="*/ 59532 w 1521619"/>
                  <a:gd name="connsiteY77" fmla="*/ 719138 h 969169"/>
                  <a:gd name="connsiteX78" fmla="*/ 35719 w 1521619"/>
                  <a:gd name="connsiteY78" fmla="*/ 678657 h 969169"/>
                  <a:gd name="connsiteX79" fmla="*/ 73819 w 1521619"/>
                  <a:gd name="connsiteY79" fmla="*/ 642938 h 969169"/>
                  <a:gd name="connsiteX80" fmla="*/ 40482 w 1521619"/>
                  <a:gd name="connsiteY80" fmla="*/ 592932 h 969169"/>
                  <a:gd name="connsiteX81" fmla="*/ 71438 w 1521619"/>
                  <a:gd name="connsiteY81" fmla="*/ 554832 h 969169"/>
                  <a:gd name="connsiteX82" fmla="*/ 14288 w 1521619"/>
                  <a:gd name="connsiteY82" fmla="*/ 481013 h 969169"/>
                  <a:gd name="connsiteX83" fmla="*/ 71438 w 1521619"/>
                  <a:gd name="connsiteY83" fmla="*/ 433388 h 969169"/>
                  <a:gd name="connsiteX84" fmla="*/ 66675 w 1521619"/>
                  <a:gd name="connsiteY84" fmla="*/ 395288 h 969169"/>
                  <a:gd name="connsiteX85" fmla="*/ 30957 w 1521619"/>
                  <a:gd name="connsiteY85" fmla="*/ 383382 h 969169"/>
                  <a:gd name="connsiteX86" fmla="*/ 66675 w 1521619"/>
                  <a:gd name="connsiteY86" fmla="*/ 340519 h 969169"/>
                  <a:gd name="connsiteX87" fmla="*/ 57150 w 1521619"/>
                  <a:gd name="connsiteY87" fmla="*/ 280988 h 969169"/>
                  <a:gd name="connsiteX88" fmla="*/ 50007 w 1521619"/>
                  <a:gd name="connsiteY88" fmla="*/ 240507 h 969169"/>
                  <a:gd name="connsiteX0" fmla="*/ 50007 w 1521619"/>
                  <a:gd name="connsiteY0" fmla="*/ 240507 h 969169"/>
                  <a:gd name="connsiteX1" fmla="*/ 345282 w 1521619"/>
                  <a:gd name="connsiteY1" fmla="*/ 130969 h 969169"/>
                  <a:gd name="connsiteX2" fmla="*/ 397669 w 1521619"/>
                  <a:gd name="connsiteY2" fmla="*/ 142875 h 969169"/>
                  <a:gd name="connsiteX3" fmla="*/ 459582 w 1521619"/>
                  <a:gd name="connsiteY3" fmla="*/ 50007 h 969169"/>
                  <a:gd name="connsiteX4" fmla="*/ 552450 w 1521619"/>
                  <a:gd name="connsiteY4" fmla="*/ 0 h 969169"/>
                  <a:gd name="connsiteX5" fmla="*/ 647700 w 1521619"/>
                  <a:gd name="connsiteY5" fmla="*/ 4763 h 969169"/>
                  <a:gd name="connsiteX6" fmla="*/ 747713 w 1521619"/>
                  <a:gd name="connsiteY6" fmla="*/ 57150 h 969169"/>
                  <a:gd name="connsiteX7" fmla="*/ 781050 w 1521619"/>
                  <a:gd name="connsiteY7" fmla="*/ 73819 h 969169"/>
                  <a:gd name="connsiteX8" fmla="*/ 831057 w 1521619"/>
                  <a:gd name="connsiteY8" fmla="*/ 23813 h 969169"/>
                  <a:gd name="connsiteX9" fmla="*/ 876300 w 1521619"/>
                  <a:gd name="connsiteY9" fmla="*/ 11907 h 969169"/>
                  <a:gd name="connsiteX10" fmla="*/ 921544 w 1521619"/>
                  <a:gd name="connsiteY10" fmla="*/ 52388 h 969169"/>
                  <a:gd name="connsiteX11" fmla="*/ 938213 w 1521619"/>
                  <a:gd name="connsiteY11" fmla="*/ 102394 h 969169"/>
                  <a:gd name="connsiteX12" fmla="*/ 933450 w 1521619"/>
                  <a:gd name="connsiteY12" fmla="*/ 154782 h 969169"/>
                  <a:gd name="connsiteX13" fmla="*/ 981075 w 1521619"/>
                  <a:gd name="connsiteY13" fmla="*/ 209550 h 969169"/>
                  <a:gd name="connsiteX14" fmla="*/ 992982 w 1521619"/>
                  <a:gd name="connsiteY14" fmla="*/ 228600 h 969169"/>
                  <a:gd name="connsiteX15" fmla="*/ 973932 w 1521619"/>
                  <a:gd name="connsiteY15" fmla="*/ 288132 h 969169"/>
                  <a:gd name="connsiteX16" fmla="*/ 978694 w 1521619"/>
                  <a:gd name="connsiteY16" fmla="*/ 316707 h 969169"/>
                  <a:gd name="connsiteX17" fmla="*/ 947738 w 1521619"/>
                  <a:gd name="connsiteY17" fmla="*/ 345282 h 969169"/>
                  <a:gd name="connsiteX18" fmla="*/ 973932 w 1521619"/>
                  <a:gd name="connsiteY18" fmla="*/ 390525 h 969169"/>
                  <a:gd name="connsiteX19" fmla="*/ 995363 w 1521619"/>
                  <a:gd name="connsiteY19" fmla="*/ 397669 h 969169"/>
                  <a:gd name="connsiteX20" fmla="*/ 1023938 w 1521619"/>
                  <a:gd name="connsiteY20" fmla="*/ 366713 h 969169"/>
                  <a:gd name="connsiteX21" fmla="*/ 1064419 w 1521619"/>
                  <a:gd name="connsiteY21" fmla="*/ 404813 h 969169"/>
                  <a:gd name="connsiteX22" fmla="*/ 1116807 w 1521619"/>
                  <a:gd name="connsiteY22" fmla="*/ 345282 h 969169"/>
                  <a:gd name="connsiteX23" fmla="*/ 1166813 w 1521619"/>
                  <a:gd name="connsiteY23" fmla="*/ 321469 h 969169"/>
                  <a:gd name="connsiteX24" fmla="*/ 1209675 w 1521619"/>
                  <a:gd name="connsiteY24" fmla="*/ 357188 h 969169"/>
                  <a:gd name="connsiteX25" fmla="*/ 1228725 w 1521619"/>
                  <a:gd name="connsiteY25" fmla="*/ 388144 h 969169"/>
                  <a:gd name="connsiteX26" fmla="*/ 1231107 w 1521619"/>
                  <a:gd name="connsiteY26" fmla="*/ 435769 h 969169"/>
                  <a:gd name="connsiteX27" fmla="*/ 1271588 w 1521619"/>
                  <a:gd name="connsiteY27" fmla="*/ 445294 h 969169"/>
                  <a:gd name="connsiteX28" fmla="*/ 1281113 w 1521619"/>
                  <a:gd name="connsiteY28" fmla="*/ 383382 h 969169"/>
                  <a:gd name="connsiteX29" fmla="*/ 1316832 w 1521619"/>
                  <a:gd name="connsiteY29" fmla="*/ 366713 h 969169"/>
                  <a:gd name="connsiteX30" fmla="*/ 1388269 w 1521619"/>
                  <a:gd name="connsiteY30" fmla="*/ 414338 h 969169"/>
                  <a:gd name="connsiteX31" fmla="*/ 1416844 w 1521619"/>
                  <a:gd name="connsiteY31" fmla="*/ 421482 h 969169"/>
                  <a:gd name="connsiteX32" fmla="*/ 1464469 w 1521619"/>
                  <a:gd name="connsiteY32" fmla="*/ 376238 h 969169"/>
                  <a:gd name="connsiteX33" fmla="*/ 1507332 w 1521619"/>
                  <a:gd name="connsiteY33" fmla="*/ 421482 h 969169"/>
                  <a:gd name="connsiteX34" fmla="*/ 1493044 w 1521619"/>
                  <a:gd name="connsiteY34" fmla="*/ 447675 h 969169"/>
                  <a:gd name="connsiteX35" fmla="*/ 1454944 w 1521619"/>
                  <a:gd name="connsiteY35" fmla="*/ 466725 h 969169"/>
                  <a:gd name="connsiteX36" fmla="*/ 1421607 w 1521619"/>
                  <a:gd name="connsiteY36" fmla="*/ 507207 h 969169"/>
                  <a:gd name="connsiteX37" fmla="*/ 1388269 w 1521619"/>
                  <a:gd name="connsiteY37" fmla="*/ 547688 h 969169"/>
                  <a:gd name="connsiteX38" fmla="*/ 1388269 w 1521619"/>
                  <a:gd name="connsiteY38" fmla="*/ 547688 h 969169"/>
                  <a:gd name="connsiteX39" fmla="*/ 1416844 w 1521619"/>
                  <a:gd name="connsiteY39" fmla="*/ 588169 h 969169"/>
                  <a:gd name="connsiteX40" fmla="*/ 1426369 w 1521619"/>
                  <a:gd name="connsiteY40" fmla="*/ 635794 h 969169"/>
                  <a:gd name="connsiteX41" fmla="*/ 1478757 w 1521619"/>
                  <a:gd name="connsiteY41" fmla="*/ 619125 h 969169"/>
                  <a:gd name="connsiteX42" fmla="*/ 1464469 w 1521619"/>
                  <a:gd name="connsiteY42" fmla="*/ 657225 h 969169"/>
                  <a:gd name="connsiteX43" fmla="*/ 1438275 w 1521619"/>
                  <a:gd name="connsiteY43" fmla="*/ 683419 h 969169"/>
                  <a:gd name="connsiteX44" fmla="*/ 1485900 w 1521619"/>
                  <a:gd name="connsiteY44" fmla="*/ 719138 h 969169"/>
                  <a:gd name="connsiteX45" fmla="*/ 1521619 w 1521619"/>
                  <a:gd name="connsiteY45" fmla="*/ 738188 h 969169"/>
                  <a:gd name="connsiteX46" fmla="*/ 1502569 w 1521619"/>
                  <a:gd name="connsiteY46" fmla="*/ 764382 h 969169"/>
                  <a:gd name="connsiteX47" fmla="*/ 1473994 w 1521619"/>
                  <a:gd name="connsiteY47" fmla="*/ 759619 h 969169"/>
                  <a:gd name="connsiteX48" fmla="*/ 1512094 w 1521619"/>
                  <a:gd name="connsiteY48" fmla="*/ 814388 h 969169"/>
                  <a:gd name="connsiteX49" fmla="*/ 1473994 w 1521619"/>
                  <a:gd name="connsiteY49" fmla="*/ 816769 h 969169"/>
                  <a:gd name="connsiteX50" fmla="*/ 1438275 w 1521619"/>
                  <a:gd name="connsiteY50" fmla="*/ 812007 h 969169"/>
                  <a:gd name="connsiteX51" fmla="*/ 1362075 w 1521619"/>
                  <a:gd name="connsiteY51" fmla="*/ 795338 h 969169"/>
                  <a:gd name="connsiteX52" fmla="*/ 1328738 w 1521619"/>
                  <a:gd name="connsiteY52" fmla="*/ 790575 h 969169"/>
                  <a:gd name="connsiteX53" fmla="*/ 1309688 w 1521619"/>
                  <a:gd name="connsiteY53" fmla="*/ 723900 h 969169"/>
                  <a:gd name="connsiteX54" fmla="*/ 1171575 w 1521619"/>
                  <a:gd name="connsiteY54" fmla="*/ 757238 h 969169"/>
                  <a:gd name="connsiteX55" fmla="*/ 1135857 w 1521619"/>
                  <a:gd name="connsiteY55" fmla="*/ 738188 h 969169"/>
                  <a:gd name="connsiteX56" fmla="*/ 1052513 w 1521619"/>
                  <a:gd name="connsiteY56" fmla="*/ 645319 h 969169"/>
                  <a:gd name="connsiteX57" fmla="*/ 1019175 w 1521619"/>
                  <a:gd name="connsiteY57" fmla="*/ 654844 h 969169"/>
                  <a:gd name="connsiteX58" fmla="*/ 983457 w 1521619"/>
                  <a:gd name="connsiteY58" fmla="*/ 652463 h 969169"/>
                  <a:gd name="connsiteX59" fmla="*/ 888207 w 1521619"/>
                  <a:gd name="connsiteY59" fmla="*/ 621507 h 969169"/>
                  <a:gd name="connsiteX60" fmla="*/ 831057 w 1521619"/>
                  <a:gd name="connsiteY60" fmla="*/ 673894 h 969169"/>
                  <a:gd name="connsiteX61" fmla="*/ 783432 w 1521619"/>
                  <a:gd name="connsiteY61" fmla="*/ 611982 h 969169"/>
                  <a:gd name="connsiteX62" fmla="*/ 738188 w 1521619"/>
                  <a:gd name="connsiteY62" fmla="*/ 597694 h 969169"/>
                  <a:gd name="connsiteX63" fmla="*/ 733425 w 1521619"/>
                  <a:gd name="connsiteY63" fmla="*/ 552450 h 969169"/>
                  <a:gd name="connsiteX64" fmla="*/ 697707 w 1521619"/>
                  <a:gd name="connsiteY64" fmla="*/ 533400 h 969169"/>
                  <a:gd name="connsiteX65" fmla="*/ 654844 w 1521619"/>
                  <a:gd name="connsiteY65" fmla="*/ 542925 h 969169"/>
                  <a:gd name="connsiteX66" fmla="*/ 642938 w 1521619"/>
                  <a:gd name="connsiteY66" fmla="*/ 564357 h 969169"/>
                  <a:gd name="connsiteX67" fmla="*/ 581025 w 1521619"/>
                  <a:gd name="connsiteY67" fmla="*/ 550069 h 969169"/>
                  <a:gd name="connsiteX68" fmla="*/ 471488 w 1521619"/>
                  <a:gd name="connsiteY68" fmla="*/ 626269 h 969169"/>
                  <a:gd name="connsiteX69" fmla="*/ 504825 w 1521619"/>
                  <a:gd name="connsiteY69" fmla="*/ 728663 h 969169"/>
                  <a:gd name="connsiteX70" fmla="*/ 526257 w 1521619"/>
                  <a:gd name="connsiteY70" fmla="*/ 797719 h 969169"/>
                  <a:gd name="connsiteX71" fmla="*/ 445294 w 1521619"/>
                  <a:gd name="connsiteY71" fmla="*/ 859632 h 969169"/>
                  <a:gd name="connsiteX72" fmla="*/ 316707 w 1521619"/>
                  <a:gd name="connsiteY72" fmla="*/ 964407 h 969169"/>
                  <a:gd name="connsiteX73" fmla="*/ 250032 w 1521619"/>
                  <a:gd name="connsiteY73" fmla="*/ 912019 h 969169"/>
                  <a:gd name="connsiteX74" fmla="*/ 207169 w 1521619"/>
                  <a:gd name="connsiteY74" fmla="*/ 969169 h 969169"/>
                  <a:gd name="connsiteX75" fmla="*/ 0 w 1521619"/>
                  <a:gd name="connsiteY75" fmla="*/ 962025 h 969169"/>
                  <a:gd name="connsiteX76" fmla="*/ 0 w 1521619"/>
                  <a:gd name="connsiteY76" fmla="*/ 766763 h 969169"/>
                  <a:gd name="connsiteX77" fmla="*/ 59532 w 1521619"/>
                  <a:gd name="connsiteY77" fmla="*/ 719138 h 969169"/>
                  <a:gd name="connsiteX78" fmla="*/ 35719 w 1521619"/>
                  <a:gd name="connsiteY78" fmla="*/ 678657 h 969169"/>
                  <a:gd name="connsiteX79" fmla="*/ 73819 w 1521619"/>
                  <a:gd name="connsiteY79" fmla="*/ 642938 h 969169"/>
                  <a:gd name="connsiteX80" fmla="*/ 40482 w 1521619"/>
                  <a:gd name="connsiteY80" fmla="*/ 592932 h 969169"/>
                  <a:gd name="connsiteX81" fmla="*/ 71438 w 1521619"/>
                  <a:gd name="connsiteY81" fmla="*/ 554832 h 969169"/>
                  <a:gd name="connsiteX82" fmla="*/ 14288 w 1521619"/>
                  <a:gd name="connsiteY82" fmla="*/ 481013 h 969169"/>
                  <a:gd name="connsiteX83" fmla="*/ 71438 w 1521619"/>
                  <a:gd name="connsiteY83" fmla="*/ 433388 h 969169"/>
                  <a:gd name="connsiteX84" fmla="*/ 66675 w 1521619"/>
                  <a:gd name="connsiteY84" fmla="*/ 395288 h 969169"/>
                  <a:gd name="connsiteX85" fmla="*/ 30957 w 1521619"/>
                  <a:gd name="connsiteY85" fmla="*/ 383382 h 969169"/>
                  <a:gd name="connsiteX86" fmla="*/ 66675 w 1521619"/>
                  <a:gd name="connsiteY86" fmla="*/ 340519 h 969169"/>
                  <a:gd name="connsiteX87" fmla="*/ 30956 w 1521619"/>
                  <a:gd name="connsiteY87" fmla="*/ 280988 h 969169"/>
                  <a:gd name="connsiteX88" fmla="*/ 50007 w 1521619"/>
                  <a:gd name="connsiteY88" fmla="*/ 240507 h 969169"/>
                  <a:gd name="connsiteX0" fmla="*/ 50007 w 1521619"/>
                  <a:gd name="connsiteY0" fmla="*/ 240507 h 969169"/>
                  <a:gd name="connsiteX1" fmla="*/ 345282 w 1521619"/>
                  <a:gd name="connsiteY1" fmla="*/ 130969 h 969169"/>
                  <a:gd name="connsiteX2" fmla="*/ 397669 w 1521619"/>
                  <a:gd name="connsiteY2" fmla="*/ 142875 h 969169"/>
                  <a:gd name="connsiteX3" fmla="*/ 459582 w 1521619"/>
                  <a:gd name="connsiteY3" fmla="*/ 50007 h 969169"/>
                  <a:gd name="connsiteX4" fmla="*/ 552450 w 1521619"/>
                  <a:gd name="connsiteY4" fmla="*/ 0 h 969169"/>
                  <a:gd name="connsiteX5" fmla="*/ 647700 w 1521619"/>
                  <a:gd name="connsiteY5" fmla="*/ 4763 h 969169"/>
                  <a:gd name="connsiteX6" fmla="*/ 747713 w 1521619"/>
                  <a:gd name="connsiteY6" fmla="*/ 57150 h 969169"/>
                  <a:gd name="connsiteX7" fmla="*/ 781050 w 1521619"/>
                  <a:gd name="connsiteY7" fmla="*/ 73819 h 969169"/>
                  <a:gd name="connsiteX8" fmla="*/ 831057 w 1521619"/>
                  <a:gd name="connsiteY8" fmla="*/ 23813 h 969169"/>
                  <a:gd name="connsiteX9" fmla="*/ 876300 w 1521619"/>
                  <a:gd name="connsiteY9" fmla="*/ 11907 h 969169"/>
                  <a:gd name="connsiteX10" fmla="*/ 921544 w 1521619"/>
                  <a:gd name="connsiteY10" fmla="*/ 52388 h 969169"/>
                  <a:gd name="connsiteX11" fmla="*/ 938213 w 1521619"/>
                  <a:gd name="connsiteY11" fmla="*/ 102394 h 969169"/>
                  <a:gd name="connsiteX12" fmla="*/ 933450 w 1521619"/>
                  <a:gd name="connsiteY12" fmla="*/ 154782 h 969169"/>
                  <a:gd name="connsiteX13" fmla="*/ 981075 w 1521619"/>
                  <a:gd name="connsiteY13" fmla="*/ 209550 h 969169"/>
                  <a:gd name="connsiteX14" fmla="*/ 992982 w 1521619"/>
                  <a:gd name="connsiteY14" fmla="*/ 228600 h 969169"/>
                  <a:gd name="connsiteX15" fmla="*/ 973932 w 1521619"/>
                  <a:gd name="connsiteY15" fmla="*/ 288132 h 969169"/>
                  <a:gd name="connsiteX16" fmla="*/ 978694 w 1521619"/>
                  <a:gd name="connsiteY16" fmla="*/ 316707 h 969169"/>
                  <a:gd name="connsiteX17" fmla="*/ 947738 w 1521619"/>
                  <a:gd name="connsiteY17" fmla="*/ 345282 h 969169"/>
                  <a:gd name="connsiteX18" fmla="*/ 973932 w 1521619"/>
                  <a:gd name="connsiteY18" fmla="*/ 390525 h 969169"/>
                  <a:gd name="connsiteX19" fmla="*/ 995363 w 1521619"/>
                  <a:gd name="connsiteY19" fmla="*/ 397669 h 969169"/>
                  <a:gd name="connsiteX20" fmla="*/ 1023938 w 1521619"/>
                  <a:gd name="connsiteY20" fmla="*/ 366713 h 969169"/>
                  <a:gd name="connsiteX21" fmla="*/ 1064419 w 1521619"/>
                  <a:gd name="connsiteY21" fmla="*/ 404813 h 969169"/>
                  <a:gd name="connsiteX22" fmla="*/ 1116807 w 1521619"/>
                  <a:gd name="connsiteY22" fmla="*/ 345282 h 969169"/>
                  <a:gd name="connsiteX23" fmla="*/ 1166813 w 1521619"/>
                  <a:gd name="connsiteY23" fmla="*/ 321469 h 969169"/>
                  <a:gd name="connsiteX24" fmla="*/ 1209675 w 1521619"/>
                  <a:gd name="connsiteY24" fmla="*/ 357188 h 969169"/>
                  <a:gd name="connsiteX25" fmla="*/ 1228725 w 1521619"/>
                  <a:gd name="connsiteY25" fmla="*/ 388144 h 969169"/>
                  <a:gd name="connsiteX26" fmla="*/ 1231107 w 1521619"/>
                  <a:gd name="connsiteY26" fmla="*/ 435769 h 969169"/>
                  <a:gd name="connsiteX27" fmla="*/ 1271588 w 1521619"/>
                  <a:gd name="connsiteY27" fmla="*/ 445294 h 969169"/>
                  <a:gd name="connsiteX28" fmla="*/ 1281113 w 1521619"/>
                  <a:gd name="connsiteY28" fmla="*/ 383382 h 969169"/>
                  <a:gd name="connsiteX29" fmla="*/ 1316832 w 1521619"/>
                  <a:gd name="connsiteY29" fmla="*/ 366713 h 969169"/>
                  <a:gd name="connsiteX30" fmla="*/ 1388269 w 1521619"/>
                  <a:gd name="connsiteY30" fmla="*/ 414338 h 969169"/>
                  <a:gd name="connsiteX31" fmla="*/ 1416844 w 1521619"/>
                  <a:gd name="connsiteY31" fmla="*/ 421482 h 969169"/>
                  <a:gd name="connsiteX32" fmla="*/ 1464469 w 1521619"/>
                  <a:gd name="connsiteY32" fmla="*/ 376238 h 969169"/>
                  <a:gd name="connsiteX33" fmla="*/ 1507332 w 1521619"/>
                  <a:gd name="connsiteY33" fmla="*/ 421482 h 969169"/>
                  <a:gd name="connsiteX34" fmla="*/ 1493044 w 1521619"/>
                  <a:gd name="connsiteY34" fmla="*/ 447675 h 969169"/>
                  <a:gd name="connsiteX35" fmla="*/ 1454944 w 1521619"/>
                  <a:gd name="connsiteY35" fmla="*/ 466725 h 969169"/>
                  <a:gd name="connsiteX36" fmla="*/ 1421607 w 1521619"/>
                  <a:gd name="connsiteY36" fmla="*/ 507207 h 969169"/>
                  <a:gd name="connsiteX37" fmla="*/ 1388269 w 1521619"/>
                  <a:gd name="connsiteY37" fmla="*/ 547688 h 969169"/>
                  <a:gd name="connsiteX38" fmla="*/ 1388269 w 1521619"/>
                  <a:gd name="connsiteY38" fmla="*/ 547688 h 969169"/>
                  <a:gd name="connsiteX39" fmla="*/ 1416844 w 1521619"/>
                  <a:gd name="connsiteY39" fmla="*/ 588169 h 969169"/>
                  <a:gd name="connsiteX40" fmla="*/ 1426369 w 1521619"/>
                  <a:gd name="connsiteY40" fmla="*/ 635794 h 969169"/>
                  <a:gd name="connsiteX41" fmla="*/ 1478757 w 1521619"/>
                  <a:gd name="connsiteY41" fmla="*/ 619125 h 969169"/>
                  <a:gd name="connsiteX42" fmla="*/ 1464469 w 1521619"/>
                  <a:gd name="connsiteY42" fmla="*/ 657225 h 969169"/>
                  <a:gd name="connsiteX43" fmla="*/ 1438275 w 1521619"/>
                  <a:gd name="connsiteY43" fmla="*/ 683419 h 969169"/>
                  <a:gd name="connsiteX44" fmla="*/ 1485900 w 1521619"/>
                  <a:gd name="connsiteY44" fmla="*/ 719138 h 969169"/>
                  <a:gd name="connsiteX45" fmla="*/ 1521619 w 1521619"/>
                  <a:gd name="connsiteY45" fmla="*/ 738188 h 969169"/>
                  <a:gd name="connsiteX46" fmla="*/ 1502569 w 1521619"/>
                  <a:gd name="connsiteY46" fmla="*/ 764382 h 969169"/>
                  <a:gd name="connsiteX47" fmla="*/ 1473994 w 1521619"/>
                  <a:gd name="connsiteY47" fmla="*/ 759619 h 969169"/>
                  <a:gd name="connsiteX48" fmla="*/ 1512094 w 1521619"/>
                  <a:gd name="connsiteY48" fmla="*/ 814388 h 969169"/>
                  <a:gd name="connsiteX49" fmla="*/ 1473994 w 1521619"/>
                  <a:gd name="connsiteY49" fmla="*/ 816769 h 969169"/>
                  <a:gd name="connsiteX50" fmla="*/ 1438275 w 1521619"/>
                  <a:gd name="connsiteY50" fmla="*/ 812007 h 969169"/>
                  <a:gd name="connsiteX51" fmla="*/ 1362075 w 1521619"/>
                  <a:gd name="connsiteY51" fmla="*/ 795338 h 969169"/>
                  <a:gd name="connsiteX52" fmla="*/ 1328738 w 1521619"/>
                  <a:gd name="connsiteY52" fmla="*/ 790575 h 969169"/>
                  <a:gd name="connsiteX53" fmla="*/ 1309688 w 1521619"/>
                  <a:gd name="connsiteY53" fmla="*/ 723900 h 969169"/>
                  <a:gd name="connsiteX54" fmla="*/ 1171575 w 1521619"/>
                  <a:gd name="connsiteY54" fmla="*/ 757238 h 969169"/>
                  <a:gd name="connsiteX55" fmla="*/ 1135857 w 1521619"/>
                  <a:gd name="connsiteY55" fmla="*/ 738188 h 969169"/>
                  <a:gd name="connsiteX56" fmla="*/ 1052513 w 1521619"/>
                  <a:gd name="connsiteY56" fmla="*/ 645319 h 969169"/>
                  <a:gd name="connsiteX57" fmla="*/ 1019175 w 1521619"/>
                  <a:gd name="connsiteY57" fmla="*/ 654844 h 969169"/>
                  <a:gd name="connsiteX58" fmla="*/ 983457 w 1521619"/>
                  <a:gd name="connsiteY58" fmla="*/ 652463 h 969169"/>
                  <a:gd name="connsiteX59" fmla="*/ 888207 w 1521619"/>
                  <a:gd name="connsiteY59" fmla="*/ 621507 h 969169"/>
                  <a:gd name="connsiteX60" fmla="*/ 831057 w 1521619"/>
                  <a:gd name="connsiteY60" fmla="*/ 673894 h 969169"/>
                  <a:gd name="connsiteX61" fmla="*/ 783432 w 1521619"/>
                  <a:gd name="connsiteY61" fmla="*/ 611982 h 969169"/>
                  <a:gd name="connsiteX62" fmla="*/ 738188 w 1521619"/>
                  <a:gd name="connsiteY62" fmla="*/ 597694 h 969169"/>
                  <a:gd name="connsiteX63" fmla="*/ 733425 w 1521619"/>
                  <a:gd name="connsiteY63" fmla="*/ 552450 h 969169"/>
                  <a:gd name="connsiteX64" fmla="*/ 697707 w 1521619"/>
                  <a:gd name="connsiteY64" fmla="*/ 533400 h 969169"/>
                  <a:gd name="connsiteX65" fmla="*/ 654844 w 1521619"/>
                  <a:gd name="connsiteY65" fmla="*/ 542925 h 969169"/>
                  <a:gd name="connsiteX66" fmla="*/ 642938 w 1521619"/>
                  <a:gd name="connsiteY66" fmla="*/ 564357 h 969169"/>
                  <a:gd name="connsiteX67" fmla="*/ 581025 w 1521619"/>
                  <a:gd name="connsiteY67" fmla="*/ 550069 h 969169"/>
                  <a:gd name="connsiteX68" fmla="*/ 471488 w 1521619"/>
                  <a:gd name="connsiteY68" fmla="*/ 626269 h 969169"/>
                  <a:gd name="connsiteX69" fmla="*/ 504825 w 1521619"/>
                  <a:gd name="connsiteY69" fmla="*/ 728663 h 969169"/>
                  <a:gd name="connsiteX70" fmla="*/ 526257 w 1521619"/>
                  <a:gd name="connsiteY70" fmla="*/ 797719 h 969169"/>
                  <a:gd name="connsiteX71" fmla="*/ 445294 w 1521619"/>
                  <a:gd name="connsiteY71" fmla="*/ 859632 h 969169"/>
                  <a:gd name="connsiteX72" fmla="*/ 316707 w 1521619"/>
                  <a:gd name="connsiteY72" fmla="*/ 964407 h 969169"/>
                  <a:gd name="connsiteX73" fmla="*/ 250032 w 1521619"/>
                  <a:gd name="connsiteY73" fmla="*/ 912019 h 969169"/>
                  <a:gd name="connsiteX74" fmla="*/ 207169 w 1521619"/>
                  <a:gd name="connsiteY74" fmla="*/ 969169 h 969169"/>
                  <a:gd name="connsiteX75" fmla="*/ 0 w 1521619"/>
                  <a:gd name="connsiteY75" fmla="*/ 962025 h 969169"/>
                  <a:gd name="connsiteX76" fmla="*/ 0 w 1521619"/>
                  <a:gd name="connsiteY76" fmla="*/ 766763 h 969169"/>
                  <a:gd name="connsiteX77" fmla="*/ 59532 w 1521619"/>
                  <a:gd name="connsiteY77" fmla="*/ 719138 h 969169"/>
                  <a:gd name="connsiteX78" fmla="*/ 35719 w 1521619"/>
                  <a:gd name="connsiteY78" fmla="*/ 678657 h 969169"/>
                  <a:gd name="connsiteX79" fmla="*/ 73819 w 1521619"/>
                  <a:gd name="connsiteY79" fmla="*/ 642938 h 969169"/>
                  <a:gd name="connsiteX80" fmla="*/ 40482 w 1521619"/>
                  <a:gd name="connsiteY80" fmla="*/ 592932 h 969169"/>
                  <a:gd name="connsiteX81" fmla="*/ 71438 w 1521619"/>
                  <a:gd name="connsiteY81" fmla="*/ 554832 h 969169"/>
                  <a:gd name="connsiteX82" fmla="*/ 14288 w 1521619"/>
                  <a:gd name="connsiteY82" fmla="*/ 481013 h 969169"/>
                  <a:gd name="connsiteX83" fmla="*/ 71438 w 1521619"/>
                  <a:gd name="connsiteY83" fmla="*/ 433388 h 969169"/>
                  <a:gd name="connsiteX84" fmla="*/ 66675 w 1521619"/>
                  <a:gd name="connsiteY84" fmla="*/ 395288 h 969169"/>
                  <a:gd name="connsiteX85" fmla="*/ 30957 w 1521619"/>
                  <a:gd name="connsiteY85" fmla="*/ 383382 h 969169"/>
                  <a:gd name="connsiteX86" fmla="*/ 66675 w 1521619"/>
                  <a:gd name="connsiteY86" fmla="*/ 340519 h 969169"/>
                  <a:gd name="connsiteX87" fmla="*/ 28575 w 1521619"/>
                  <a:gd name="connsiteY87" fmla="*/ 273845 h 969169"/>
                  <a:gd name="connsiteX88" fmla="*/ 50007 w 1521619"/>
                  <a:gd name="connsiteY88" fmla="*/ 240507 h 969169"/>
                  <a:gd name="connsiteX0" fmla="*/ 54769 w 1526381"/>
                  <a:gd name="connsiteY0" fmla="*/ 240507 h 969169"/>
                  <a:gd name="connsiteX1" fmla="*/ 350044 w 1526381"/>
                  <a:gd name="connsiteY1" fmla="*/ 130969 h 969169"/>
                  <a:gd name="connsiteX2" fmla="*/ 402431 w 1526381"/>
                  <a:gd name="connsiteY2" fmla="*/ 142875 h 969169"/>
                  <a:gd name="connsiteX3" fmla="*/ 464344 w 1526381"/>
                  <a:gd name="connsiteY3" fmla="*/ 50007 h 969169"/>
                  <a:gd name="connsiteX4" fmla="*/ 557212 w 1526381"/>
                  <a:gd name="connsiteY4" fmla="*/ 0 h 969169"/>
                  <a:gd name="connsiteX5" fmla="*/ 652462 w 1526381"/>
                  <a:gd name="connsiteY5" fmla="*/ 4763 h 969169"/>
                  <a:gd name="connsiteX6" fmla="*/ 752475 w 1526381"/>
                  <a:gd name="connsiteY6" fmla="*/ 57150 h 969169"/>
                  <a:gd name="connsiteX7" fmla="*/ 785812 w 1526381"/>
                  <a:gd name="connsiteY7" fmla="*/ 73819 h 969169"/>
                  <a:gd name="connsiteX8" fmla="*/ 835819 w 1526381"/>
                  <a:gd name="connsiteY8" fmla="*/ 23813 h 969169"/>
                  <a:gd name="connsiteX9" fmla="*/ 881062 w 1526381"/>
                  <a:gd name="connsiteY9" fmla="*/ 11907 h 969169"/>
                  <a:gd name="connsiteX10" fmla="*/ 926306 w 1526381"/>
                  <a:gd name="connsiteY10" fmla="*/ 52388 h 969169"/>
                  <a:gd name="connsiteX11" fmla="*/ 942975 w 1526381"/>
                  <a:gd name="connsiteY11" fmla="*/ 102394 h 969169"/>
                  <a:gd name="connsiteX12" fmla="*/ 938212 w 1526381"/>
                  <a:gd name="connsiteY12" fmla="*/ 154782 h 969169"/>
                  <a:gd name="connsiteX13" fmla="*/ 985837 w 1526381"/>
                  <a:gd name="connsiteY13" fmla="*/ 209550 h 969169"/>
                  <a:gd name="connsiteX14" fmla="*/ 997744 w 1526381"/>
                  <a:gd name="connsiteY14" fmla="*/ 228600 h 969169"/>
                  <a:gd name="connsiteX15" fmla="*/ 978694 w 1526381"/>
                  <a:gd name="connsiteY15" fmla="*/ 288132 h 969169"/>
                  <a:gd name="connsiteX16" fmla="*/ 983456 w 1526381"/>
                  <a:gd name="connsiteY16" fmla="*/ 316707 h 969169"/>
                  <a:gd name="connsiteX17" fmla="*/ 952500 w 1526381"/>
                  <a:gd name="connsiteY17" fmla="*/ 345282 h 969169"/>
                  <a:gd name="connsiteX18" fmla="*/ 978694 w 1526381"/>
                  <a:gd name="connsiteY18" fmla="*/ 390525 h 969169"/>
                  <a:gd name="connsiteX19" fmla="*/ 1000125 w 1526381"/>
                  <a:gd name="connsiteY19" fmla="*/ 397669 h 969169"/>
                  <a:gd name="connsiteX20" fmla="*/ 1028700 w 1526381"/>
                  <a:gd name="connsiteY20" fmla="*/ 366713 h 969169"/>
                  <a:gd name="connsiteX21" fmla="*/ 1069181 w 1526381"/>
                  <a:gd name="connsiteY21" fmla="*/ 404813 h 969169"/>
                  <a:gd name="connsiteX22" fmla="*/ 1121569 w 1526381"/>
                  <a:gd name="connsiteY22" fmla="*/ 345282 h 969169"/>
                  <a:gd name="connsiteX23" fmla="*/ 1171575 w 1526381"/>
                  <a:gd name="connsiteY23" fmla="*/ 321469 h 969169"/>
                  <a:gd name="connsiteX24" fmla="*/ 1214437 w 1526381"/>
                  <a:gd name="connsiteY24" fmla="*/ 357188 h 969169"/>
                  <a:gd name="connsiteX25" fmla="*/ 1233487 w 1526381"/>
                  <a:gd name="connsiteY25" fmla="*/ 388144 h 969169"/>
                  <a:gd name="connsiteX26" fmla="*/ 1235869 w 1526381"/>
                  <a:gd name="connsiteY26" fmla="*/ 435769 h 969169"/>
                  <a:gd name="connsiteX27" fmla="*/ 1276350 w 1526381"/>
                  <a:gd name="connsiteY27" fmla="*/ 445294 h 969169"/>
                  <a:gd name="connsiteX28" fmla="*/ 1285875 w 1526381"/>
                  <a:gd name="connsiteY28" fmla="*/ 383382 h 969169"/>
                  <a:gd name="connsiteX29" fmla="*/ 1321594 w 1526381"/>
                  <a:gd name="connsiteY29" fmla="*/ 366713 h 969169"/>
                  <a:gd name="connsiteX30" fmla="*/ 1393031 w 1526381"/>
                  <a:gd name="connsiteY30" fmla="*/ 414338 h 969169"/>
                  <a:gd name="connsiteX31" fmla="*/ 1421606 w 1526381"/>
                  <a:gd name="connsiteY31" fmla="*/ 421482 h 969169"/>
                  <a:gd name="connsiteX32" fmla="*/ 1469231 w 1526381"/>
                  <a:gd name="connsiteY32" fmla="*/ 376238 h 969169"/>
                  <a:gd name="connsiteX33" fmla="*/ 1512094 w 1526381"/>
                  <a:gd name="connsiteY33" fmla="*/ 421482 h 969169"/>
                  <a:gd name="connsiteX34" fmla="*/ 1497806 w 1526381"/>
                  <a:gd name="connsiteY34" fmla="*/ 447675 h 969169"/>
                  <a:gd name="connsiteX35" fmla="*/ 1459706 w 1526381"/>
                  <a:gd name="connsiteY35" fmla="*/ 466725 h 969169"/>
                  <a:gd name="connsiteX36" fmla="*/ 1426369 w 1526381"/>
                  <a:gd name="connsiteY36" fmla="*/ 507207 h 969169"/>
                  <a:gd name="connsiteX37" fmla="*/ 1393031 w 1526381"/>
                  <a:gd name="connsiteY37" fmla="*/ 547688 h 969169"/>
                  <a:gd name="connsiteX38" fmla="*/ 1393031 w 1526381"/>
                  <a:gd name="connsiteY38" fmla="*/ 547688 h 969169"/>
                  <a:gd name="connsiteX39" fmla="*/ 1421606 w 1526381"/>
                  <a:gd name="connsiteY39" fmla="*/ 588169 h 969169"/>
                  <a:gd name="connsiteX40" fmla="*/ 1431131 w 1526381"/>
                  <a:gd name="connsiteY40" fmla="*/ 635794 h 969169"/>
                  <a:gd name="connsiteX41" fmla="*/ 1483519 w 1526381"/>
                  <a:gd name="connsiteY41" fmla="*/ 619125 h 969169"/>
                  <a:gd name="connsiteX42" fmla="*/ 1469231 w 1526381"/>
                  <a:gd name="connsiteY42" fmla="*/ 657225 h 969169"/>
                  <a:gd name="connsiteX43" fmla="*/ 1443037 w 1526381"/>
                  <a:gd name="connsiteY43" fmla="*/ 683419 h 969169"/>
                  <a:gd name="connsiteX44" fmla="*/ 1490662 w 1526381"/>
                  <a:gd name="connsiteY44" fmla="*/ 719138 h 969169"/>
                  <a:gd name="connsiteX45" fmla="*/ 1526381 w 1526381"/>
                  <a:gd name="connsiteY45" fmla="*/ 738188 h 969169"/>
                  <a:gd name="connsiteX46" fmla="*/ 1507331 w 1526381"/>
                  <a:gd name="connsiteY46" fmla="*/ 764382 h 969169"/>
                  <a:gd name="connsiteX47" fmla="*/ 1478756 w 1526381"/>
                  <a:gd name="connsiteY47" fmla="*/ 759619 h 969169"/>
                  <a:gd name="connsiteX48" fmla="*/ 1516856 w 1526381"/>
                  <a:gd name="connsiteY48" fmla="*/ 814388 h 969169"/>
                  <a:gd name="connsiteX49" fmla="*/ 1478756 w 1526381"/>
                  <a:gd name="connsiteY49" fmla="*/ 816769 h 969169"/>
                  <a:gd name="connsiteX50" fmla="*/ 1443037 w 1526381"/>
                  <a:gd name="connsiteY50" fmla="*/ 812007 h 969169"/>
                  <a:gd name="connsiteX51" fmla="*/ 1366837 w 1526381"/>
                  <a:gd name="connsiteY51" fmla="*/ 795338 h 969169"/>
                  <a:gd name="connsiteX52" fmla="*/ 1333500 w 1526381"/>
                  <a:gd name="connsiteY52" fmla="*/ 790575 h 969169"/>
                  <a:gd name="connsiteX53" fmla="*/ 1314450 w 1526381"/>
                  <a:gd name="connsiteY53" fmla="*/ 723900 h 969169"/>
                  <a:gd name="connsiteX54" fmla="*/ 1176337 w 1526381"/>
                  <a:gd name="connsiteY54" fmla="*/ 757238 h 969169"/>
                  <a:gd name="connsiteX55" fmla="*/ 1140619 w 1526381"/>
                  <a:gd name="connsiteY55" fmla="*/ 738188 h 969169"/>
                  <a:gd name="connsiteX56" fmla="*/ 1057275 w 1526381"/>
                  <a:gd name="connsiteY56" fmla="*/ 645319 h 969169"/>
                  <a:gd name="connsiteX57" fmla="*/ 1023937 w 1526381"/>
                  <a:gd name="connsiteY57" fmla="*/ 654844 h 969169"/>
                  <a:gd name="connsiteX58" fmla="*/ 988219 w 1526381"/>
                  <a:gd name="connsiteY58" fmla="*/ 652463 h 969169"/>
                  <a:gd name="connsiteX59" fmla="*/ 892969 w 1526381"/>
                  <a:gd name="connsiteY59" fmla="*/ 621507 h 969169"/>
                  <a:gd name="connsiteX60" fmla="*/ 835819 w 1526381"/>
                  <a:gd name="connsiteY60" fmla="*/ 673894 h 969169"/>
                  <a:gd name="connsiteX61" fmla="*/ 788194 w 1526381"/>
                  <a:gd name="connsiteY61" fmla="*/ 611982 h 969169"/>
                  <a:gd name="connsiteX62" fmla="*/ 742950 w 1526381"/>
                  <a:gd name="connsiteY62" fmla="*/ 597694 h 969169"/>
                  <a:gd name="connsiteX63" fmla="*/ 738187 w 1526381"/>
                  <a:gd name="connsiteY63" fmla="*/ 552450 h 969169"/>
                  <a:gd name="connsiteX64" fmla="*/ 702469 w 1526381"/>
                  <a:gd name="connsiteY64" fmla="*/ 533400 h 969169"/>
                  <a:gd name="connsiteX65" fmla="*/ 659606 w 1526381"/>
                  <a:gd name="connsiteY65" fmla="*/ 542925 h 969169"/>
                  <a:gd name="connsiteX66" fmla="*/ 647700 w 1526381"/>
                  <a:gd name="connsiteY66" fmla="*/ 564357 h 969169"/>
                  <a:gd name="connsiteX67" fmla="*/ 585787 w 1526381"/>
                  <a:gd name="connsiteY67" fmla="*/ 550069 h 969169"/>
                  <a:gd name="connsiteX68" fmla="*/ 476250 w 1526381"/>
                  <a:gd name="connsiteY68" fmla="*/ 626269 h 969169"/>
                  <a:gd name="connsiteX69" fmla="*/ 509587 w 1526381"/>
                  <a:gd name="connsiteY69" fmla="*/ 728663 h 969169"/>
                  <a:gd name="connsiteX70" fmla="*/ 531019 w 1526381"/>
                  <a:gd name="connsiteY70" fmla="*/ 797719 h 969169"/>
                  <a:gd name="connsiteX71" fmla="*/ 450056 w 1526381"/>
                  <a:gd name="connsiteY71" fmla="*/ 859632 h 969169"/>
                  <a:gd name="connsiteX72" fmla="*/ 321469 w 1526381"/>
                  <a:gd name="connsiteY72" fmla="*/ 964407 h 969169"/>
                  <a:gd name="connsiteX73" fmla="*/ 254794 w 1526381"/>
                  <a:gd name="connsiteY73" fmla="*/ 912019 h 969169"/>
                  <a:gd name="connsiteX74" fmla="*/ 211931 w 1526381"/>
                  <a:gd name="connsiteY74" fmla="*/ 969169 h 969169"/>
                  <a:gd name="connsiteX75" fmla="*/ 0 w 1526381"/>
                  <a:gd name="connsiteY75" fmla="*/ 966787 h 969169"/>
                  <a:gd name="connsiteX76" fmla="*/ 4762 w 1526381"/>
                  <a:gd name="connsiteY76" fmla="*/ 766763 h 969169"/>
                  <a:gd name="connsiteX77" fmla="*/ 64294 w 1526381"/>
                  <a:gd name="connsiteY77" fmla="*/ 719138 h 969169"/>
                  <a:gd name="connsiteX78" fmla="*/ 40481 w 1526381"/>
                  <a:gd name="connsiteY78" fmla="*/ 678657 h 969169"/>
                  <a:gd name="connsiteX79" fmla="*/ 78581 w 1526381"/>
                  <a:gd name="connsiteY79" fmla="*/ 642938 h 969169"/>
                  <a:gd name="connsiteX80" fmla="*/ 45244 w 1526381"/>
                  <a:gd name="connsiteY80" fmla="*/ 592932 h 969169"/>
                  <a:gd name="connsiteX81" fmla="*/ 76200 w 1526381"/>
                  <a:gd name="connsiteY81" fmla="*/ 554832 h 969169"/>
                  <a:gd name="connsiteX82" fmla="*/ 19050 w 1526381"/>
                  <a:gd name="connsiteY82" fmla="*/ 481013 h 969169"/>
                  <a:gd name="connsiteX83" fmla="*/ 76200 w 1526381"/>
                  <a:gd name="connsiteY83" fmla="*/ 433388 h 969169"/>
                  <a:gd name="connsiteX84" fmla="*/ 71437 w 1526381"/>
                  <a:gd name="connsiteY84" fmla="*/ 395288 h 969169"/>
                  <a:gd name="connsiteX85" fmla="*/ 35719 w 1526381"/>
                  <a:gd name="connsiteY85" fmla="*/ 383382 h 969169"/>
                  <a:gd name="connsiteX86" fmla="*/ 71437 w 1526381"/>
                  <a:gd name="connsiteY86" fmla="*/ 340519 h 969169"/>
                  <a:gd name="connsiteX87" fmla="*/ 33337 w 1526381"/>
                  <a:gd name="connsiteY87" fmla="*/ 273845 h 969169"/>
                  <a:gd name="connsiteX88" fmla="*/ 54769 w 1526381"/>
                  <a:gd name="connsiteY88" fmla="*/ 240507 h 969169"/>
                  <a:gd name="connsiteX0" fmla="*/ 59532 w 1531144"/>
                  <a:gd name="connsiteY0" fmla="*/ 240507 h 969169"/>
                  <a:gd name="connsiteX1" fmla="*/ 354807 w 1531144"/>
                  <a:gd name="connsiteY1" fmla="*/ 130969 h 969169"/>
                  <a:gd name="connsiteX2" fmla="*/ 407194 w 1531144"/>
                  <a:gd name="connsiteY2" fmla="*/ 142875 h 969169"/>
                  <a:gd name="connsiteX3" fmla="*/ 469107 w 1531144"/>
                  <a:gd name="connsiteY3" fmla="*/ 50007 h 969169"/>
                  <a:gd name="connsiteX4" fmla="*/ 561975 w 1531144"/>
                  <a:gd name="connsiteY4" fmla="*/ 0 h 969169"/>
                  <a:gd name="connsiteX5" fmla="*/ 657225 w 1531144"/>
                  <a:gd name="connsiteY5" fmla="*/ 4763 h 969169"/>
                  <a:gd name="connsiteX6" fmla="*/ 757238 w 1531144"/>
                  <a:gd name="connsiteY6" fmla="*/ 57150 h 969169"/>
                  <a:gd name="connsiteX7" fmla="*/ 790575 w 1531144"/>
                  <a:gd name="connsiteY7" fmla="*/ 73819 h 969169"/>
                  <a:gd name="connsiteX8" fmla="*/ 840582 w 1531144"/>
                  <a:gd name="connsiteY8" fmla="*/ 23813 h 969169"/>
                  <a:gd name="connsiteX9" fmla="*/ 885825 w 1531144"/>
                  <a:gd name="connsiteY9" fmla="*/ 11907 h 969169"/>
                  <a:gd name="connsiteX10" fmla="*/ 931069 w 1531144"/>
                  <a:gd name="connsiteY10" fmla="*/ 52388 h 969169"/>
                  <a:gd name="connsiteX11" fmla="*/ 947738 w 1531144"/>
                  <a:gd name="connsiteY11" fmla="*/ 102394 h 969169"/>
                  <a:gd name="connsiteX12" fmla="*/ 942975 w 1531144"/>
                  <a:gd name="connsiteY12" fmla="*/ 154782 h 969169"/>
                  <a:gd name="connsiteX13" fmla="*/ 990600 w 1531144"/>
                  <a:gd name="connsiteY13" fmla="*/ 209550 h 969169"/>
                  <a:gd name="connsiteX14" fmla="*/ 1002507 w 1531144"/>
                  <a:gd name="connsiteY14" fmla="*/ 228600 h 969169"/>
                  <a:gd name="connsiteX15" fmla="*/ 983457 w 1531144"/>
                  <a:gd name="connsiteY15" fmla="*/ 288132 h 969169"/>
                  <a:gd name="connsiteX16" fmla="*/ 988219 w 1531144"/>
                  <a:gd name="connsiteY16" fmla="*/ 316707 h 969169"/>
                  <a:gd name="connsiteX17" fmla="*/ 957263 w 1531144"/>
                  <a:gd name="connsiteY17" fmla="*/ 345282 h 969169"/>
                  <a:gd name="connsiteX18" fmla="*/ 983457 w 1531144"/>
                  <a:gd name="connsiteY18" fmla="*/ 390525 h 969169"/>
                  <a:gd name="connsiteX19" fmla="*/ 1004888 w 1531144"/>
                  <a:gd name="connsiteY19" fmla="*/ 397669 h 969169"/>
                  <a:gd name="connsiteX20" fmla="*/ 1033463 w 1531144"/>
                  <a:gd name="connsiteY20" fmla="*/ 366713 h 969169"/>
                  <a:gd name="connsiteX21" fmla="*/ 1073944 w 1531144"/>
                  <a:gd name="connsiteY21" fmla="*/ 404813 h 969169"/>
                  <a:gd name="connsiteX22" fmla="*/ 1126332 w 1531144"/>
                  <a:gd name="connsiteY22" fmla="*/ 345282 h 969169"/>
                  <a:gd name="connsiteX23" fmla="*/ 1176338 w 1531144"/>
                  <a:gd name="connsiteY23" fmla="*/ 321469 h 969169"/>
                  <a:gd name="connsiteX24" fmla="*/ 1219200 w 1531144"/>
                  <a:gd name="connsiteY24" fmla="*/ 357188 h 969169"/>
                  <a:gd name="connsiteX25" fmla="*/ 1238250 w 1531144"/>
                  <a:gd name="connsiteY25" fmla="*/ 388144 h 969169"/>
                  <a:gd name="connsiteX26" fmla="*/ 1240632 w 1531144"/>
                  <a:gd name="connsiteY26" fmla="*/ 435769 h 969169"/>
                  <a:gd name="connsiteX27" fmla="*/ 1281113 w 1531144"/>
                  <a:gd name="connsiteY27" fmla="*/ 445294 h 969169"/>
                  <a:gd name="connsiteX28" fmla="*/ 1290638 w 1531144"/>
                  <a:gd name="connsiteY28" fmla="*/ 383382 h 969169"/>
                  <a:gd name="connsiteX29" fmla="*/ 1326357 w 1531144"/>
                  <a:gd name="connsiteY29" fmla="*/ 366713 h 969169"/>
                  <a:gd name="connsiteX30" fmla="*/ 1397794 w 1531144"/>
                  <a:gd name="connsiteY30" fmla="*/ 414338 h 969169"/>
                  <a:gd name="connsiteX31" fmla="*/ 1426369 w 1531144"/>
                  <a:gd name="connsiteY31" fmla="*/ 421482 h 969169"/>
                  <a:gd name="connsiteX32" fmla="*/ 1473994 w 1531144"/>
                  <a:gd name="connsiteY32" fmla="*/ 376238 h 969169"/>
                  <a:gd name="connsiteX33" fmla="*/ 1516857 w 1531144"/>
                  <a:gd name="connsiteY33" fmla="*/ 421482 h 969169"/>
                  <a:gd name="connsiteX34" fmla="*/ 1502569 w 1531144"/>
                  <a:gd name="connsiteY34" fmla="*/ 447675 h 969169"/>
                  <a:gd name="connsiteX35" fmla="*/ 1464469 w 1531144"/>
                  <a:gd name="connsiteY35" fmla="*/ 466725 h 969169"/>
                  <a:gd name="connsiteX36" fmla="*/ 1431132 w 1531144"/>
                  <a:gd name="connsiteY36" fmla="*/ 507207 h 969169"/>
                  <a:gd name="connsiteX37" fmla="*/ 1397794 w 1531144"/>
                  <a:gd name="connsiteY37" fmla="*/ 547688 h 969169"/>
                  <a:gd name="connsiteX38" fmla="*/ 1397794 w 1531144"/>
                  <a:gd name="connsiteY38" fmla="*/ 547688 h 969169"/>
                  <a:gd name="connsiteX39" fmla="*/ 1426369 w 1531144"/>
                  <a:gd name="connsiteY39" fmla="*/ 588169 h 969169"/>
                  <a:gd name="connsiteX40" fmla="*/ 1435894 w 1531144"/>
                  <a:gd name="connsiteY40" fmla="*/ 635794 h 969169"/>
                  <a:gd name="connsiteX41" fmla="*/ 1488282 w 1531144"/>
                  <a:gd name="connsiteY41" fmla="*/ 619125 h 969169"/>
                  <a:gd name="connsiteX42" fmla="*/ 1473994 w 1531144"/>
                  <a:gd name="connsiteY42" fmla="*/ 657225 h 969169"/>
                  <a:gd name="connsiteX43" fmla="*/ 1447800 w 1531144"/>
                  <a:gd name="connsiteY43" fmla="*/ 683419 h 969169"/>
                  <a:gd name="connsiteX44" fmla="*/ 1495425 w 1531144"/>
                  <a:gd name="connsiteY44" fmla="*/ 719138 h 969169"/>
                  <a:gd name="connsiteX45" fmla="*/ 1531144 w 1531144"/>
                  <a:gd name="connsiteY45" fmla="*/ 738188 h 969169"/>
                  <a:gd name="connsiteX46" fmla="*/ 1512094 w 1531144"/>
                  <a:gd name="connsiteY46" fmla="*/ 764382 h 969169"/>
                  <a:gd name="connsiteX47" fmla="*/ 1483519 w 1531144"/>
                  <a:gd name="connsiteY47" fmla="*/ 759619 h 969169"/>
                  <a:gd name="connsiteX48" fmla="*/ 1521619 w 1531144"/>
                  <a:gd name="connsiteY48" fmla="*/ 814388 h 969169"/>
                  <a:gd name="connsiteX49" fmla="*/ 1483519 w 1531144"/>
                  <a:gd name="connsiteY49" fmla="*/ 816769 h 969169"/>
                  <a:gd name="connsiteX50" fmla="*/ 1447800 w 1531144"/>
                  <a:gd name="connsiteY50" fmla="*/ 812007 h 969169"/>
                  <a:gd name="connsiteX51" fmla="*/ 1371600 w 1531144"/>
                  <a:gd name="connsiteY51" fmla="*/ 795338 h 969169"/>
                  <a:gd name="connsiteX52" fmla="*/ 1338263 w 1531144"/>
                  <a:gd name="connsiteY52" fmla="*/ 790575 h 969169"/>
                  <a:gd name="connsiteX53" fmla="*/ 1319213 w 1531144"/>
                  <a:gd name="connsiteY53" fmla="*/ 723900 h 969169"/>
                  <a:gd name="connsiteX54" fmla="*/ 1181100 w 1531144"/>
                  <a:gd name="connsiteY54" fmla="*/ 757238 h 969169"/>
                  <a:gd name="connsiteX55" fmla="*/ 1145382 w 1531144"/>
                  <a:gd name="connsiteY55" fmla="*/ 738188 h 969169"/>
                  <a:gd name="connsiteX56" fmla="*/ 1062038 w 1531144"/>
                  <a:gd name="connsiteY56" fmla="*/ 645319 h 969169"/>
                  <a:gd name="connsiteX57" fmla="*/ 1028700 w 1531144"/>
                  <a:gd name="connsiteY57" fmla="*/ 654844 h 969169"/>
                  <a:gd name="connsiteX58" fmla="*/ 992982 w 1531144"/>
                  <a:gd name="connsiteY58" fmla="*/ 652463 h 969169"/>
                  <a:gd name="connsiteX59" fmla="*/ 897732 w 1531144"/>
                  <a:gd name="connsiteY59" fmla="*/ 621507 h 969169"/>
                  <a:gd name="connsiteX60" fmla="*/ 840582 w 1531144"/>
                  <a:gd name="connsiteY60" fmla="*/ 673894 h 969169"/>
                  <a:gd name="connsiteX61" fmla="*/ 792957 w 1531144"/>
                  <a:gd name="connsiteY61" fmla="*/ 611982 h 969169"/>
                  <a:gd name="connsiteX62" fmla="*/ 747713 w 1531144"/>
                  <a:gd name="connsiteY62" fmla="*/ 597694 h 969169"/>
                  <a:gd name="connsiteX63" fmla="*/ 742950 w 1531144"/>
                  <a:gd name="connsiteY63" fmla="*/ 552450 h 969169"/>
                  <a:gd name="connsiteX64" fmla="*/ 707232 w 1531144"/>
                  <a:gd name="connsiteY64" fmla="*/ 533400 h 969169"/>
                  <a:gd name="connsiteX65" fmla="*/ 664369 w 1531144"/>
                  <a:gd name="connsiteY65" fmla="*/ 542925 h 969169"/>
                  <a:gd name="connsiteX66" fmla="*/ 652463 w 1531144"/>
                  <a:gd name="connsiteY66" fmla="*/ 564357 h 969169"/>
                  <a:gd name="connsiteX67" fmla="*/ 590550 w 1531144"/>
                  <a:gd name="connsiteY67" fmla="*/ 550069 h 969169"/>
                  <a:gd name="connsiteX68" fmla="*/ 481013 w 1531144"/>
                  <a:gd name="connsiteY68" fmla="*/ 626269 h 969169"/>
                  <a:gd name="connsiteX69" fmla="*/ 514350 w 1531144"/>
                  <a:gd name="connsiteY69" fmla="*/ 728663 h 969169"/>
                  <a:gd name="connsiteX70" fmla="*/ 535782 w 1531144"/>
                  <a:gd name="connsiteY70" fmla="*/ 797719 h 969169"/>
                  <a:gd name="connsiteX71" fmla="*/ 454819 w 1531144"/>
                  <a:gd name="connsiteY71" fmla="*/ 859632 h 969169"/>
                  <a:gd name="connsiteX72" fmla="*/ 326232 w 1531144"/>
                  <a:gd name="connsiteY72" fmla="*/ 964407 h 969169"/>
                  <a:gd name="connsiteX73" fmla="*/ 259557 w 1531144"/>
                  <a:gd name="connsiteY73" fmla="*/ 912019 h 969169"/>
                  <a:gd name="connsiteX74" fmla="*/ 216694 w 1531144"/>
                  <a:gd name="connsiteY74" fmla="*/ 969169 h 969169"/>
                  <a:gd name="connsiteX75" fmla="*/ 4763 w 1531144"/>
                  <a:gd name="connsiteY75" fmla="*/ 966787 h 969169"/>
                  <a:gd name="connsiteX76" fmla="*/ 0 w 1531144"/>
                  <a:gd name="connsiteY76" fmla="*/ 766763 h 969169"/>
                  <a:gd name="connsiteX77" fmla="*/ 69057 w 1531144"/>
                  <a:gd name="connsiteY77" fmla="*/ 719138 h 969169"/>
                  <a:gd name="connsiteX78" fmla="*/ 45244 w 1531144"/>
                  <a:gd name="connsiteY78" fmla="*/ 678657 h 969169"/>
                  <a:gd name="connsiteX79" fmla="*/ 83344 w 1531144"/>
                  <a:gd name="connsiteY79" fmla="*/ 642938 h 969169"/>
                  <a:gd name="connsiteX80" fmla="*/ 50007 w 1531144"/>
                  <a:gd name="connsiteY80" fmla="*/ 592932 h 969169"/>
                  <a:gd name="connsiteX81" fmla="*/ 80963 w 1531144"/>
                  <a:gd name="connsiteY81" fmla="*/ 554832 h 969169"/>
                  <a:gd name="connsiteX82" fmla="*/ 23813 w 1531144"/>
                  <a:gd name="connsiteY82" fmla="*/ 481013 h 969169"/>
                  <a:gd name="connsiteX83" fmla="*/ 80963 w 1531144"/>
                  <a:gd name="connsiteY83" fmla="*/ 433388 h 969169"/>
                  <a:gd name="connsiteX84" fmla="*/ 76200 w 1531144"/>
                  <a:gd name="connsiteY84" fmla="*/ 395288 h 969169"/>
                  <a:gd name="connsiteX85" fmla="*/ 40482 w 1531144"/>
                  <a:gd name="connsiteY85" fmla="*/ 383382 h 969169"/>
                  <a:gd name="connsiteX86" fmla="*/ 76200 w 1531144"/>
                  <a:gd name="connsiteY86" fmla="*/ 340519 h 969169"/>
                  <a:gd name="connsiteX87" fmla="*/ 38100 w 1531144"/>
                  <a:gd name="connsiteY87" fmla="*/ 273845 h 969169"/>
                  <a:gd name="connsiteX88" fmla="*/ 59532 w 1531144"/>
                  <a:gd name="connsiteY88" fmla="*/ 240507 h 969169"/>
                  <a:gd name="connsiteX0" fmla="*/ 59532 w 1531144"/>
                  <a:gd name="connsiteY0" fmla="*/ 240507 h 969169"/>
                  <a:gd name="connsiteX1" fmla="*/ 354807 w 1531144"/>
                  <a:gd name="connsiteY1" fmla="*/ 130969 h 969169"/>
                  <a:gd name="connsiteX2" fmla="*/ 407194 w 1531144"/>
                  <a:gd name="connsiteY2" fmla="*/ 142875 h 969169"/>
                  <a:gd name="connsiteX3" fmla="*/ 469107 w 1531144"/>
                  <a:gd name="connsiteY3" fmla="*/ 50007 h 969169"/>
                  <a:gd name="connsiteX4" fmla="*/ 561975 w 1531144"/>
                  <a:gd name="connsiteY4" fmla="*/ 0 h 969169"/>
                  <a:gd name="connsiteX5" fmla="*/ 657225 w 1531144"/>
                  <a:gd name="connsiteY5" fmla="*/ 4763 h 969169"/>
                  <a:gd name="connsiteX6" fmla="*/ 757238 w 1531144"/>
                  <a:gd name="connsiteY6" fmla="*/ 57150 h 969169"/>
                  <a:gd name="connsiteX7" fmla="*/ 790575 w 1531144"/>
                  <a:gd name="connsiteY7" fmla="*/ 73819 h 969169"/>
                  <a:gd name="connsiteX8" fmla="*/ 840582 w 1531144"/>
                  <a:gd name="connsiteY8" fmla="*/ 23813 h 969169"/>
                  <a:gd name="connsiteX9" fmla="*/ 885825 w 1531144"/>
                  <a:gd name="connsiteY9" fmla="*/ 11907 h 969169"/>
                  <a:gd name="connsiteX10" fmla="*/ 931069 w 1531144"/>
                  <a:gd name="connsiteY10" fmla="*/ 52388 h 969169"/>
                  <a:gd name="connsiteX11" fmla="*/ 947738 w 1531144"/>
                  <a:gd name="connsiteY11" fmla="*/ 102394 h 969169"/>
                  <a:gd name="connsiteX12" fmla="*/ 942975 w 1531144"/>
                  <a:gd name="connsiteY12" fmla="*/ 154782 h 969169"/>
                  <a:gd name="connsiteX13" fmla="*/ 990600 w 1531144"/>
                  <a:gd name="connsiteY13" fmla="*/ 209550 h 969169"/>
                  <a:gd name="connsiteX14" fmla="*/ 1002507 w 1531144"/>
                  <a:gd name="connsiteY14" fmla="*/ 228600 h 969169"/>
                  <a:gd name="connsiteX15" fmla="*/ 983457 w 1531144"/>
                  <a:gd name="connsiteY15" fmla="*/ 288132 h 969169"/>
                  <a:gd name="connsiteX16" fmla="*/ 988219 w 1531144"/>
                  <a:gd name="connsiteY16" fmla="*/ 316707 h 969169"/>
                  <a:gd name="connsiteX17" fmla="*/ 957263 w 1531144"/>
                  <a:gd name="connsiteY17" fmla="*/ 345282 h 969169"/>
                  <a:gd name="connsiteX18" fmla="*/ 983457 w 1531144"/>
                  <a:gd name="connsiteY18" fmla="*/ 390525 h 969169"/>
                  <a:gd name="connsiteX19" fmla="*/ 1004888 w 1531144"/>
                  <a:gd name="connsiteY19" fmla="*/ 397669 h 969169"/>
                  <a:gd name="connsiteX20" fmla="*/ 1033463 w 1531144"/>
                  <a:gd name="connsiteY20" fmla="*/ 366713 h 969169"/>
                  <a:gd name="connsiteX21" fmla="*/ 1073944 w 1531144"/>
                  <a:gd name="connsiteY21" fmla="*/ 404813 h 969169"/>
                  <a:gd name="connsiteX22" fmla="*/ 1126332 w 1531144"/>
                  <a:gd name="connsiteY22" fmla="*/ 345282 h 969169"/>
                  <a:gd name="connsiteX23" fmla="*/ 1176338 w 1531144"/>
                  <a:gd name="connsiteY23" fmla="*/ 321469 h 969169"/>
                  <a:gd name="connsiteX24" fmla="*/ 1219200 w 1531144"/>
                  <a:gd name="connsiteY24" fmla="*/ 357188 h 969169"/>
                  <a:gd name="connsiteX25" fmla="*/ 1238250 w 1531144"/>
                  <a:gd name="connsiteY25" fmla="*/ 388144 h 969169"/>
                  <a:gd name="connsiteX26" fmla="*/ 1240632 w 1531144"/>
                  <a:gd name="connsiteY26" fmla="*/ 435769 h 969169"/>
                  <a:gd name="connsiteX27" fmla="*/ 1281113 w 1531144"/>
                  <a:gd name="connsiteY27" fmla="*/ 445294 h 969169"/>
                  <a:gd name="connsiteX28" fmla="*/ 1290638 w 1531144"/>
                  <a:gd name="connsiteY28" fmla="*/ 383382 h 969169"/>
                  <a:gd name="connsiteX29" fmla="*/ 1326357 w 1531144"/>
                  <a:gd name="connsiteY29" fmla="*/ 366713 h 969169"/>
                  <a:gd name="connsiteX30" fmla="*/ 1397794 w 1531144"/>
                  <a:gd name="connsiteY30" fmla="*/ 414338 h 969169"/>
                  <a:gd name="connsiteX31" fmla="*/ 1426369 w 1531144"/>
                  <a:gd name="connsiteY31" fmla="*/ 421482 h 969169"/>
                  <a:gd name="connsiteX32" fmla="*/ 1473994 w 1531144"/>
                  <a:gd name="connsiteY32" fmla="*/ 376238 h 969169"/>
                  <a:gd name="connsiteX33" fmla="*/ 1516857 w 1531144"/>
                  <a:gd name="connsiteY33" fmla="*/ 421482 h 969169"/>
                  <a:gd name="connsiteX34" fmla="*/ 1502569 w 1531144"/>
                  <a:gd name="connsiteY34" fmla="*/ 447675 h 969169"/>
                  <a:gd name="connsiteX35" fmla="*/ 1464469 w 1531144"/>
                  <a:gd name="connsiteY35" fmla="*/ 466725 h 969169"/>
                  <a:gd name="connsiteX36" fmla="*/ 1431132 w 1531144"/>
                  <a:gd name="connsiteY36" fmla="*/ 507207 h 969169"/>
                  <a:gd name="connsiteX37" fmla="*/ 1397794 w 1531144"/>
                  <a:gd name="connsiteY37" fmla="*/ 547688 h 969169"/>
                  <a:gd name="connsiteX38" fmla="*/ 1397794 w 1531144"/>
                  <a:gd name="connsiteY38" fmla="*/ 547688 h 969169"/>
                  <a:gd name="connsiteX39" fmla="*/ 1426369 w 1531144"/>
                  <a:gd name="connsiteY39" fmla="*/ 588169 h 969169"/>
                  <a:gd name="connsiteX40" fmla="*/ 1435894 w 1531144"/>
                  <a:gd name="connsiteY40" fmla="*/ 635794 h 969169"/>
                  <a:gd name="connsiteX41" fmla="*/ 1488282 w 1531144"/>
                  <a:gd name="connsiteY41" fmla="*/ 619125 h 969169"/>
                  <a:gd name="connsiteX42" fmla="*/ 1473994 w 1531144"/>
                  <a:gd name="connsiteY42" fmla="*/ 657225 h 969169"/>
                  <a:gd name="connsiteX43" fmla="*/ 1447800 w 1531144"/>
                  <a:gd name="connsiteY43" fmla="*/ 683419 h 969169"/>
                  <a:gd name="connsiteX44" fmla="*/ 1495425 w 1531144"/>
                  <a:gd name="connsiteY44" fmla="*/ 719138 h 969169"/>
                  <a:gd name="connsiteX45" fmla="*/ 1531144 w 1531144"/>
                  <a:gd name="connsiteY45" fmla="*/ 738188 h 969169"/>
                  <a:gd name="connsiteX46" fmla="*/ 1512094 w 1531144"/>
                  <a:gd name="connsiteY46" fmla="*/ 764382 h 969169"/>
                  <a:gd name="connsiteX47" fmla="*/ 1483519 w 1531144"/>
                  <a:gd name="connsiteY47" fmla="*/ 759619 h 969169"/>
                  <a:gd name="connsiteX48" fmla="*/ 1521619 w 1531144"/>
                  <a:gd name="connsiteY48" fmla="*/ 814388 h 969169"/>
                  <a:gd name="connsiteX49" fmla="*/ 1483519 w 1531144"/>
                  <a:gd name="connsiteY49" fmla="*/ 816769 h 969169"/>
                  <a:gd name="connsiteX50" fmla="*/ 1447800 w 1531144"/>
                  <a:gd name="connsiteY50" fmla="*/ 812007 h 969169"/>
                  <a:gd name="connsiteX51" fmla="*/ 1371600 w 1531144"/>
                  <a:gd name="connsiteY51" fmla="*/ 795338 h 969169"/>
                  <a:gd name="connsiteX52" fmla="*/ 1338263 w 1531144"/>
                  <a:gd name="connsiteY52" fmla="*/ 790575 h 969169"/>
                  <a:gd name="connsiteX53" fmla="*/ 1319213 w 1531144"/>
                  <a:gd name="connsiteY53" fmla="*/ 723900 h 969169"/>
                  <a:gd name="connsiteX54" fmla="*/ 1181100 w 1531144"/>
                  <a:gd name="connsiteY54" fmla="*/ 757238 h 969169"/>
                  <a:gd name="connsiteX55" fmla="*/ 1145382 w 1531144"/>
                  <a:gd name="connsiteY55" fmla="*/ 738188 h 969169"/>
                  <a:gd name="connsiteX56" fmla="*/ 1062038 w 1531144"/>
                  <a:gd name="connsiteY56" fmla="*/ 645319 h 969169"/>
                  <a:gd name="connsiteX57" fmla="*/ 1028700 w 1531144"/>
                  <a:gd name="connsiteY57" fmla="*/ 654844 h 969169"/>
                  <a:gd name="connsiteX58" fmla="*/ 992982 w 1531144"/>
                  <a:gd name="connsiteY58" fmla="*/ 652463 h 969169"/>
                  <a:gd name="connsiteX59" fmla="*/ 897732 w 1531144"/>
                  <a:gd name="connsiteY59" fmla="*/ 621507 h 969169"/>
                  <a:gd name="connsiteX60" fmla="*/ 840582 w 1531144"/>
                  <a:gd name="connsiteY60" fmla="*/ 673894 h 969169"/>
                  <a:gd name="connsiteX61" fmla="*/ 792957 w 1531144"/>
                  <a:gd name="connsiteY61" fmla="*/ 611982 h 969169"/>
                  <a:gd name="connsiteX62" fmla="*/ 747713 w 1531144"/>
                  <a:gd name="connsiteY62" fmla="*/ 597694 h 969169"/>
                  <a:gd name="connsiteX63" fmla="*/ 742950 w 1531144"/>
                  <a:gd name="connsiteY63" fmla="*/ 552450 h 969169"/>
                  <a:gd name="connsiteX64" fmla="*/ 707232 w 1531144"/>
                  <a:gd name="connsiteY64" fmla="*/ 533400 h 969169"/>
                  <a:gd name="connsiteX65" fmla="*/ 664369 w 1531144"/>
                  <a:gd name="connsiteY65" fmla="*/ 542925 h 969169"/>
                  <a:gd name="connsiteX66" fmla="*/ 652463 w 1531144"/>
                  <a:gd name="connsiteY66" fmla="*/ 564357 h 969169"/>
                  <a:gd name="connsiteX67" fmla="*/ 590550 w 1531144"/>
                  <a:gd name="connsiteY67" fmla="*/ 550069 h 969169"/>
                  <a:gd name="connsiteX68" fmla="*/ 481013 w 1531144"/>
                  <a:gd name="connsiteY68" fmla="*/ 626269 h 969169"/>
                  <a:gd name="connsiteX69" fmla="*/ 514350 w 1531144"/>
                  <a:gd name="connsiteY69" fmla="*/ 728663 h 969169"/>
                  <a:gd name="connsiteX70" fmla="*/ 535782 w 1531144"/>
                  <a:gd name="connsiteY70" fmla="*/ 797719 h 969169"/>
                  <a:gd name="connsiteX71" fmla="*/ 454819 w 1531144"/>
                  <a:gd name="connsiteY71" fmla="*/ 859632 h 969169"/>
                  <a:gd name="connsiteX72" fmla="*/ 326232 w 1531144"/>
                  <a:gd name="connsiteY72" fmla="*/ 964407 h 969169"/>
                  <a:gd name="connsiteX73" fmla="*/ 259557 w 1531144"/>
                  <a:gd name="connsiteY73" fmla="*/ 912019 h 969169"/>
                  <a:gd name="connsiteX74" fmla="*/ 216694 w 1531144"/>
                  <a:gd name="connsiteY74" fmla="*/ 969169 h 969169"/>
                  <a:gd name="connsiteX75" fmla="*/ 4763 w 1531144"/>
                  <a:gd name="connsiteY75" fmla="*/ 966787 h 969169"/>
                  <a:gd name="connsiteX76" fmla="*/ 0 w 1531144"/>
                  <a:gd name="connsiteY76" fmla="*/ 766763 h 969169"/>
                  <a:gd name="connsiteX77" fmla="*/ 61914 w 1531144"/>
                  <a:gd name="connsiteY77" fmla="*/ 721519 h 969169"/>
                  <a:gd name="connsiteX78" fmla="*/ 45244 w 1531144"/>
                  <a:gd name="connsiteY78" fmla="*/ 678657 h 969169"/>
                  <a:gd name="connsiteX79" fmla="*/ 83344 w 1531144"/>
                  <a:gd name="connsiteY79" fmla="*/ 642938 h 969169"/>
                  <a:gd name="connsiteX80" fmla="*/ 50007 w 1531144"/>
                  <a:gd name="connsiteY80" fmla="*/ 592932 h 969169"/>
                  <a:gd name="connsiteX81" fmla="*/ 80963 w 1531144"/>
                  <a:gd name="connsiteY81" fmla="*/ 554832 h 969169"/>
                  <a:gd name="connsiteX82" fmla="*/ 23813 w 1531144"/>
                  <a:gd name="connsiteY82" fmla="*/ 481013 h 969169"/>
                  <a:gd name="connsiteX83" fmla="*/ 80963 w 1531144"/>
                  <a:gd name="connsiteY83" fmla="*/ 433388 h 969169"/>
                  <a:gd name="connsiteX84" fmla="*/ 76200 w 1531144"/>
                  <a:gd name="connsiteY84" fmla="*/ 395288 h 969169"/>
                  <a:gd name="connsiteX85" fmla="*/ 40482 w 1531144"/>
                  <a:gd name="connsiteY85" fmla="*/ 383382 h 969169"/>
                  <a:gd name="connsiteX86" fmla="*/ 76200 w 1531144"/>
                  <a:gd name="connsiteY86" fmla="*/ 340519 h 969169"/>
                  <a:gd name="connsiteX87" fmla="*/ 38100 w 1531144"/>
                  <a:gd name="connsiteY87" fmla="*/ 273845 h 969169"/>
                  <a:gd name="connsiteX88" fmla="*/ 59532 w 1531144"/>
                  <a:gd name="connsiteY88" fmla="*/ 240507 h 969169"/>
                  <a:gd name="connsiteX0" fmla="*/ 59532 w 1531144"/>
                  <a:gd name="connsiteY0" fmla="*/ 240507 h 969169"/>
                  <a:gd name="connsiteX1" fmla="*/ 354807 w 1531144"/>
                  <a:gd name="connsiteY1" fmla="*/ 130969 h 969169"/>
                  <a:gd name="connsiteX2" fmla="*/ 407194 w 1531144"/>
                  <a:gd name="connsiteY2" fmla="*/ 142875 h 969169"/>
                  <a:gd name="connsiteX3" fmla="*/ 469107 w 1531144"/>
                  <a:gd name="connsiteY3" fmla="*/ 50007 h 969169"/>
                  <a:gd name="connsiteX4" fmla="*/ 561975 w 1531144"/>
                  <a:gd name="connsiteY4" fmla="*/ 0 h 969169"/>
                  <a:gd name="connsiteX5" fmla="*/ 657225 w 1531144"/>
                  <a:gd name="connsiteY5" fmla="*/ 4763 h 969169"/>
                  <a:gd name="connsiteX6" fmla="*/ 757238 w 1531144"/>
                  <a:gd name="connsiteY6" fmla="*/ 57150 h 969169"/>
                  <a:gd name="connsiteX7" fmla="*/ 790575 w 1531144"/>
                  <a:gd name="connsiteY7" fmla="*/ 73819 h 969169"/>
                  <a:gd name="connsiteX8" fmla="*/ 840582 w 1531144"/>
                  <a:gd name="connsiteY8" fmla="*/ 23813 h 969169"/>
                  <a:gd name="connsiteX9" fmla="*/ 885825 w 1531144"/>
                  <a:gd name="connsiteY9" fmla="*/ 11907 h 969169"/>
                  <a:gd name="connsiteX10" fmla="*/ 931069 w 1531144"/>
                  <a:gd name="connsiteY10" fmla="*/ 52388 h 969169"/>
                  <a:gd name="connsiteX11" fmla="*/ 947738 w 1531144"/>
                  <a:gd name="connsiteY11" fmla="*/ 102394 h 969169"/>
                  <a:gd name="connsiteX12" fmla="*/ 942975 w 1531144"/>
                  <a:gd name="connsiteY12" fmla="*/ 154782 h 969169"/>
                  <a:gd name="connsiteX13" fmla="*/ 990600 w 1531144"/>
                  <a:gd name="connsiteY13" fmla="*/ 209550 h 969169"/>
                  <a:gd name="connsiteX14" fmla="*/ 1002507 w 1531144"/>
                  <a:gd name="connsiteY14" fmla="*/ 228600 h 969169"/>
                  <a:gd name="connsiteX15" fmla="*/ 983457 w 1531144"/>
                  <a:gd name="connsiteY15" fmla="*/ 288132 h 969169"/>
                  <a:gd name="connsiteX16" fmla="*/ 988219 w 1531144"/>
                  <a:gd name="connsiteY16" fmla="*/ 316707 h 969169"/>
                  <a:gd name="connsiteX17" fmla="*/ 957263 w 1531144"/>
                  <a:gd name="connsiteY17" fmla="*/ 345282 h 969169"/>
                  <a:gd name="connsiteX18" fmla="*/ 983457 w 1531144"/>
                  <a:gd name="connsiteY18" fmla="*/ 390525 h 969169"/>
                  <a:gd name="connsiteX19" fmla="*/ 1004888 w 1531144"/>
                  <a:gd name="connsiteY19" fmla="*/ 397669 h 969169"/>
                  <a:gd name="connsiteX20" fmla="*/ 1033463 w 1531144"/>
                  <a:gd name="connsiteY20" fmla="*/ 366713 h 969169"/>
                  <a:gd name="connsiteX21" fmla="*/ 1073944 w 1531144"/>
                  <a:gd name="connsiteY21" fmla="*/ 404813 h 969169"/>
                  <a:gd name="connsiteX22" fmla="*/ 1126332 w 1531144"/>
                  <a:gd name="connsiteY22" fmla="*/ 345282 h 969169"/>
                  <a:gd name="connsiteX23" fmla="*/ 1176338 w 1531144"/>
                  <a:gd name="connsiteY23" fmla="*/ 321469 h 969169"/>
                  <a:gd name="connsiteX24" fmla="*/ 1219200 w 1531144"/>
                  <a:gd name="connsiteY24" fmla="*/ 357188 h 969169"/>
                  <a:gd name="connsiteX25" fmla="*/ 1238250 w 1531144"/>
                  <a:gd name="connsiteY25" fmla="*/ 388144 h 969169"/>
                  <a:gd name="connsiteX26" fmla="*/ 1240632 w 1531144"/>
                  <a:gd name="connsiteY26" fmla="*/ 435769 h 969169"/>
                  <a:gd name="connsiteX27" fmla="*/ 1281113 w 1531144"/>
                  <a:gd name="connsiteY27" fmla="*/ 445294 h 969169"/>
                  <a:gd name="connsiteX28" fmla="*/ 1290638 w 1531144"/>
                  <a:gd name="connsiteY28" fmla="*/ 383382 h 969169"/>
                  <a:gd name="connsiteX29" fmla="*/ 1326357 w 1531144"/>
                  <a:gd name="connsiteY29" fmla="*/ 366713 h 969169"/>
                  <a:gd name="connsiteX30" fmla="*/ 1397794 w 1531144"/>
                  <a:gd name="connsiteY30" fmla="*/ 414338 h 969169"/>
                  <a:gd name="connsiteX31" fmla="*/ 1426369 w 1531144"/>
                  <a:gd name="connsiteY31" fmla="*/ 421482 h 969169"/>
                  <a:gd name="connsiteX32" fmla="*/ 1473994 w 1531144"/>
                  <a:gd name="connsiteY32" fmla="*/ 376238 h 969169"/>
                  <a:gd name="connsiteX33" fmla="*/ 1516857 w 1531144"/>
                  <a:gd name="connsiteY33" fmla="*/ 421482 h 969169"/>
                  <a:gd name="connsiteX34" fmla="*/ 1502569 w 1531144"/>
                  <a:gd name="connsiteY34" fmla="*/ 447675 h 969169"/>
                  <a:gd name="connsiteX35" fmla="*/ 1464469 w 1531144"/>
                  <a:gd name="connsiteY35" fmla="*/ 466725 h 969169"/>
                  <a:gd name="connsiteX36" fmla="*/ 1431132 w 1531144"/>
                  <a:gd name="connsiteY36" fmla="*/ 507207 h 969169"/>
                  <a:gd name="connsiteX37" fmla="*/ 1397794 w 1531144"/>
                  <a:gd name="connsiteY37" fmla="*/ 547688 h 969169"/>
                  <a:gd name="connsiteX38" fmla="*/ 1397794 w 1531144"/>
                  <a:gd name="connsiteY38" fmla="*/ 547688 h 969169"/>
                  <a:gd name="connsiteX39" fmla="*/ 1426369 w 1531144"/>
                  <a:gd name="connsiteY39" fmla="*/ 588169 h 969169"/>
                  <a:gd name="connsiteX40" fmla="*/ 1435894 w 1531144"/>
                  <a:gd name="connsiteY40" fmla="*/ 635794 h 969169"/>
                  <a:gd name="connsiteX41" fmla="*/ 1488282 w 1531144"/>
                  <a:gd name="connsiteY41" fmla="*/ 619125 h 969169"/>
                  <a:gd name="connsiteX42" fmla="*/ 1473994 w 1531144"/>
                  <a:gd name="connsiteY42" fmla="*/ 657225 h 969169"/>
                  <a:gd name="connsiteX43" fmla="*/ 1447800 w 1531144"/>
                  <a:gd name="connsiteY43" fmla="*/ 683419 h 969169"/>
                  <a:gd name="connsiteX44" fmla="*/ 1495425 w 1531144"/>
                  <a:gd name="connsiteY44" fmla="*/ 719138 h 969169"/>
                  <a:gd name="connsiteX45" fmla="*/ 1531144 w 1531144"/>
                  <a:gd name="connsiteY45" fmla="*/ 738188 h 969169"/>
                  <a:gd name="connsiteX46" fmla="*/ 1512094 w 1531144"/>
                  <a:gd name="connsiteY46" fmla="*/ 764382 h 969169"/>
                  <a:gd name="connsiteX47" fmla="*/ 1483519 w 1531144"/>
                  <a:gd name="connsiteY47" fmla="*/ 759619 h 969169"/>
                  <a:gd name="connsiteX48" fmla="*/ 1521619 w 1531144"/>
                  <a:gd name="connsiteY48" fmla="*/ 814388 h 969169"/>
                  <a:gd name="connsiteX49" fmla="*/ 1483519 w 1531144"/>
                  <a:gd name="connsiteY49" fmla="*/ 816769 h 969169"/>
                  <a:gd name="connsiteX50" fmla="*/ 1447800 w 1531144"/>
                  <a:gd name="connsiteY50" fmla="*/ 812007 h 969169"/>
                  <a:gd name="connsiteX51" fmla="*/ 1371600 w 1531144"/>
                  <a:gd name="connsiteY51" fmla="*/ 795338 h 969169"/>
                  <a:gd name="connsiteX52" fmla="*/ 1338263 w 1531144"/>
                  <a:gd name="connsiteY52" fmla="*/ 790575 h 969169"/>
                  <a:gd name="connsiteX53" fmla="*/ 1319213 w 1531144"/>
                  <a:gd name="connsiteY53" fmla="*/ 723900 h 969169"/>
                  <a:gd name="connsiteX54" fmla="*/ 1181100 w 1531144"/>
                  <a:gd name="connsiteY54" fmla="*/ 757238 h 969169"/>
                  <a:gd name="connsiteX55" fmla="*/ 1145382 w 1531144"/>
                  <a:gd name="connsiteY55" fmla="*/ 738188 h 969169"/>
                  <a:gd name="connsiteX56" fmla="*/ 1062038 w 1531144"/>
                  <a:gd name="connsiteY56" fmla="*/ 645319 h 969169"/>
                  <a:gd name="connsiteX57" fmla="*/ 1028700 w 1531144"/>
                  <a:gd name="connsiteY57" fmla="*/ 654844 h 969169"/>
                  <a:gd name="connsiteX58" fmla="*/ 992982 w 1531144"/>
                  <a:gd name="connsiteY58" fmla="*/ 652463 h 969169"/>
                  <a:gd name="connsiteX59" fmla="*/ 897732 w 1531144"/>
                  <a:gd name="connsiteY59" fmla="*/ 621507 h 969169"/>
                  <a:gd name="connsiteX60" fmla="*/ 840582 w 1531144"/>
                  <a:gd name="connsiteY60" fmla="*/ 673894 h 969169"/>
                  <a:gd name="connsiteX61" fmla="*/ 792957 w 1531144"/>
                  <a:gd name="connsiteY61" fmla="*/ 611982 h 969169"/>
                  <a:gd name="connsiteX62" fmla="*/ 747713 w 1531144"/>
                  <a:gd name="connsiteY62" fmla="*/ 597694 h 969169"/>
                  <a:gd name="connsiteX63" fmla="*/ 742950 w 1531144"/>
                  <a:gd name="connsiteY63" fmla="*/ 552450 h 969169"/>
                  <a:gd name="connsiteX64" fmla="*/ 707232 w 1531144"/>
                  <a:gd name="connsiteY64" fmla="*/ 533400 h 969169"/>
                  <a:gd name="connsiteX65" fmla="*/ 664369 w 1531144"/>
                  <a:gd name="connsiteY65" fmla="*/ 542925 h 969169"/>
                  <a:gd name="connsiteX66" fmla="*/ 652463 w 1531144"/>
                  <a:gd name="connsiteY66" fmla="*/ 564357 h 969169"/>
                  <a:gd name="connsiteX67" fmla="*/ 590550 w 1531144"/>
                  <a:gd name="connsiteY67" fmla="*/ 550069 h 969169"/>
                  <a:gd name="connsiteX68" fmla="*/ 481013 w 1531144"/>
                  <a:gd name="connsiteY68" fmla="*/ 626269 h 969169"/>
                  <a:gd name="connsiteX69" fmla="*/ 514350 w 1531144"/>
                  <a:gd name="connsiteY69" fmla="*/ 728663 h 969169"/>
                  <a:gd name="connsiteX70" fmla="*/ 535782 w 1531144"/>
                  <a:gd name="connsiteY70" fmla="*/ 797719 h 969169"/>
                  <a:gd name="connsiteX71" fmla="*/ 454819 w 1531144"/>
                  <a:gd name="connsiteY71" fmla="*/ 859632 h 969169"/>
                  <a:gd name="connsiteX72" fmla="*/ 326232 w 1531144"/>
                  <a:gd name="connsiteY72" fmla="*/ 964407 h 969169"/>
                  <a:gd name="connsiteX73" fmla="*/ 259557 w 1531144"/>
                  <a:gd name="connsiteY73" fmla="*/ 912019 h 969169"/>
                  <a:gd name="connsiteX74" fmla="*/ 216694 w 1531144"/>
                  <a:gd name="connsiteY74" fmla="*/ 969169 h 969169"/>
                  <a:gd name="connsiteX75" fmla="*/ 4763 w 1531144"/>
                  <a:gd name="connsiteY75" fmla="*/ 966787 h 969169"/>
                  <a:gd name="connsiteX76" fmla="*/ 0 w 1531144"/>
                  <a:gd name="connsiteY76" fmla="*/ 766763 h 969169"/>
                  <a:gd name="connsiteX77" fmla="*/ 61914 w 1531144"/>
                  <a:gd name="connsiteY77" fmla="*/ 721519 h 969169"/>
                  <a:gd name="connsiteX78" fmla="*/ 45244 w 1531144"/>
                  <a:gd name="connsiteY78" fmla="*/ 678657 h 969169"/>
                  <a:gd name="connsiteX79" fmla="*/ 80963 w 1531144"/>
                  <a:gd name="connsiteY79" fmla="*/ 640557 h 969169"/>
                  <a:gd name="connsiteX80" fmla="*/ 50007 w 1531144"/>
                  <a:gd name="connsiteY80" fmla="*/ 592932 h 969169"/>
                  <a:gd name="connsiteX81" fmla="*/ 80963 w 1531144"/>
                  <a:gd name="connsiteY81" fmla="*/ 554832 h 969169"/>
                  <a:gd name="connsiteX82" fmla="*/ 23813 w 1531144"/>
                  <a:gd name="connsiteY82" fmla="*/ 481013 h 969169"/>
                  <a:gd name="connsiteX83" fmla="*/ 80963 w 1531144"/>
                  <a:gd name="connsiteY83" fmla="*/ 433388 h 969169"/>
                  <a:gd name="connsiteX84" fmla="*/ 76200 w 1531144"/>
                  <a:gd name="connsiteY84" fmla="*/ 395288 h 969169"/>
                  <a:gd name="connsiteX85" fmla="*/ 40482 w 1531144"/>
                  <a:gd name="connsiteY85" fmla="*/ 383382 h 969169"/>
                  <a:gd name="connsiteX86" fmla="*/ 76200 w 1531144"/>
                  <a:gd name="connsiteY86" fmla="*/ 340519 h 969169"/>
                  <a:gd name="connsiteX87" fmla="*/ 38100 w 1531144"/>
                  <a:gd name="connsiteY87" fmla="*/ 273845 h 969169"/>
                  <a:gd name="connsiteX88" fmla="*/ 59532 w 1531144"/>
                  <a:gd name="connsiteY88" fmla="*/ 240507 h 969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1531144" h="969169">
                    <a:moveTo>
                      <a:pt x="59532" y="240507"/>
                    </a:moveTo>
                    <a:lnTo>
                      <a:pt x="354807" y="130969"/>
                    </a:lnTo>
                    <a:lnTo>
                      <a:pt x="407194" y="142875"/>
                    </a:lnTo>
                    <a:lnTo>
                      <a:pt x="469107" y="50007"/>
                    </a:lnTo>
                    <a:lnTo>
                      <a:pt x="561975" y="0"/>
                    </a:lnTo>
                    <a:lnTo>
                      <a:pt x="657225" y="4763"/>
                    </a:lnTo>
                    <a:lnTo>
                      <a:pt x="757238" y="57150"/>
                    </a:lnTo>
                    <a:lnTo>
                      <a:pt x="790575" y="73819"/>
                    </a:lnTo>
                    <a:lnTo>
                      <a:pt x="840582" y="23813"/>
                    </a:lnTo>
                    <a:lnTo>
                      <a:pt x="885825" y="11907"/>
                    </a:lnTo>
                    <a:lnTo>
                      <a:pt x="931069" y="52388"/>
                    </a:lnTo>
                    <a:lnTo>
                      <a:pt x="947738" y="102394"/>
                    </a:lnTo>
                    <a:lnTo>
                      <a:pt x="942975" y="154782"/>
                    </a:lnTo>
                    <a:lnTo>
                      <a:pt x="990600" y="209550"/>
                    </a:lnTo>
                    <a:lnTo>
                      <a:pt x="1002507" y="228600"/>
                    </a:lnTo>
                    <a:lnTo>
                      <a:pt x="983457" y="288132"/>
                    </a:lnTo>
                    <a:lnTo>
                      <a:pt x="988219" y="316707"/>
                    </a:lnTo>
                    <a:lnTo>
                      <a:pt x="957263" y="345282"/>
                    </a:lnTo>
                    <a:lnTo>
                      <a:pt x="983457" y="390525"/>
                    </a:lnTo>
                    <a:lnTo>
                      <a:pt x="1004888" y="397669"/>
                    </a:lnTo>
                    <a:lnTo>
                      <a:pt x="1033463" y="366713"/>
                    </a:lnTo>
                    <a:lnTo>
                      <a:pt x="1073944" y="404813"/>
                    </a:lnTo>
                    <a:lnTo>
                      <a:pt x="1126332" y="345282"/>
                    </a:lnTo>
                    <a:lnTo>
                      <a:pt x="1176338" y="321469"/>
                    </a:lnTo>
                    <a:lnTo>
                      <a:pt x="1219200" y="357188"/>
                    </a:lnTo>
                    <a:lnTo>
                      <a:pt x="1238250" y="388144"/>
                    </a:lnTo>
                    <a:lnTo>
                      <a:pt x="1240632" y="435769"/>
                    </a:lnTo>
                    <a:lnTo>
                      <a:pt x="1281113" y="445294"/>
                    </a:lnTo>
                    <a:lnTo>
                      <a:pt x="1290638" y="383382"/>
                    </a:lnTo>
                    <a:lnTo>
                      <a:pt x="1326357" y="366713"/>
                    </a:lnTo>
                    <a:lnTo>
                      <a:pt x="1397794" y="414338"/>
                    </a:lnTo>
                    <a:lnTo>
                      <a:pt x="1426369" y="421482"/>
                    </a:lnTo>
                    <a:lnTo>
                      <a:pt x="1473994" y="376238"/>
                    </a:lnTo>
                    <a:lnTo>
                      <a:pt x="1516857" y="421482"/>
                    </a:lnTo>
                    <a:lnTo>
                      <a:pt x="1502569" y="447675"/>
                    </a:lnTo>
                    <a:lnTo>
                      <a:pt x="1464469" y="466725"/>
                    </a:lnTo>
                    <a:lnTo>
                      <a:pt x="1431132" y="507207"/>
                    </a:lnTo>
                    <a:lnTo>
                      <a:pt x="1397794" y="547688"/>
                    </a:lnTo>
                    <a:lnTo>
                      <a:pt x="1397794" y="547688"/>
                    </a:lnTo>
                    <a:lnTo>
                      <a:pt x="1426369" y="588169"/>
                    </a:lnTo>
                    <a:lnTo>
                      <a:pt x="1435894" y="635794"/>
                    </a:lnTo>
                    <a:lnTo>
                      <a:pt x="1488282" y="619125"/>
                    </a:lnTo>
                    <a:lnTo>
                      <a:pt x="1473994" y="657225"/>
                    </a:lnTo>
                    <a:lnTo>
                      <a:pt x="1447800" y="683419"/>
                    </a:lnTo>
                    <a:lnTo>
                      <a:pt x="1495425" y="719138"/>
                    </a:lnTo>
                    <a:lnTo>
                      <a:pt x="1531144" y="738188"/>
                    </a:lnTo>
                    <a:lnTo>
                      <a:pt x="1512094" y="764382"/>
                    </a:lnTo>
                    <a:lnTo>
                      <a:pt x="1483519" y="759619"/>
                    </a:lnTo>
                    <a:lnTo>
                      <a:pt x="1521619" y="814388"/>
                    </a:lnTo>
                    <a:lnTo>
                      <a:pt x="1483519" y="816769"/>
                    </a:lnTo>
                    <a:cubicBezTo>
                      <a:pt x="1457439" y="810974"/>
                      <a:pt x="1469406" y="812007"/>
                      <a:pt x="1447800" y="812007"/>
                    </a:cubicBezTo>
                    <a:lnTo>
                      <a:pt x="1371600" y="795338"/>
                    </a:lnTo>
                    <a:lnTo>
                      <a:pt x="1338263" y="790575"/>
                    </a:lnTo>
                    <a:lnTo>
                      <a:pt x="1319213" y="723900"/>
                    </a:lnTo>
                    <a:lnTo>
                      <a:pt x="1181100" y="757238"/>
                    </a:lnTo>
                    <a:lnTo>
                      <a:pt x="1145382" y="738188"/>
                    </a:lnTo>
                    <a:lnTo>
                      <a:pt x="1062038" y="645319"/>
                    </a:lnTo>
                    <a:lnTo>
                      <a:pt x="1028700" y="654844"/>
                    </a:lnTo>
                    <a:lnTo>
                      <a:pt x="992982" y="652463"/>
                    </a:lnTo>
                    <a:lnTo>
                      <a:pt x="897732" y="621507"/>
                    </a:lnTo>
                    <a:lnTo>
                      <a:pt x="840582" y="673894"/>
                    </a:lnTo>
                    <a:lnTo>
                      <a:pt x="792957" y="611982"/>
                    </a:lnTo>
                    <a:lnTo>
                      <a:pt x="747713" y="597694"/>
                    </a:lnTo>
                    <a:lnTo>
                      <a:pt x="742950" y="552450"/>
                    </a:lnTo>
                    <a:lnTo>
                      <a:pt x="707232" y="533400"/>
                    </a:lnTo>
                    <a:lnTo>
                      <a:pt x="664369" y="542925"/>
                    </a:lnTo>
                    <a:lnTo>
                      <a:pt x="652463" y="564357"/>
                    </a:lnTo>
                    <a:lnTo>
                      <a:pt x="590550" y="550069"/>
                    </a:lnTo>
                    <a:lnTo>
                      <a:pt x="481013" y="626269"/>
                    </a:lnTo>
                    <a:lnTo>
                      <a:pt x="514350" y="728663"/>
                    </a:lnTo>
                    <a:lnTo>
                      <a:pt x="535782" y="797719"/>
                    </a:lnTo>
                    <a:lnTo>
                      <a:pt x="454819" y="859632"/>
                    </a:lnTo>
                    <a:lnTo>
                      <a:pt x="326232" y="964407"/>
                    </a:lnTo>
                    <a:lnTo>
                      <a:pt x="259557" y="912019"/>
                    </a:lnTo>
                    <a:lnTo>
                      <a:pt x="216694" y="969169"/>
                    </a:lnTo>
                    <a:lnTo>
                      <a:pt x="4763" y="966787"/>
                    </a:lnTo>
                    <a:lnTo>
                      <a:pt x="0" y="766763"/>
                    </a:lnTo>
                    <a:lnTo>
                      <a:pt x="61914" y="721519"/>
                    </a:lnTo>
                    <a:lnTo>
                      <a:pt x="45244" y="678657"/>
                    </a:lnTo>
                    <a:lnTo>
                      <a:pt x="80963" y="640557"/>
                    </a:lnTo>
                    <a:lnTo>
                      <a:pt x="50007" y="592932"/>
                    </a:lnTo>
                    <a:lnTo>
                      <a:pt x="80963" y="554832"/>
                    </a:lnTo>
                    <a:lnTo>
                      <a:pt x="23813" y="481013"/>
                    </a:lnTo>
                    <a:lnTo>
                      <a:pt x="80963" y="433388"/>
                    </a:lnTo>
                    <a:lnTo>
                      <a:pt x="76200" y="395288"/>
                    </a:lnTo>
                    <a:lnTo>
                      <a:pt x="40482" y="383382"/>
                    </a:lnTo>
                    <a:lnTo>
                      <a:pt x="76200" y="340519"/>
                    </a:lnTo>
                    <a:lnTo>
                      <a:pt x="38100" y="273845"/>
                    </a:lnTo>
                    <a:lnTo>
                      <a:pt x="59532" y="240507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/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3" name="Freeform 20"/>
              <p:cNvSpPr/>
              <p:nvPr/>
            </p:nvSpPr>
            <p:spPr>
              <a:xfrm>
                <a:off x="5026552" y="1055687"/>
                <a:ext cx="854190" cy="955112"/>
              </a:xfrm>
              <a:custGeom>
                <a:avLst/>
                <a:gdLst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107156 w 1216819"/>
                  <a:gd name="connsiteY31" fmla="*/ 540543 h 1466850"/>
                  <a:gd name="connsiteX32" fmla="*/ 92869 w 1216819"/>
                  <a:gd name="connsiteY32" fmla="*/ 573881 h 1466850"/>
                  <a:gd name="connsiteX33" fmla="*/ 61913 w 1216819"/>
                  <a:gd name="connsiteY33" fmla="*/ 566737 h 1466850"/>
                  <a:gd name="connsiteX34" fmla="*/ 128588 w 1216819"/>
                  <a:gd name="connsiteY34" fmla="*/ 657225 h 1466850"/>
                  <a:gd name="connsiteX35" fmla="*/ 133350 w 1216819"/>
                  <a:gd name="connsiteY35" fmla="*/ 685800 h 1466850"/>
                  <a:gd name="connsiteX36" fmla="*/ 145256 w 1216819"/>
                  <a:gd name="connsiteY36" fmla="*/ 795337 h 1466850"/>
                  <a:gd name="connsiteX37" fmla="*/ 140494 w 1216819"/>
                  <a:gd name="connsiteY37" fmla="*/ 833437 h 1466850"/>
                  <a:gd name="connsiteX38" fmla="*/ 121444 w 1216819"/>
                  <a:gd name="connsiteY38" fmla="*/ 928687 h 1466850"/>
                  <a:gd name="connsiteX39" fmla="*/ 142875 w 1216819"/>
                  <a:gd name="connsiteY39" fmla="*/ 995362 h 1466850"/>
                  <a:gd name="connsiteX40" fmla="*/ 102394 w 1216819"/>
                  <a:gd name="connsiteY40" fmla="*/ 1059656 h 1466850"/>
                  <a:gd name="connsiteX41" fmla="*/ 138113 w 1216819"/>
                  <a:gd name="connsiteY41" fmla="*/ 1090612 h 1466850"/>
                  <a:gd name="connsiteX42" fmla="*/ 138113 w 1216819"/>
                  <a:gd name="connsiteY42" fmla="*/ 1090612 h 1466850"/>
                  <a:gd name="connsiteX43" fmla="*/ 200025 w 1216819"/>
                  <a:gd name="connsiteY43" fmla="*/ 1183481 h 1466850"/>
                  <a:gd name="connsiteX44" fmla="*/ 180975 w 1216819"/>
                  <a:gd name="connsiteY44" fmla="*/ 1216818 h 1466850"/>
                  <a:gd name="connsiteX45" fmla="*/ 171450 w 1216819"/>
                  <a:gd name="connsiteY45" fmla="*/ 1243012 h 1466850"/>
                  <a:gd name="connsiteX46" fmla="*/ 214313 w 1216819"/>
                  <a:gd name="connsiteY46" fmla="*/ 1278731 h 1466850"/>
                  <a:gd name="connsiteX47" fmla="*/ 290513 w 1216819"/>
                  <a:gd name="connsiteY47" fmla="*/ 1285875 h 1466850"/>
                  <a:gd name="connsiteX48" fmla="*/ 350044 w 1216819"/>
                  <a:gd name="connsiteY48" fmla="*/ 1309687 h 1466850"/>
                  <a:gd name="connsiteX49" fmla="*/ 428625 w 1216819"/>
                  <a:gd name="connsiteY49" fmla="*/ 1350168 h 1466850"/>
                  <a:gd name="connsiteX50" fmla="*/ 426244 w 1216819"/>
                  <a:gd name="connsiteY50" fmla="*/ 1383506 h 1466850"/>
                  <a:gd name="connsiteX51" fmla="*/ 438150 w 1216819"/>
                  <a:gd name="connsiteY51" fmla="*/ 1404937 h 1466850"/>
                  <a:gd name="connsiteX52" fmla="*/ 421481 w 1216819"/>
                  <a:gd name="connsiteY52" fmla="*/ 1450181 h 1466850"/>
                  <a:gd name="connsiteX53" fmla="*/ 459581 w 1216819"/>
                  <a:gd name="connsiteY53" fmla="*/ 1466850 h 1466850"/>
                  <a:gd name="connsiteX54" fmla="*/ 495300 w 1216819"/>
                  <a:gd name="connsiteY54" fmla="*/ 1409700 h 1466850"/>
                  <a:gd name="connsiteX55" fmla="*/ 554831 w 1216819"/>
                  <a:gd name="connsiteY55" fmla="*/ 1393031 h 1466850"/>
                  <a:gd name="connsiteX56" fmla="*/ 600075 w 1216819"/>
                  <a:gd name="connsiteY56" fmla="*/ 1357312 h 1466850"/>
                  <a:gd name="connsiteX57" fmla="*/ 654844 w 1216819"/>
                  <a:gd name="connsiteY57" fmla="*/ 1366837 h 1466850"/>
                  <a:gd name="connsiteX58" fmla="*/ 731044 w 1216819"/>
                  <a:gd name="connsiteY58" fmla="*/ 1331118 h 1466850"/>
                  <a:gd name="connsiteX59" fmla="*/ 771525 w 1216819"/>
                  <a:gd name="connsiteY59" fmla="*/ 1254918 h 1466850"/>
                  <a:gd name="connsiteX60" fmla="*/ 792956 w 1216819"/>
                  <a:gd name="connsiteY60" fmla="*/ 1238250 h 1466850"/>
                  <a:gd name="connsiteX61" fmla="*/ 802481 w 1216819"/>
                  <a:gd name="connsiteY61" fmla="*/ 1204912 h 1466850"/>
                  <a:gd name="connsiteX62" fmla="*/ 821531 w 1216819"/>
                  <a:gd name="connsiteY62" fmla="*/ 1200150 h 1466850"/>
                  <a:gd name="connsiteX63" fmla="*/ 969169 w 1216819"/>
                  <a:gd name="connsiteY63" fmla="*/ 1231106 h 1466850"/>
                  <a:gd name="connsiteX64" fmla="*/ 981075 w 1216819"/>
                  <a:gd name="connsiteY64" fmla="*/ 1297781 h 1466850"/>
                  <a:gd name="connsiteX65" fmla="*/ 1002506 w 1216819"/>
                  <a:gd name="connsiteY65" fmla="*/ 1331118 h 1466850"/>
                  <a:gd name="connsiteX66" fmla="*/ 1016794 w 1216819"/>
                  <a:gd name="connsiteY66" fmla="*/ 1371600 h 1466850"/>
                  <a:gd name="connsiteX67" fmla="*/ 1054894 w 1216819"/>
                  <a:gd name="connsiteY67" fmla="*/ 1381125 h 1466850"/>
                  <a:gd name="connsiteX68" fmla="*/ 1107281 w 1216819"/>
                  <a:gd name="connsiteY68" fmla="*/ 1366837 h 1466850"/>
                  <a:gd name="connsiteX69" fmla="*/ 1133475 w 1216819"/>
                  <a:gd name="connsiteY69" fmla="*/ 1362075 h 1466850"/>
                  <a:gd name="connsiteX70" fmla="*/ 1188244 w 1216819"/>
                  <a:gd name="connsiteY70" fmla="*/ 1288256 h 1466850"/>
                  <a:gd name="connsiteX71" fmla="*/ 1178719 w 1216819"/>
                  <a:gd name="connsiteY71" fmla="*/ 1233487 h 1466850"/>
                  <a:gd name="connsiteX72" fmla="*/ 1171575 w 1216819"/>
                  <a:gd name="connsiteY72" fmla="*/ 1183481 h 1466850"/>
                  <a:gd name="connsiteX73" fmla="*/ 1050131 w 1216819"/>
                  <a:gd name="connsiteY73" fmla="*/ 1054893 h 1466850"/>
                  <a:gd name="connsiteX74" fmla="*/ 1052513 w 1216819"/>
                  <a:gd name="connsiteY74" fmla="*/ 1002506 h 1466850"/>
                  <a:gd name="connsiteX75" fmla="*/ 1090613 w 1216819"/>
                  <a:gd name="connsiteY75" fmla="*/ 971550 h 1466850"/>
                  <a:gd name="connsiteX76" fmla="*/ 1119188 w 1216819"/>
                  <a:gd name="connsiteY76" fmla="*/ 919162 h 1466850"/>
                  <a:gd name="connsiteX77" fmla="*/ 1195388 w 1216819"/>
                  <a:gd name="connsiteY77" fmla="*/ 850106 h 1466850"/>
                  <a:gd name="connsiteX78" fmla="*/ 1216819 w 1216819"/>
                  <a:gd name="connsiteY78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107156 w 1216819"/>
                  <a:gd name="connsiteY31" fmla="*/ 540543 h 1466850"/>
                  <a:gd name="connsiteX32" fmla="*/ 92869 w 1216819"/>
                  <a:gd name="connsiteY32" fmla="*/ 573881 h 1466850"/>
                  <a:gd name="connsiteX33" fmla="*/ 61913 w 1216819"/>
                  <a:gd name="connsiteY33" fmla="*/ 566737 h 1466850"/>
                  <a:gd name="connsiteX34" fmla="*/ 90488 w 1216819"/>
                  <a:gd name="connsiteY34" fmla="*/ 600075 h 1466850"/>
                  <a:gd name="connsiteX35" fmla="*/ 128588 w 1216819"/>
                  <a:gd name="connsiteY35" fmla="*/ 657225 h 1466850"/>
                  <a:gd name="connsiteX36" fmla="*/ 133350 w 1216819"/>
                  <a:gd name="connsiteY36" fmla="*/ 685800 h 1466850"/>
                  <a:gd name="connsiteX37" fmla="*/ 145256 w 1216819"/>
                  <a:gd name="connsiteY37" fmla="*/ 795337 h 1466850"/>
                  <a:gd name="connsiteX38" fmla="*/ 140494 w 1216819"/>
                  <a:gd name="connsiteY38" fmla="*/ 833437 h 1466850"/>
                  <a:gd name="connsiteX39" fmla="*/ 121444 w 1216819"/>
                  <a:gd name="connsiteY39" fmla="*/ 928687 h 1466850"/>
                  <a:gd name="connsiteX40" fmla="*/ 142875 w 1216819"/>
                  <a:gd name="connsiteY40" fmla="*/ 995362 h 1466850"/>
                  <a:gd name="connsiteX41" fmla="*/ 102394 w 1216819"/>
                  <a:gd name="connsiteY41" fmla="*/ 1059656 h 1466850"/>
                  <a:gd name="connsiteX42" fmla="*/ 138113 w 1216819"/>
                  <a:gd name="connsiteY42" fmla="*/ 1090612 h 1466850"/>
                  <a:gd name="connsiteX43" fmla="*/ 138113 w 1216819"/>
                  <a:gd name="connsiteY43" fmla="*/ 1090612 h 1466850"/>
                  <a:gd name="connsiteX44" fmla="*/ 200025 w 1216819"/>
                  <a:gd name="connsiteY44" fmla="*/ 1183481 h 1466850"/>
                  <a:gd name="connsiteX45" fmla="*/ 180975 w 1216819"/>
                  <a:gd name="connsiteY45" fmla="*/ 1216818 h 1466850"/>
                  <a:gd name="connsiteX46" fmla="*/ 171450 w 1216819"/>
                  <a:gd name="connsiteY46" fmla="*/ 1243012 h 1466850"/>
                  <a:gd name="connsiteX47" fmla="*/ 214313 w 1216819"/>
                  <a:gd name="connsiteY47" fmla="*/ 1278731 h 1466850"/>
                  <a:gd name="connsiteX48" fmla="*/ 290513 w 1216819"/>
                  <a:gd name="connsiteY48" fmla="*/ 1285875 h 1466850"/>
                  <a:gd name="connsiteX49" fmla="*/ 350044 w 1216819"/>
                  <a:gd name="connsiteY49" fmla="*/ 1309687 h 1466850"/>
                  <a:gd name="connsiteX50" fmla="*/ 428625 w 1216819"/>
                  <a:gd name="connsiteY50" fmla="*/ 1350168 h 1466850"/>
                  <a:gd name="connsiteX51" fmla="*/ 426244 w 1216819"/>
                  <a:gd name="connsiteY51" fmla="*/ 1383506 h 1466850"/>
                  <a:gd name="connsiteX52" fmla="*/ 438150 w 1216819"/>
                  <a:gd name="connsiteY52" fmla="*/ 1404937 h 1466850"/>
                  <a:gd name="connsiteX53" fmla="*/ 421481 w 1216819"/>
                  <a:gd name="connsiteY53" fmla="*/ 1450181 h 1466850"/>
                  <a:gd name="connsiteX54" fmla="*/ 459581 w 1216819"/>
                  <a:gd name="connsiteY54" fmla="*/ 1466850 h 1466850"/>
                  <a:gd name="connsiteX55" fmla="*/ 495300 w 1216819"/>
                  <a:gd name="connsiteY55" fmla="*/ 1409700 h 1466850"/>
                  <a:gd name="connsiteX56" fmla="*/ 554831 w 1216819"/>
                  <a:gd name="connsiteY56" fmla="*/ 1393031 h 1466850"/>
                  <a:gd name="connsiteX57" fmla="*/ 600075 w 1216819"/>
                  <a:gd name="connsiteY57" fmla="*/ 1357312 h 1466850"/>
                  <a:gd name="connsiteX58" fmla="*/ 654844 w 1216819"/>
                  <a:gd name="connsiteY58" fmla="*/ 1366837 h 1466850"/>
                  <a:gd name="connsiteX59" fmla="*/ 731044 w 1216819"/>
                  <a:gd name="connsiteY59" fmla="*/ 1331118 h 1466850"/>
                  <a:gd name="connsiteX60" fmla="*/ 771525 w 1216819"/>
                  <a:gd name="connsiteY60" fmla="*/ 1254918 h 1466850"/>
                  <a:gd name="connsiteX61" fmla="*/ 792956 w 1216819"/>
                  <a:gd name="connsiteY61" fmla="*/ 1238250 h 1466850"/>
                  <a:gd name="connsiteX62" fmla="*/ 802481 w 1216819"/>
                  <a:gd name="connsiteY62" fmla="*/ 1204912 h 1466850"/>
                  <a:gd name="connsiteX63" fmla="*/ 821531 w 1216819"/>
                  <a:gd name="connsiteY63" fmla="*/ 1200150 h 1466850"/>
                  <a:gd name="connsiteX64" fmla="*/ 969169 w 1216819"/>
                  <a:gd name="connsiteY64" fmla="*/ 1231106 h 1466850"/>
                  <a:gd name="connsiteX65" fmla="*/ 981075 w 1216819"/>
                  <a:gd name="connsiteY65" fmla="*/ 1297781 h 1466850"/>
                  <a:gd name="connsiteX66" fmla="*/ 1002506 w 1216819"/>
                  <a:gd name="connsiteY66" fmla="*/ 1331118 h 1466850"/>
                  <a:gd name="connsiteX67" fmla="*/ 1016794 w 1216819"/>
                  <a:gd name="connsiteY67" fmla="*/ 1371600 h 1466850"/>
                  <a:gd name="connsiteX68" fmla="*/ 1054894 w 1216819"/>
                  <a:gd name="connsiteY68" fmla="*/ 1381125 h 1466850"/>
                  <a:gd name="connsiteX69" fmla="*/ 1107281 w 1216819"/>
                  <a:gd name="connsiteY69" fmla="*/ 1366837 h 1466850"/>
                  <a:gd name="connsiteX70" fmla="*/ 1133475 w 1216819"/>
                  <a:gd name="connsiteY70" fmla="*/ 1362075 h 1466850"/>
                  <a:gd name="connsiteX71" fmla="*/ 1188244 w 1216819"/>
                  <a:gd name="connsiteY71" fmla="*/ 1288256 h 1466850"/>
                  <a:gd name="connsiteX72" fmla="*/ 1178719 w 1216819"/>
                  <a:gd name="connsiteY72" fmla="*/ 1233487 h 1466850"/>
                  <a:gd name="connsiteX73" fmla="*/ 1171575 w 1216819"/>
                  <a:gd name="connsiteY73" fmla="*/ 1183481 h 1466850"/>
                  <a:gd name="connsiteX74" fmla="*/ 1050131 w 1216819"/>
                  <a:gd name="connsiteY74" fmla="*/ 1054893 h 1466850"/>
                  <a:gd name="connsiteX75" fmla="*/ 1052513 w 1216819"/>
                  <a:gd name="connsiteY75" fmla="*/ 1002506 h 1466850"/>
                  <a:gd name="connsiteX76" fmla="*/ 1090613 w 1216819"/>
                  <a:gd name="connsiteY76" fmla="*/ 971550 h 1466850"/>
                  <a:gd name="connsiteX77" fmla="*/ 1119188 w 1216819"/>
                  <a:gd name="connsiteY77" fmla="*/ 919162 h 1466850"/>
                  <a:gd name="connsiteX78" fmla="*/ 1195388 w 1216819"/>
                  <a:gd name="connsiteY78" fmla="*/ 850106 h 1466850"/>
                  <a:gd name="connsiteX79" fmla="*/ 1216819 w 1216819"/>
                  <a:gd name="connsiteY79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107156 w 1216819"/>
                  <a:gd name="connsiteY31" fmla="*/ 540543 h 1466850"/>
                  <a:gd name="connsiteX32" fmla="*/ 92869 w 1216819"/>
                  <a:gd name="connsiteY32" fmla="*/ 573881 h 1466850"/>
                  <a:gd name="connsiteX33" fmla="*/ 61913 w 1216819"/>
                  <a:gd name="connsiteY33" fmla="*/ 566737 h 1466850"/>
                  <a:gd name="connsiteX34" fmla="*/ 78581 w 1216819"/>
                  <a:gd name="connsiteY34" fmla="*/ 607218 h 1466850"/>
                  <a:gd name="connsiteX35" fmla="*/ 128588 w 1216819"/>
                  <a:gd name="connsiteY35" fmla="*/ 657225 h 1466850"/>
                  <a:gd name="connsiteX36" fmla="*/ 133350 w 1216819"/>
                  <a:gd name="connsiteY36" fmla="*/ 685800 h 1466850"/>
                  <a:gd name="connsiteX37" fmla="*/ 145256 w 1216819"/>
                  <a:gd name="connsiteY37" fmla="*/ 795337 h 1466850"/>
                  <a:gd name="connsiteX38" fmla="*/ 140494 w 1216819"/>
                  <a:gd name="connsiteY38" fmla="*/ 833437 h 1466850"/>
                  <a:gd name="connsiteX39" fmla="*/ 121444 w 1216819"/>
                  <a:gd name="connsiteY39" fmla="*/ 928687 h 1466850"/>
                  <a:gd name="connsiteX40" fmla="*/ 142875 w 1216819"/>
                  <a:gd name="connsiteY40" fmla="*/ 995362 h 1466850"/>
                  <a:gd name="connsiteX41" fmla="*/ 102394 w 1216819"/>
                  <a:gd name="connsiteY41" fmla="*/ 1059656 h 1466850"/>
                  <a:gd name="connsiteX42" fmla="*/ 138113 w 1216819"/>
                  <a:gd name="connsiteY42" fmla="*/ 1090612 h 1466850"/>
                  <a:gd name="connsiteX43" fmla="*/ 138113 w 1216819"/>
                  <a:gd name="connsiteY43" fmla="*/ 1090612 h 1466850"/>
                  <a:gd name="connsiteX44" fmla="*/ 200025 w 1216819"/>
                  <a:gd name="connsiteY44" fmla="*/ 1183481 h 1466850"/>
                  <a:gd name="connsiteX45" fmla="*/ 180975 w 1216819"/>
                  <a:gd name="connsiteY45" fmla="*/ 1216818 h 1466850"/>
                  <a:gd name="connsiteX46" fmla="*/ 171450 w 1216819"/>
                  <a:gd name="connsiteY46" fmla="*/ 1243012 h 1466850"/>
                  <a:gd name="connsiteX47" fmla="*/ 214313 w 1216819"/>
                  <a:gd name="connsiteY47" fmla="*/ 1278731 h 1466850"/>
                  <a:gd name="connsiteX48" fmla="*/ 290513 w 1216819"/>
                  <a:gd name="connsiteY48" fmla="*/ 1285875 h 1466850"/>
                  <a:gd name="connsiteX49" fmla="*/ 350044 w 1216819"/>
                  <a:gd name="connsiteY49" fmla="*/ 1309687 h 1466850"/>
                  <a:gd name="connsiteX50" fmla="*/ 428625 w 1216819"/>
                  <a:gd name="connsiteY50" fmla="*/ 1350168 h 1466850"/>
                  <a:gd name="connsiteX51" fmla="*/ 426244 w 1216819"/>
                  <a:gd name="connsiteY51" fmla="*/ 1383506 h 1466850"/>
                  <a:gd name="connsiteX52" fmla="*/ 438150 w 1216819"/>
                  <a:gd name="connsiteY52" fmla="*/ 1404937 h 1466850"/>
                  <a:gd name="connsiteX53" fmla="*/ 421481 w 1216819"/>
                  <a:gd name="connsiteY53" fmla="*/ 1450181 h 1466850"/>
                  <a:gd name="connsiteX54" fmla="*/ 459581 w 1216819"/>
                  <a:gd name="connsiteY54" fmla="*/ 1466850 h 1466850"/>
                  <a:gd name="connsiteX55" fmla="*/ 495300 w 1216819"/>
                  <a:gd name="connsiteY55" fmla="*/ 1409700 h 1466850"/>
                  <a:gd name="connsiteX56" fmla="*/ 554831 w 1216819"/>
                  <a:gd name="connsiteY56" fmla="*/ 1393031 h 1466850"/>
                  <a:gd name="connsiteX57" fmla="*/ 600075 w 1216819"/>
                  <a:gd name="connsiteY57" fmla="*/ 1357312 h 1466850"/>
                  <a:gd name="connsiteX58" fmla="*/ 654844 w 1216819"/>
                  <a:gd name="connsiteY58" fmla="*/ 1366837 h 1466850"/>
                  <a:gd name="connsiteX59" fmla="*/ 731044 w 1216819"/>
                  <a:gd name="connsiteY59" fmla="*/ 1331118 h 1466850"/>
                  <a:gd name="connsiteX60" fmla="*/ 771525 w 1216819"/>
                  <a:gd name="connsiteY60" fmla="*/ 1254918 h 1466850"/>
                  <a:gd name="connsiteX61" fmla="*/ 792956 w 1216819"/>
                  <a:gd name="connsiteY61" fmla="*/ 1238250 h 1466850"/>
                  <a:gd name="connsiteX62" fmla="*/ 802481 w 1216819"/>
                  <a:gd name="connsiteY62" fmla="*/ 1204912 h 1466850"/>
                  <a:gd name="connsiteX63" fmla="*/ 821531 w 1216819"/>
                  <a:gd name="connsiteY63" fmla="*/ 1200150 h 1466850"/>
                  <a:gd name="connsiteX64" fmla="*/ 969169 w 1216819"/>
                  <a:gd name="connsiteY64" fmla="*/ 1231106 h 1466850"/>
                  <a:gd name="connsiteX65" fmla="*/ 981075 w 1216819"/>
                  <a:gd name="connsiteY65" fmla="*/ 1297781 h 1466850"/>
                  <a:gd name="connsiteX66" fmla="*/ 1002506 w 1216819"/>
                  <a:gd name="connsiteY66" fmla="*/ 1331118 h 1466850"/>
                  <a:gd name="connsiteX67" fmla="*/ 1016794 w 1216819"/>
                  <a:gd name="connsiteY67" fmla="*/ 1371600 h 1466850"/>
                  <a:gd name="connsiteX68" fmla="*/ 1054894 w 1216819"/>
                  <a:gd name="connsiteY68" fmla="*/ 1381125 h 1466850"/>
                  <a:gd name="connsiteX69" fmla="*/ 1107281 w 1216819"/>
                  <a:gd name="connsiteY69" fmla="*/ 1366837 h 1466850"/>
                  <a:gd name="connsiteX70" fmla="*/ 1133475 w 1216819"/>
                  <a:gd name="connsiteY70" fmla="*/ 1362075 h 1466850"/>
                  <a:gd name="connsiteX71" fmla="*/ 1188244 w 1216819"/>
                  <a:gd name="connsiteY71" fmla="*/ 1288256 h 1466850"/>
                  <a:gd name="connsiteX72" fmla="*/ 1178719 w 1216819"/>
                  <a:gd name="connsiteY72" fmla="*/ 1233487 h 1466850"/>
                  <a:gd name="connsiteX73" fmla="*/ 1171575 w 1216819"/>
                  <a:gd name="connsiteY73" fmla="*/ 1183481 h 1466850"/>
                  <a:gd name="connsiteX74" fmla="*/ 1050131 w 1216819"/>
                  <a:gd name="connsiteY74" fmla="*/ 1054893 h 1466850"/>
                  <a:gd name="connsiteX75" fmla="*/ 1052513 w 1216819"/>
                  <a:gd name="connsiteY75" fmla="*/ 1002506 h 1466850"/>
                  <a:gd name="connsiteX76" fmla="*/ 1090613 w 1216819"/>
                  <a:gd name="connsiteY76" fmla="*/ 971550 h 1466850"/>
                  <a:gd name="connsiteX77" fmla="*/ 1119188 w 1216819"/>
                  <a:gd name="connsiteY77" fmla="*/ 919162 h 1466850"/>
                  <a:gd name="connsiteX78" fmla="*/ 1195388 w 1216819"/>
                  <a:gd name="connsiteY78" fmla="*/ 850106 h 1466850"/>
                  <a:gd name="connsiteX79" fmla="*/ 1216819 w 1216819"/>
                  <a:gd name="connsiteY79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100012 w 1216819"/>
                  <a:gd name="connsiteY31" fmla="*/ 542924 h 1466850"/>
                  <a:gd name="connsiteX32" fmla="*/ 92869 w 1216819"/>
                  <a:gd name="connsiteY32" fmla="*/ 573881 h 1466850"/>
                  <a:gd name="connsiteX33" fmla="*/ 61913 w 1216819"/>
                  <a:gd name="connsiteY33" fmla="*/ 566737 h 1466850"/>
                  <a:gd name="connsiteX34" fmla="*/ 78581 w 1216819"/>
                  <a:gd name="connsiteY34" fmla="*/ 607218 h 1466850"/>
                  <a:gd name="connsiteX35" fmla="*/ 128588 w 1216819"/>
                  <a:gd name="connsiteY35" fmla="*/ 657225 h 1466850"/>
                  <a:gd name="connsiteX36" fmla="*/ 133350 w 1216819"/>
                  <a:gd name="connsiteY36" fmla="*/ 685800 h 1466850"/>
                  <a:gd name="connsiteX37" fmla="*/ 145256 w 1216819"/>
                  <a:gd name="connsiteY37" fmla="*/ 795337 h 1466850"/>
                  <a:gd name="connsiteX38" fmla="*/ 140494 w 1216819"/>
                  <a:gd name="connsiteY38" fmla="*/ 833437 h 1466850"/>
                  <a:gd name="connsiteX39" fmla="*/ 121444 w 1216819"/>
                  <a:gd name="connsiteY39" fmla="*/ 928687 h 1466850"/>
                  <a:gd name="connsiteX40" fmla="*/ 142875 w 1216819"/>
                  <a:gd name="connsiteY40" fmla="*/ 995362 h 1466850"/>
                  <a:gd name="connsiteX41" fmla="*/ 102394 w 1216819"/>
                  <a:gd name="connsiteY41" fmla="*/ 1059656 h 1466850"/>
                  <a:gd name="connsiteX42" fmla="*/ 138113 w 1216819"/>
                  <a:gd name="connsiteY42" fmla="*/ 1090612 h 1466850"/>
                  <a:gd name="connsiteX43" fmla="*/ 138113 w 1216819"/>
                  <a:gd name="connsiteY43" fmla="*/ 1090612 h 1466850"/>
                  <a:gd name="connsiteX44" fmla="*/ 200025 w 1216819"/>
                  <a:gd name="connsiteY44" fmla="*/ 1183481 h 1466850"/>
                  <a:gd name="connsiteX45" fmla="*/ 180975 w 1216819"/>
                  <a:gd name="connsiteY45" fmla="*/ 1216818 h 1466850"/>
                  <a:gd name="connsiteX46" fmla="*/ 171450 w 1216819"/>
                  <a:gd name="connsiteY46" fmla="*/ 1243012 h 1466850"/>
                  <a:gd name="connsiteX47" fmla="*/ 214313 w 1216819"/>
                  <a:gd name="connsiteY47" fmla="*/ 1278731 h 1466850"/>
                  <a:gd name="connsiteX48" fmla="*/ 290513 w 1216819"/>
                  <a:gd name="connsiteY48" fmla="*/ 1285875 h 1466850"/>
                  <a:gd name="connsiteX49" fmla="*/ 350044 w 1216819"/>
                  <a:gd name="connsiteY49" fmla="*/ 1309687 h 1466850"/>
                  <a:gd name="connsiteX50" fmla="*/ 428625 w 1216819"/>
                  <a:gd name="connsiteY50" fmla="*/ 1350168 h 1466850"/>
                  <a:gd name="connsiteX51" fmla="*/ 426244 w 1216819"/>
                  <a:gd name="connsiteY51" fmla="*/ 1383506 h 1466850"/>
                  <a:gd name="connsiteX52" fmla="*/ 438150 w 1216819"/>
                  <a:gd name="connsiteY52" fmla="*/ 1404937 h 1466850"/>
                  <a:gd name="connsiteX53" fmla="*/ 421481 w 1216819"/>
                  <a:gd name="connsiteY53" fmla="*/ 1450181 h 1466850"/>
                  <a:gd name="connsiteX54" fmla="*/ 459581 w 1216819"/>
                  <a:gd name="connsiteY54" fmla="*/ 1466850 h 1466850"/>
                  <a:gd name="connsiteX55" fmla="*/ 495300 w 1216819"/>
                  <a:gd name="connsiteY55" fmla="*/ 1409700 h 1466850"/>
                  <a:gd name="connsiteX56" fmla="*/ 554831 w 1216819"/>
                  <a:gd name="connsiteY56" fmla="*/ 1393031 h 1466850"/>
                  <a:gd name="connsiteX57" fmla="*/ 600075 w 1216819"/>
                  <a:gd name="connsiteY57" fmla="*/ 1357312 h 1466850"/>
                  <a:gd name="connsiteX58" fmla="*/ 654844 w 1216819"/>
                  <a:gd name="connsiteY58" fmla="*/ 1366837 h 1466850"/>
                  <a:gd name="connsiteX59" fmla="*/ 731044 w 1216819"/>
                  <a:gd name="connsiteY59" fmla="*/ 1331118 h 1466850"/>
                  <a:gd name="connsiteX60" fmla="*/ 771525 w 1216819"/>
                  <a:gd name="connsiteY60" fmla="*/ 1254918 h 1466850"/>
                  <a:gd name="connsiteX61" fmla="*/ 792956 w 1216819"/>
                  <a:gd name="connsiteY61" fmla="*/ 1238250 h 1466850"/>
                  <a:gd name="connsiteX62" fmla="*/ 802481 w 1216819"/>
                  <a:gd name="connsiteY62" fmla="*/ 1204912 h 1466850"/>
                  <a:gd name="connsiteX63" fmla="*/ 821531 w 1216819"/>
                  <a:gd name="connsiteY63" fmla="*/ 1200150 h 1466850"/>
                  <a:gd name="connsiteX64" fmla="*/ 969169 w 1216819"/>
                  <a:gd name="connsiteY64" fmla="*/ 1231106 h 1466850"/>
                  <a:gd name="connsiteX65" fmla="*/ 981075 w 1216819"/>
                  <a:gd name="connsiteY65" fmla="*/ 1297781 h 1466850"/>
                  <a:gd name="connsiteX66" fmla="*/ 1002506 w 1216819"/>
                  <a:gd name="connsiteY66" fmla="*/ 1331118 h 1466850"/>
                  <a:gd name="connsiteX67" fmla="*/ 1016794 w 1216819"/>
                  <a:gd name="connsiteY67" fmla="*/ 1371600 h 1466850"/>
                  <a:gd name="connsiteX68" fmla="*/ 1054894 w 1216819"/>
                  <a:gd name="connsiteY68" fmla="*/ 1381125 h 1466850"/>
                  <a:gd name="connsiteX69" fmla="*/ 1107281 w 1216819"/>
                  <a:gd name="connsiteY69" fmla="*/ 1366837 h 1466850"/>
                  <a:gd name="connsiteX70" fmla="*/ 1133475 w 1216819"/>
                  <a:gd name="connsiteY70" fmla="*/ 1362075 h 1466850"/>
                  <a:gd name="connsiteX71" fmla="*/ 1188244 w 1216819"/>
                  <a:gd name="connsiteY71" fmla="*/ 1288256 h 1466850"/>
                  <a:gd name="connsiteX72" fmla="*/ 1178719 w 1216819"/>
                  <a:gd name="connsiteY72" fmla="*/ 1233487 h 1466850"/>
                  <a:gd name="connsiteX73" fmla="*/ 1171575 w 1216819"/>
                  <a:gd name="connsiteY73" fmla="*/ 1183481 h 1466850"/>
                  <a:gd name="connsiteX74" fmla="*/ 1050131 w 1216819"/>
                  <a:gd name="connsiteY74" fmla="*/ 1054893 h 1466850"/>
                  <a:gd name="connsiteX75" fmla="*/ 1052513 w 1216819"/>
                  <a:gd name="connsiteY75" fmla="*/ 1002506 h 1466850"/>
                  <a:gd name="connsiteX76" fmla="*/ 1090613 w 1216819"/>
                  <a:gd name="connsiteY76" fmla="*/ 971550 h 1466850"/>
                  <a:gd name="connsiteX77" fmla="*/ 1119188 w 1216819"/>
                  <a:gd name="connsiteY77" fmla="*/ 919162 h 1466850"/>
                  <a:gd name="connsiteX78" fmla="*/ 1195388 w 1216819"/>
                  <a:gd name="connsiteY78" fmla="*/ 850106 h 1466850"/>
                  <a:gd name="connsiteX79" fmla="*/ 1216819 w 1216819"/>
                  <a:gd name="connsiteY79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7625 w 1216819"/>
                  <a:gd name="connsiteY31" fmla="*/ 500062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38113 w 1216819"/>
                  <a:gd name="connsiteY44" fmla="*/ 1090612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57312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9169 w 1216819"/>
                  <a:gd name="connsiteY65" fmla="*/ 1231106 h 1466850"/>
                  <a:gd name="connsiteX66" fmla="*/ 981075 w 1216819"/>
                  <a:gd name="connsiteY66" fmla="*/ 1297781 h 1466850"/>
                  <a:gd name="connsiteX67" fmla="*/ 1002506 w 1216819"/>
                  <a:gd name="connsiteY67" fmla="*/ 1331118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38113 w 1216819"/>
                  <a:gd name="connsiteY44" fmla="*/ 1090612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57312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9169 w 1216819"/>
                  <a:gd name="connsiteY65" fmla="*/ 1231106 h 1466850"/>
                  <a:gd name="connsiteX66" fmla="*/ 981075 w 1216819"/>
                  <a:gd name="connsiteY66" fmla="*/ 1297781 h 1466850"/>
                  <a:gd name="connsiteX67" fmla="*/ 1002506 w 1216819"/>
                  <a:gd name="connsiteY67" fmla="*/ 1331118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40495 w 1216819"/>
                  <a:gd name="connsiteY44" fmla="*/ 1119187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57312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9169 w 1216819"/>
                  <a:gd name="connsiteY65" fmla="*/ 1231106 h 1466850"/>
                  <a:gd name="connsiteX66" fmla="*/ 981075 w 1216819"/>
                  <a:gd name="connsiteY66" fmla="*/ 1297781 h 1466850"/>
                  <a:gd name="connsiteX67" fmla="*/ 1002506 w 1216819"/>
                  <a:gd name="connsiteY67" fmla="*/ 1331118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40495 w 1216819"/>
                  <a:gd name="connsiteY44" fmla="*/ 1119187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66837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9169 w 1216819"/>
                  <a:gd name="connsiteY65" fmla="*/ 1231106 h 1466850"/>
                  <a:gd name="connsiteX66" fmla="*/ 981075 w 1216819"/>
                  <a:gd name="connsiteY66" fmla="*/ 1297781 h 1466850"/>
                  <a:gd name="connsiteX67" fmla="*/ 1002506 w 1216819"/>
                  <a:gd name="connsiteY67" fmla="*/ 1331118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40495 w 1216819"/>
                  <a:gd name="connsiteY44" fmla="*/ 1119187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66837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2025 w 1216819"/>
                  <a:gd name="connsiteY65" fmla="*/ 1240631 h 1466850"/>
                  <a:gd name="connsiteX66" fmla="*/ 981075 w 1216819"/>
                  <a:gd name="connsiteY66" fmla="*/ 1297781 h 1466850"/>
                  <a:gd name="connsiteX67" fmla="*/ 1002506 w 1216819"/>
                  <a:gd name="connsiteY67" fmla="*/ 1331118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40495 w 1216819"/>
                  <a:gd name="connsiteY44" fmla="*/ 1119187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66837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2025 w 1216819"/>
                  <a:gd name="connsiteY65" fmla="*/ 1240631 h 1466850"/>
                  <a:gd name="connsiteX66" fmla="*/ 971550 w 1216819"/>
                  <a:gd name="connsiteY66" fmla="*/ 1293018 h 1466850"/>
                  <a:gd name="connsiteX67" fmla="*/ 1002506 w 1216819"/>
                  <a:gd name="connsiteY67" fmla="*/ 1331118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40495 w 1216819"/>
                  <a:gd name="connsiteY44" fmla="*/ 1119187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66837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2025 w 1216819"/>
                  <a:gd name="connsiteY65" fmla="*/ 1240631 h 1466850"/>
                  <a:gd name="connsiteX66" fmla="*/ 971550 w 1216819"/>
                  <a:gd name="connsiteY66" fmla="*/ 1293018 h 1466850"/>
                  <a:gd name="connsiteX67" fmla="*/ 992981 w 1216819"/>
                  <a:gd name="connsiteY67" fmla="*/ 1333500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107281 w 1216819"/>
                  <a:gd name="connsiteY70" fmla="*/ 1366837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  <a:gd name="connsiteX0" fmla="*/ 1216819 w 1216819"/>
                  <a:gd name="connsiteY0" fmla="*/ 771525 h 1466850"/>
                  <a:gd name="connsiteX1" fmla="*/ 1021556 w 1216819"/>
                  <a:gd name="connsiteY1" fmla="*/ 523875 h 1466850"/>
                  <a:gd name="connsiteX2" fmla="*/ 871538 w 1216819"/>
                  <a:gd name="connsiteY2" fmla="*/ 345281 h 1466850"/>
                  <a:gd name="connsiteX3" fmla="*/ 759619 w 1216819"/>
                  <a:gd name="connsiteY3" fmla="*/ 245268 h 1466850"/>
                  <a:gd name="connsiteX4" fmla="*/ 633413 w 1216819"/>
                  <a:gd name="connsiteY4" fmla="*/ 190500 h 1466850"/>
                  <a:gd name="connsiteX5" fmla="*/ 614363 w 1216819"/>
                  <a:gd name="connsiteY5" fmla="*/ 178593 h 1466850"/>
                  <a:gd name="connsiteX6" fmla="*/ 581025 w 1216819"/>
                  <a:gd name="connsiteY6" fmla="*/ 138112 h 1466850"/>
                  <a:gd name="connsiteX7" fmla="*/ 564356 w 1216819"/>
                  <a:gd name="connsiteY7" fmla="*/ 102393 h 1466850"/>
                  <a:gd name="connsiteX8" fmla="*/ 602456 w 1216819"/>
                  <a:gd name="connsiteY8" fmla="*/ 100012 h 1466850"/>
                  <a:gd name="connsiteX9" fmla="*/ 628650 w 1216819"/>
                  <a:gd name="connsiteY9" fmla="*/ 104775 h 1466850"/>
                  <a:gd name="connsiteX10" fmla="*/ 661988 w 1216819"/>
                  <a:gd name="connsiteY10" fmla="*/ 42862 h 1466850"/>
                  <a:gd name="connsiteX11" fmla="*/ 652463 w 1216819"/>
                  <a:gd name="connsiteY11" fmla="*/ 0 h 1466850"/>
                  <a:gd name="connsiteX12" fmla="*/ 621506 w 1216819"/>
                  <a:gd name="connsiteY12" fmla="*/ 16668 h 1466850"/>
                  <a:gd name="connsiteX13" fmla="*/ 566738 w 1216819"/>
                  <a:gd name="connsiteY13" fmla="*/ 50006 h 1466850"/>
                  <a:gd name="connsiteX14" fmla="*/ 533400 w 1216819"/>
                  <a:gd name="connsiteY14" fmla="*/ 50006 h 1466850"/>
                  <a:gd name="connsiteX15" fmla="*/ 519113 w 1216819"/>
                  <a:gd name="connsiteY15" fmla="*/ 78581 h 1466850"/>
                  <a:gd name="connsiteX16" fmla="*/ 509588 w 1216819"/>
                  <a:gd name="connsiteY16" fmla="*/ 97631 h 1466850"/>
                  <a:gd name="connsiteX17" fmla="*/ 447675 w 1216819"/>
                  <a:gd name="connsiteY17" fmla="*/ 142875 h 1466850"/>
                  <a:gd name="connsiteX18" fmla="*/ 390525 w 1216819"/>
                  <a:gd name="connsiteY18" fmla="*/ 140493 h 1466850"/>
                  <a:gd name="connsiteX19" fmla="*/ 350044 w 1216819"/>
                  <a:gd name="connsiteY19" fmla="*/ 226218 h 1466850"/>
                  <a:gd name="connsiteX20" fmla="*/ 252413 w 1216819"/>
                  <a:gd name="connsiteY20" fmla="*/ 264318 h 1466850"/>
                  <a:gd name="connsiteX21" fmla="*/ 207169 w 1216819"/>
                  <a:gd name="connsiteY21" fmla="*/ 297656 h 1466850"/>
                  <a:gd name="connsiteX22" fmla="*/ 195263 w 1216819"/>
                  <a:gd name="connsiteY22" fmla="*/ 357187 h 1466850"/>
                  <a:gd name="connsiteX23" fmla="*/ 147638 w 1216819"/>
                  <a:gd name="connsiteY23" fmla="*/ 333375 h 1466850"/>
                  <a:gd name="connsiteX24" fmla="*/ 119063 w 1216819"/>
                  <a:gd name="connsiteY24" fmla="*/ 319087 h 1466850"/>
                  <a:gd name="connsiteX25" fmla="*/ 45244 w 1216819"/>
                  <a:gd name="connsiteY25" fmla="*/ 357187 h 1466850"/>
                  <a:gd name="connsiteX26" fmla="*/ 0 w 1216819"/>
                  <a:gd name="connsiteY26" fmla="*/ 388143 h 1466850"/>
                  <a:gd name="connsiteX27" fmla="*/ 9525 w 1216819"/>
                  <a:gd name="connsiteY27" fmla="*/ 445293 h 1466850"/>
                  <a:gd name="connsiteX28" fmla="*/ 61913 w 1216819"/>
                  <a:gd name="connsiteY28" fmla="*/ 423862 h 1466850"/>
                  <a:gd name="connsiteX29" fmla="*/ 52388 w 1216819"/>
                  <a:gd name="connsiteY29" fmla="*/ 464343 h 1466850"/>
                  <a:gd name="connsiteX30" fmla="*/ 23813 w 1216819"/>
                  <a:gd name="connsiteY30" fmla="*/ 483393 h 1466850"/>
                  <a:gd name="connsiteX31" fmla="*/ 40481 w 1216819"/>
                  <a:gd name="connsiteY31" fmla="*/ 507206 h 1466850"/>
                  <a:gd name="connsiteX32" fmla="*/ 100012 w 1216819"/>
                  <a:gd name="connsiteY32" fmla="*/ 542924 h 1466850"/>
                  <a:gd name="connsiteX33" fmla="*/ 92869 w 1216819"/>
                  <a:gd name="connsiteY33" fmla="*/ 573881 h 1466850"/>
                  <a:gd name="connsiteX34" fmla="*/ 61913 w 1216819"/>
                  <a:gd name="connsiteY34" fmla="*/ 566737 h 1466850"/>
                  <a:gd name="connsiteX35" fmla="*/ 78581 w 1216819"/>
                  <a:gd name="connsiteY35" fmla="*/ 607218 h 1466850"/>
                  <a:gd name="connsiteX36" fmla="*/ 128588 w 1216819"/>
                  <a:gd name="connsiteY36" fmla="*/ 657225 h 1466850"/>
                  <a:gd name="connsiteX37" fmla="*/ 133350 w 1216819"/>
                  <a:gd name="connsiteY37" fmla="*/ 685800 h 1466850"/>
                  <a:gd name="connsiteX38" fmla="*/ 145256 w 1216819"/>
                  <a:gd name="connsiteY38" fmla="*/ 795337 h 1466850"/>
                  <a:gd name="connsiteX39" fmla="*/ 140494 w 1216819"/>
                  <a:gd name="connsiteY39" fmla="*/ 833437 h 1466850"/>
                  <a:gd name="connsiteX40" fmla="*/ 121444 w 1216819"/>
                  <a:gd name="connsiteY40" fmla="*/ 928687 h 1466850"/>
                  <a:gd name="connsiteX41" fmla="*/ 142875 w 1216819"/>
                  <a:gd name="connsiteY41" fmla="*/ 995362 h 1466850"/>
                  <a:gd name="connsiteX42" fmla="*/ 102394 w 1216819"/>
                  <a:gd name="connsiteY42" fmla="*/ 1059656 h 1466850"/>
                  <a:gd name="connsiteX43" fmla="*/ 138113 w 1216819"/>
                  <a:gd name="connsiteY43" fmla="*/ 1090612 h 1466850"/>
                  <a:gd name="connsiteX44" fmla="*/ 140495 w 1216819"/>
                  <a:gd name="connsiteY44" fmla="*/ 1119187 h 1466850"/>
                  <a:gd name="connsiteX45" fmla="*/ 200025 w 1216819"/>
                  <a:gd name="connsiteY45" fmla="*/ 1183481 h 1466850"/>
                  <a:gd name="connsiteX46" fmla="*/ 180975 w 1216819"/>
                  <a:gd name="connsiteY46" fmla="*/ 1216818 h 1466850"/>
                  <a:gd name="connsiteX47" fmla="*/ 171450 w 1216819"/>
                  <a:gd name="connsiteY47" fmla="*/ 1243012 h 1466850"/>
                  <a:gd name="connsiteX48" fmla="*/ 214313 w 1216819"/>
                  <a:gd name="connsiteY48" fmla="*/ 1278731 h 1466850"/>
                  <a:gd name="connsiteX49" fmla="*/ 290513 w 1216819"/>
                  <a:gd name="connsiteY49" fmla="*/ 1285875 h 1466850"/>
                  <a:gd name="connsiteX50" fmla="*/ 350044 w 1216819"/>
                  <a:gd name="connsiteY50" fmla="*/ 1309687 h 1466850"/>
                  <a:gd name="connsiteX51" fmla="*/ 428625 w 1216819"/>
                  <a:gd name="connsiteY51" fmla="*/ 1350168 h 1466850"/>
                  <a:gd name="connsiteX52" fmla="*/ 426244 w 1216819"/>
                  <a:gd name="connsiteY52" fmla="*/ 1383506 h 1466850"/>
                  <a:gd name="connsiteX53" fmla="*/ 438150 w 1216819"/>
                  <a:gd name="connsiteY53" fmla="*/ 1404937 h 1466850"/>
                  <a:gd name="connsiteX54" fmla="*/ 421481 w 1216819"/>
                  <a:gd name="connsiteY54" fmla="*/ 1450181 h 1466850"/>
                  <a:gd name="connsiteX55" fmla="*/ 459581 w 1216819"/>
                  <a:gd name="connsiteY55" fmla="*/ 1466850 h 1466850"/>
                  <a:gd name="connsiteX56" fmla="*/ 495300 w 1216819"/>
                  <a:gd name="connsiteY56" fmla="*/ 1409700 h 1466850"/>
                  <a:gd name="connsiteX57" fmla="*/ 554831 w 1216819"/>
                  <a:gd name="connsiteY57" fmla="*/ 1393031 h 1466850"/>
                  <a:gd name="connsiteX58" fmla="*/ 600075 w 1216819"/>
                  <a:gd name="connsiteY58" fmla="*/ 1366837 h 1466850"/>
                  <a:gd name="connsiteX59" fmla="*/ 654844 w 1216819"/>
                  <a:gd name="connsiteY59" fmla="*/ 1366837 h 1466850"/>
                  <a:gd name="connsiteX60" fmla="*/ 731044 w 1216819"/>
                  <a:gd name="connsiteY60" fmla="*/ 1331118 h 1466850"/>
                  <a:gd name="connsiteX61" fmla="*/ 771525 w 1216819"/>
                  <a:gd name="connsiteY61" fmla="*/ 1254918 h 1466850"/>
                  <a:gd name="connsiteX62" fmla="*/ 792956 w 1216819"/>
                  <a:gd name="connsiteY62" fmla="*/ 1238250 h 1466850"/>
                  <a:gd name="connsiteX63" fmla="*/ 802481 w 1216819"/>
                  <a:gd name="connsiteY63" fmla="*/ 1204912 h 1466850"/>
                  <a:gd name="connsiteX64" fmla="*/ 821531 w 1216819"/>
                  <a:gd name="connsiteY64" fmla="*/ 1200150 h 1466850"/>
                  <a:gd name="connsiteX65" fmla="*/ 962025 w 1216819"/>
                  <a:gd name="connsiteY65" fmla="*/ 1240631 h 1466850"/>
                  <a:gd name="connsiteX66" fmla="*/ 971550 w 1216819"/>
                  <a:gd name="connsiteY66" fmla="*/ 1293018 h 1466850"/>
                  <a:gd name="connsiteX67" fmla="*/ 992981 w 1216819"/>
                  <a:gd name="connsiteY67" fmla="*/ 1333500 h 1466850"/>
                  <a:gd name="connsiteX68" fmla="*/ 1016794 w 1216819"/>
                  <a:gd name="connsiteY68" fmla="*/ 1371600 h 1466850"/>
                  <a:gd name="connsiteX69" fmla="*/ 1054894 w 1216819"/>
                  <a:gd name="connsiteY69" fmla="*/ 1381125 h 1466850"/>
                  <a:gd name="connsiteX70" fmla="*/ 1090612 w 1216819"/>
                  <a:gd name="connsiteY70" fmla="*/ 1376362 h 1466850"/>
                  <a:gd name="connsiteX71" fmla="*/ 1133475 w 1216819"/>
                  <a:gd name="connsiteY71" fmla="*/ 1362075 h 1466850"/>
                  <a:gd name="connsiteX72" fmla="*/ 1188244 w 1216819"/>
                  <a:gd name="connsiteY72" fmla="*/ 1288256 h 1466850"/>
                  <a:gd name="connsiteX73" fmla="*/ 1178719 w 1216819"/>
                  <a:gd name="connsiteY73" fmla="*/ 1233487 h 1466850"/>
                  <a:gd name="connsiteX74" fmla="*/ 1171575 w 1216819"/>
                  <a:gd name="connsiteY74" fmla="*/ 1183481 h 1466850"/>
                  <a:gd name="connsiteX75" fmla="*/ 1050131 w 1216819"/>
                  <a:gd name="connsiteY75" fmla="*/ 1054893 h 1466850"/>
                  <a:gd name="connsiteX76" fmla="*/ 1052513 w 1216819"/>
                  <a:gd name="connsiteY76" fmla="*/ 1002506 h 1466850"/>
                  <a:gd name="connsiteX77" fmla="*/ 1090613 w 1216819"/>
                  <a:gd name="connsiteY77" fmla="*/ 971550 h 1466850"/>
                  <a:gd name="connsiteX78" fmla="*/ 1119188 w 1216819"/>
                  <a:gd name="connsiteY78" fmla="*/ 919162 h 1466850"/>
                  <a:gd name="connsiteX79" fmla="*/ 1195388 w 1216819"/>
                  <a:gd name="connsiteY79" fmla="*/ 850106 h 1466850"/>
                  <a:gd name="connsiteX80" fmla="*/ 1216819 w 1216819"/>
                  <a:gd name="connsiteY80" fmla="*/ 771525 h 1466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216819" h="1466850">
                    <a:moveTo>
                      <a:pt x="1216819" y="771525"/>
                    </a:moveTo>
                    <a:lnTo>
                      <a:pt x="1021556" y="523875"/>
                    </a:lnTo>
                    <a:lnTo>
                      <a:pt x="871538" y="345281"/>
                    </a:lnTo>
                    <a:lnTo>
                      <a:pt x="759619" y="245268"/>
                    </a:lnTo>
                    <a:lnTo>
                      <a:pt x="633413" y="190500"/>
                    </a:lnTo>
                    <a:lnTo>
                      <a:pt x="614363" y="178593"/>
                    </a:lnTo>
                    <a:lnTo>
                      <a:pt x="581025" y="138112"/>
                    </a:lnTo>
                    <a:lnTo>
                      <a:pt x="564356" y="102393"/>
                    </a:lnTo>
                    <a:lnTo>
                      <a:pt x="602456" y="100012"/>
                    </a:lnTo>
                    <a:lnTo>
                      <a:pt x="628650" y="104775"/>
                    </a:lnTo>
                    <a:lnTo>
                      <a:pt x="661988" y="42862"/>
                    </a:lnTo>
                    <a:lnTo>
                      <a:pt x="652463" y="0"/>
                    </a:lnTo>
                    <a:lnTo>
                      <a:pt x="621506" y="16668"/>
                    </a:lnTo>
                    <a:lnTo>
                      <a:pt x="566738" y="50006"/>
                    </a:lnTo>
                    <a:lnTo>
                      <a:pt x="533400" y="50006"/>
                    </a:lnTo>
                    <a:lnTo>
                      <a:pt x="519113" y="78581"/>
                    </a:lnTo>
                    <a:lnTo>
                      <a:pt x="509588" y="97631"/>
                    </a:lnTo>
                    <a:lnTo>
                      <a:pt x="447675" y="142875"/>
                    </a:lnTo>
                    <a:lnTo>
                      <a:pt x="390525" y="140493"/>
                    </a:lnTo>
                    <a:lnTo>
                      <a:pt x="350044" y="226218"/>
                    </a:lnTo>
                    <a:lnTo>
                      <a:pt x="252413" y="264318"/>
                    </a:lnTo>
                    <a:lnTo>
                      <a:pt x="207169" y="297656"/>
                    </a:lnTo>
                    <a:lnTo>
                      <a:pt x="195263" y="357187"/>
                    </a:lnTo>
                    <a:lnTo>
                      <a:pt x="147638" y="333375"/>
                    </a:lnTo>
                    <a:lnTo>
                      <a:pt x="119063" y="319087"/>
                    </a:lnTo>
                    <a:lnTo>
                      <a:pt x="45244" y="357187"/>
                    </a:lnTo>
                    <a:lnTo>
                      <a:pt x="0" y="388143"/>
                    </a:lnTo>
                    <a:lnTo>
                      <a:pt x="9525" y="445293"/>
                    </a:lnTo>
                    <a:lnTo>
                      <a:pt x="61913" y="423862"/>
                    </a:lnTo>
                    <a:lnTo>
                      <a:pt x="52388" y="464343"/>
                    </a:lnTo>
                    <a:lnTo>
                      <a:pt x="23813" y="483393"/>
                    </a:lnTo>
                    <a:lnTo>
                      <a:pt x="40481" y="507206"/>
                    </a:lnTo>
                    <a:lnTo>
                      <a:pt x="100012" y="542924"/>
                    </a:lnTo>
                    <a:lnTo>
                      <a:pt x="92869" y="573881"/>
                    </a:lnTo>
                    <a:lnTo>
                      <a:pt x="61913" y="566737"/>
                    </a:lnTo>
                    <a:lnTo>
                      <a:pt x="78581" y="607218"/>
                    </a:lnTo>
                    <a:lnTo>
                      <a:pt x="128588" y="657225"/>
                    </a:lnTo>
                    <a:lnTo>
                      <a:pt x="133350" y="685800"/>
                    </a:lnTo>
                    <a:lnTo>
                      <a:pt x="145256" y="795337"/>
                    </a:lnTo>
                    <a:lnTo>
                      <a:pt x="140494" y="833437"/>
                    </a:lnTo>
                    <a:lnTo>
                      <a:pt x="121444" y="928687"/>
                    </a:lnTo>
                    <a:lnTo>
                      <a:pt x="142875" y="995362"/>
                    </a:lnTo>
                    <a:lnTo>
                      <a:pt x="102394" y="1059656"/>
                    </a:lnTo>
                    <a:cubicBezTo>
                      <a:pt x="114300" y="1069975"/>
                      <a:pt x="131763" y="1080690"/>
                      <a:pt x="138113" y="1090612"/>
                    </a:cubicBezTo>
                    <a:cubicBezTo>
                      <a:pt x="144463" y="1100534"/>
                      <a:pt x="139701" y="1109662"/>
                      <a:pt x="140495" y="1119187"/>
                    </a:cubicBezTo>
                    <a:lnTo>
                      <a:pt x="200025" y="1183481"/>
                    </a:lnTo>
                    <a:lnTo>
                      <a:pt x="180975" y="1216818"/>
                    </a:lnTo>
                    <a:lnTo>
                      <a:pt x="171450" y="1243012"/>
                    </a:lnTo>
                    <a:lnTo>
                      <a:pt x="214313" y="1278731"/>
                    </a:lnTo>
                    <a:lnTo>
                      <a:pt x="290513" y="1285875"/>
                    </a:lnTo>
                    <a:lnTo>
                      <a:pt x="350044" y="1309687"/>
                    </a:lnTo>
                    <a:lnTo>
                      <a:pt x="428625" y="1350168"/>
                    </a:lnTo>
                    <a:lnTo>
                      <a:pt x="426244" y="1383506"/>
                    </a:lnTo>
                    <a:lnTo>
                      <a:pt x="438150" y="1404937"/>
                    </a:lnTo>
                    <a:lnTo>
                      <a:pt x="421481" y="1450181"/>
                    </a:lnTo>
                    <a:lnTo>
                      <a:pt x="459581" y="1466850"/>
                    </a:lnTo>
                    <a:lnTo>
                      <a:pt x="495300" y="1409700"/>
                    </a:lnTo>
                    <a:lnTo>
                      <a:pt x="554831" y="1393031"/>
                    </a:lnTo>
                    <a:lnTo>
                      <a:pt x="600075" y="1366837"/>
                    </a:lnTo>
                    <a:lnTo>
                      <a:pt x="654844" y="1366837"/>
                    </a:lnTo>
                    <a:lnTo>
                      <a:pt x="731044" y="1331118"/>
                    </a:lnTo>
                    <a:lnTo>
                      <a:pt x="771525" y="1254918"/>
                    </a:lnTo>
                    <a:lnTo>
                      <a:pt x="792956" y="1238250"/>
                    </a:lnTo>
                    <a:lnTo>
                      <a:pt x="802481" y="1204912"/>
                    </a:lnTo>
                    <a:lnTo>
                      <a:pt x="821531" y="1200150"/>
                    </a:lnTo>
                    <a:lnTo>
                      <a:pt x="962025" y="1240631"/>
                    </a:lnTo>
                    <a:lnTo>
                      <a:pt x="971550" y="1293018"/>
                    </a:lnTo>
                    <a:lnTo>
                      <a:pt x="992981" y="1333500"/>
                    </a:lnTo>
                    <a:lnTo>
                      <a:pt x="1016794" y="1371600"/>
                    </a:lnTo>
                    <a:lnTo>
                      <a:pt x="1054894" y="1381125"/>
                    </a:lnTo>
                    <a:lnTo>
                      <a:pt x="1090612" y="1376362"/>
                    </a:lnTo>
                    <a:lnTo>
                      <a:pt x="1133475" y="1362075"/>
                    </a:lnTo>
                    <a:lnTo>
                      <a:pt x="1188244" y="1288256"/>
                    </a:lnTo>
                    <a:lnTo>
                      <a:pt x="1178719" y="1233487"/>
                    </a:lnTo>
                    <a:lnTo>
                      <a:pt x="1171575" y="1183481"/>
                    </a:lnTo>
                    <a:lnTo>
                      <a:pt x="1050131" y="1054893"/>
                    </a:lnTo>
                    <a:lnTo>
                      <a:pt x="1052513" y="1002506"/>
                    </a:lnTo>
                    <a:lnTo>
                      <a:pt x="1090613" y="971550"/>
                    </a:lnTo>
                    <a:lnTo>
                      <a:pt x="1119188" y="919162"/>
                    </a:lnTo>
                    <a:lnTo>
                      <a:pt x="1195388" y="850106"/>
                    </a:lnTo>
                    <a:lnTo>
                      <a:pt x="1216819" y="771525"/>
                    </a:lnTo>
                    <a:close/>
                  </a:path>
                </a:pathLst>
              </a:custGeom>
              <a:solidFill>
                <a:srgbClr val="FFFF00">
                  <a:alpha val="36000"/>
                </a:srgb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4" name="Freeform 7"/>
              <p:cNvSpPr/>
              <p:nvPr/>
            </p:nvSpPr>
            <p:spPr>
              <a:xfrm>
                <a:off x="1052945" y="1485993"/>
                <a:ext cx="1299306" cy="718865"/>
              </a:xfrm>
              <a:custGeom>
                <a:avLst/>
                <a:gdLst>
                  <a:gd name="connsiteX0" fmla="*/ 114300 w 1847850"/>
                  <a:gd name="connsiteY0" fmla="*/ 981075 h 1101725"/>
                  <a:gd name="connsiteX1" fmla="*/ 79375 w 1847850"/>
                  <a:gd name="connsiteY1" fmla="*/ 882650 h 1101725"/>
                  <a:gd name="connsiteX2" fmla="*/ 0 w 1847850"/>
                  <a:gd name="connsiteY2" fmla="*/ 825500 h 1101725"/>
                  <a:gd name="connsiteX3" fmla="*/ 114300 w 1847850"/>
                  <a:gd name="connsiteY3" fmla="*/ 688975 h 1101725"/>
                  <a:gd name="connsiteX4" fmla="*/ 146050 w 1847850"/>
                  <a:gd name="connsiteY4" fmla="*/ 688975 h 1101725"/>
                  <a:gd name="connsiteX5" fmla="*/ 174625 w 1847850"/>
                  <a:gd name="connsiteY5" fmla="*/ 666750 h 1101725"/>
                  <a:gd name="connsiteX6" fmla="*/ 196850 w 1847850"/>
                  <a:gd name="connsiteY6" fmla="*/ 619125 h 1101725"/>
                  <a:gd name="connsiteX7" fmla="*/ 149225 w 1847850"/>
                  <a:gd name="connsiteY7" fmla="*/ 561975 h 1101725"/>
                  <a:gd name="connsiteX8" fmla="*/ 209550 w 1847850"/>
                  <a:gd name="connsiteY8" fmla="*/ 406400 h 1101725"/>
                  <a:gd name="connsiteX9" fmla="*/ 279400 w 1847850"/>
                  <a:gd name="connsiteY9" fmla="*/ 406400 h 1101725"/>
                  <a:gd name="connsiteX10" fmla="*/ 317500 w 1847850"/>
                  <a:gd name="connsiteY10" fmla="*/ 368300 h 1101725"/>
                  <a:gd name="connsiteX11" fmla="*/ 323850 w 1847850"/>
                  <a:gd name="connsiteY11" fmla="*/ 307975 h 1101725"/>
                  <a:gd name="connsiteX12" fmla="*/ 381000 w 1847850"/>
                  <a:gd name="connsiteY12" fmla="*/ 257175 h 1101725"/>
                  <a:gd name="connsiteX13" fmla="*/ 438150 w 1847850"/>
                  <a:gd name="connsiteY13" fmla="*/ 301625 h 1101725"/>
                  <a:gd name="connsiteX14" fmla="*/ 466725 w 1847850"/>
                  <a:gd name="connsiteY14" fmla="*/ 400050 h 1101725"/>
                  <a:gd name="connsiteX15" fmla="*/ 488950 w 1847850"/>
                  <a:gd name="connsiteY15" fmla="*/ 447675 h 1101725"/>
                  <a:gd name="connsiteX16" fmla="*/ 498475 w 1847850"/>
                  <a:gd name="connsiteY16" fmla="*/ 482600 h 1101725"/>
                  <a:gd name="connsiteX17" fmla="*/ 533400 w 1847850"/>
                  <a:gd name="connsiteY17" fmla="*/ 498475 h 1101725"/>
                  <a:gd name="connsiteX18" fmla="*/ 565150 w 1847850"/>
                  <a:gd name="connsiteY18" fmla="*/ 498475 h 1101725"/>
                  <a:gd name="connsiteX19" fmla="*/ 619125 w 1847850"/>
                  <a:gd name="connsiteY19" fmla="*/ 479425 h 1101725"/>
                  <a:gd name="connsiteX20" fmla="*/ 654050 w 1847850"/>
                  <a:gd name="connsiteY20" fmla="*/ 473075 h 1101725"/>
                  <a:gd name="connsiteX21" fmla="*/ 657225 w 1847850"/>
                  <a:gd name="connsiteY21" fmla="*/ 444500 h 1101725"/>
                  <a:gd name="connsiteX22" fmla="*/ 660400 w 1847850"/>
                  <a:gd name="connsiteY22" fmla="*/ 434975 h 1101725"/>
                  <a:gd name="connsiteX23" fmla="*/ 619125 w 1847850"/>
                  <a:gd name="connsiteY23" fmla="*/ 396875 h 1101725"/>
                  <a:gd name="connsiteX24" fmla="*/ 615950 w 1847850"/>
                  <a:gd name="connsiteY24" fmla="*/ 317500 h 1101725"/>
                  <a:gd name="connsiteX25" fmla="*/ 615950 w 1847850"/>
                  <a:gd name="connsiteY25" fmla="*/ 247650 h 1101725"/>
                  <a:gd name="connsiteX26" fmla="*/ 688975 w 1847850"/>
                  <a:gd name="connsiteY26" fmla="*/ 257175 h 1101725"/>
                  <a:gd name="connsiteX27" fmla="*/ 768350 w 1847850"/>
                  <a:gd name="connsiteY27" fmla="*/ 228600 h 1101725"/>
                  <a:gd name="connsiteX28" fmla="*/ 806450 w 1847850"/>
                  <a:gd name="connsiteY28" fmla="*/ 215900 h 1101725"/>
                  <a:gd name="connsiteX29" fmla="*/ 806450 w 1847850"/>
                  <a:gd name="connsiteY29" fmla="*/ 139700 h 1101725"/>
                  <a:gd name="connsiteX30" fmla="*/ 898525 w 1847850"/>
                  <a:gd name="connsiteY30" fmla="*/ 168275 h 1101725"/>
                  <a:gd name="connsiteX31" fmla="*/ 974725 w 1847850"/>
                  <a:gd name="connsiteY31" fmla="*/ 120650 h 1101725"/>
                  <a:gd name="connsiteX32" fmla="*/ 1019175 w 1847850"/>
                  <a:gd name="connsiteY32" fmla="*/ 130175 h 1101725"/>
                  <a:gd name="connsiteX33" fmla="*/ 1136650 w 1847850"/>
                  <a:gd name="connsiteY33" fmla="*/ 0 h 1101725"/>
                  <a:gd name="connsiteX34" fmla="*/ 1190625 w 1847850"/>
                  <a:gd name="connsiteY34" fmla="*/ 19050 h 1101725"/>
                  <a:gd name="connsiteX35" fmla="*/ 1190625 w 1847850"/>
                  <a:gd name="connsiteY35" fmla="*/ 19050 h 1101725"/>
                  <a:gd name="connsiteX36" fmla="*/ 1225550 w 1847850"/>
                  <a:gd name="connsiteY36" fmla="*/ 66675 h 1101725"/>
                  <a:gd name="connsiteX37" fmla="*/ 1266825 w 1847850"/>
                  <a:gd name="connsiteY37" fmla="*/ 114300 h 1101725"/>
                  <a:gd name="connsiteX38" fmla="*/ 1317625 w 1847850"/>
                  <a:gd name="connsiteY38" fmla="*/ 114300 h 1101725"/>
                  <a:gd name="connsiteX39" fmla="*/ 1346200 w 1847850"/>
                  <a:gd name="connsiteY39" fmla="*/ 98425 h 1101725"/>
                  <a:gd name="connsiteX40" fmla="*/ 1387475 w 1847850"/>
                  <a:gd name="connsiteY40" fmla="*/ 60325 h 1101725"/>
                  <a:gd name="connsiteX41" fmla="*/ 1438275 w 1847850"/>
                  <a:gd name="connsiteY41" fmla="*/ 60325 h 1101725"/>
                  <a:gd name="connsiteX42" fmla="*/ 1460500 w 1847850"/>
                  <a:gd name="connsiteY42" fmla="*/ 88900 h 1101725"/>
                  <a:gd name="connsiteX43" fmla="*/ 1489075 w 1847850"/>
                  <a:gd name="connsiteY43" fmla="*/ 155575 h 1101725"/>
                  <a:gd name="connsiteX44" fmla="*/ 1603375 w 1847850"/>
                  <a:gd name="connsiteY44" fmla="*/ 177800 h 1101725"/>
                  <a:gd name="connsiteX45" fmla="*/ 1670050 w 1847850"/>
                  <a:gd name="connsiteY45" fmla="*/ 203200 h 1101725"/>
                  <a:gd name="connsiteX46" fmla="*/ 1698625 w 1847850"/>
                  <a:gd name="connsiteY46" fmla="*/ 266700 h 1101725"/>
                  <a:gd name="connsiteX47" fmla="*/ 1708150 w 1847850"/>
                  <a:gd name="connsiteY47" fmla="*/ 292100 h 1101725"/>
                  <a:gd name="connsiteX48" fmla="*/ 1749425 w 1847850"/>
                  <a:gd name="connsiteY48" fmla="*/ 320675 h 1101725"/>
                  <a:gd name="connsiteX49" fmla="*/ 1774825 w 1847850"/>
                  <a:gd name="connsiteY49" fmla="*/ 374650 h 1101725"/>
                  <a:gd name="connsiteX50" fmla="*/ 1790700 w 1847850"/>
                  <a:gd name="connsiteY50" fmla="*/ 415925 h 1101725"/>
                  <a:gd name="connsiteX51" fmla="*/ 1835150 w 1847850"/>
                  <a:gd name="connsiteY51" fmla="*/ 431800 h 1101725"/>
                  <a:gd name="connsiteX52" fmla="*/ 1797050 w 1847850"/>
                  <a:gd name="connsiteY52" fmla="*/ 463550 h 1101725"/>
                  <a:gd name="connsiteX53" fmla="*/ 1797050 w 1847850"/>
                  <a:gd name="connsiteY53" fmla="*/ 511175 h 1101725"/>
                  <a:gd name="connsiteX54" fmla="*/ 1825625 w 1847850"/>
                  <a:gd name="connsiteY54" fmla="*/ 539750 h 1101725"/>
                  <a:gd name="connsiteX55" fmla="*/ 1847850 w 1847850"/>
                  <a:gd name="connsiteY55" fmla="*/ 539750 h 1101725"/>
                  <a:gd name="connsiteX56" fmla="*/ 1831975 w 1847850"/>
                  <a:gd name="connsiteY56" fmla="*/ 561975 h 1101725"/>
                  <a:gd name="connsiteX57" fmla="*/ 1825625 w 1847850"/>
                  <a:gd name="connsiteY57" fmla="*/ 574675 h 1101725"/>
                  <a:gd name="connsiteX58" fmla="*/ 1838325 w 1847850"/>
                  <a:gd name="connsiteY58" fmla="*/ 628650 h 1101725"/>
                  <a:gd name="connsiteX59" fmla="*/ 1841500 w 1847850"/>
                  <a:gd name="connsiteY59" fmla="*/ 688975 h 1101725"/>
                  <a:gd name="connsiteX60" fmla="*/ 1838325 w 1847850"/>
                  <a:gd name="connsiteY60" fmla="*/ 717550 h 1101725"/>
                  <a:gd name="connsiteX61" fmla="*/ 1752600 w 1847850"/>
                  <a:gd name="connsiteY61" fmla="*/ 800100 h 1101725"/>
                  <a:gd name="connsiteX62" fmla="*/ 1689100 w 1847850"/>
                  <a:gd name="connsiteY62" fmla="*/ 806450 h 1101725"/>
                  <a:gd name="connsiteX63" fmla="*/ 1651000 w 1847850"/>
                  <a:gd name="connsiteY63" fmla="*/ 815975 h 1101725"/>
                  <a:gd name="connsiteX64" fmla="*/ 1622425 w 1847850"/>
                  <a:gd name="connsiteY64" fmla="*/ 828675 h 1101725"/>
                  <a:gd name="connsiteX65" fmla="*/ 1593850 w 1847850"/>
                  <a:gd name="connsiteY65" fmla="*/ 876300 h 1101725"/>
                  <a:gd name="connsiteX66" fmla="*/ 1571625 w 1847850"/>
                  <a:gd name="connsiteY66" fmla="*/ 908050 h 1101725"/>
                  <a:gd name="connsiteX67" fmla="*/ 1552575 w 1847850"/>
                  <a:gd name="connsiteY67" fmla="*/ 930275 h 1101725"/>
                  <a:gd name="connsiteX68" fmla="*/ 1511300 w 1847850"/>
                  <a:gd name="connsiteY68" fmla="*/ 933450 h 1101725"/>
                  <a:gd name="connsiteX69" fmla="*/ 1466850 w 1847850"/>
                  <a:gd name="connsiteY69" fmla="*/ 946150 h 1101725"/>
                  <a:gd name="connsiteX70" fmla="*/ 1428750 w 1847850"/>
                  <a:gd name="connsiteY70" fmla="*/ 908050 h 1101725"/>
                  <a:gd name="connsiteX71" fmla="*/ 1365250 w 1847850"/>
                  <a:gd name="connsiteY71" fmla="*/ 1016000 h 1101725"/>
                  <a:gd name="connsiteX72" fmla="*/ 1289050 w 1847850"/>
                  <a:gd name="connsiteY72" fmla="*/ 1101725 h 1101725"/>
                  <a:gd name="connsiteX73" fmla="*/ 1190625 w 1847850"/>
                  <a:gd name="connsiteY73" fmla="*/ 1012825 h 1101725"/>
                  <a:gd name="connsiteX74" fmla="*/ 1139825 w 1847850"/>
                  <a:gd name="connsiteY74" fmla="*/ 946150 h 1101725"/>
                  <a:gd name="connsiteX75" fmla="*/ 1114425 w 1847850"/>
                  <a:gd name="connsiteY75" fmla="*/ 968375 h 1101725"/>
                  <a:gd name="connsiteX76" fmla="*/ 1038225 w 1847850"/>
                  <a:gd name="connsiteY76" fmla="*/ 936625 h 1101725"/>
                  <a:gd name="connsiteX77" fmla="*/ 952500 w 1847850"/>
                  <a:gd name="connsiteY77" fmla="*/ 1016000 h 1101725"/>
                  <a:gd name="connsiteX78" fmla="*/ 822325 w 1847850"/>
                  <a:gd name="connsiteY78" fmla="*/ 1012825 h 1101725"/>
                  <a:gd name="connsiteX79" fmla="*/ 704850 w 1847850"/>
                  <a:gd name="connsiteY79" fmla="*/ 1085850 h 1101725"/>
                  <a:gd name="connsiteX80" fmla="*/ 650875 w 1847850"/>
                  <a:gd name="connsiteY80" fmla="*/ 1079500 h 1101725"/>
                  <a:gd name="connsiteX81" fmla="*/ 606425 w 1847850"/>
                  <a:gd name="connsiteY81" fmla="*/ 1098550 h 1101725"/>
                  <a:gd name="connsiteX82" fmla="*/ 488950 w 1847850"/>
                  <a:gd name="connsiteY82" fmla="*/ 1038225 h 1101725"/>
                  <a:gd name="connsiteX83" fmla="*/ 390525 w 1847850"/>
                  <a:gd name="connsiteY83" fmla="*/ 977900 h 1101725"/>
                  <a:gd name="connsiteX84" fmla="*/ 114300 w 1847850"/>
                  <a:gd name="connsiteY84" fmla="*/ 981075 h 1101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847850" h="1101725">
                    <a:moveTo>
                      <a:pt x="114300" y="981075"/>
                    </a:moveTo>
                    <a:lnTo>
                      <a:pt x="79375" y="882650"/>
                    </a:lnTo>
                    <a:lnTo>
                      <a:pt x="0" y="825500"/>
                    </a:lnTo>
                    <a:lnTo>
                      <a:pt x="114300" y="688975"/>
                    </a:lnTo>
                    <a:lnTo>
                      <a:pt x="146050" y="688975"/>
                    </a:lnTo>
                    <a:lnTo>
                      <a:pt x="174625" y="666750"/>
                    </a:lnTo>
                    <a:lnTo>
                      <a:pt x="196850" y="619125"/>
                    </a:lnTo>
                    <a:lnTo>
                      <a:pt x="149225" y="561975"/>
                    </a:lnTo>
                    <a:lnTo>
                      <a:pt x="209550" y="406400"/>
                    </a:lnTo>
                    <a:lnTo>
                      <a:pt x="279400" y="406400"/>
                    </a:lnTo>
                    <a:lnTo>
                      <a:pt x="317500" y="368300"/>
                    </a:lnTo>
                    <a:lnTo>
                      <a:pt x="323850" y="307975"/>
                    </a:lnTo>
                    <a:lnTo>
                      <a:pt x="381000" y="257175"/>
                    </a:lnTo>
                    <a:lnTo>
                      <a:pt x="438150" y="301625"/>
                    </a:lnTo>
                    <a:lnTo>
                      <a:pt x="466725" y="400050"/>
                    </a:lnTo>
                    <a:lnTo>
                      <a:pt x="488950" y="447675"/>
                    </a:lnTo>
                    <a:lnTo>
                      <a:pt x="498475" y="482600"/>
                    </a:lnTo>
                    <a:lnTo>
                      <a:pt x="533400" y="498475"/>
                    </a:lnTo>
                    <a:lnTo>
                      <a:pt x="565150" y="498475"/>
                    </a:lnTo>
                    <a:lnTo>
                      <a:pt x="619125" y="479425"/>
                    </a:lnTo>
                    <a:lnTo>
                      <a:pt x="654050" y="473075"/>
                    </a:lnTo>
                    <a:cubicBezTo>
                      <a:pt x="655108" y="463550"/>
                      <a:pt x="655649" y="453953"/>
                      <a:pt x="657225" y="444500"/>
                    </a:cubicBezTo>
                    <a:cubicBezTo>
                      <a:pt x="657775" y="441199"/>
                      <a:pt x="660400" y="434975"/>
                      <a:pt x="660400" y="434975"/>
                    </a:cubicBezTo>
                    <a:lnTo>
                      <a:pt x="619125" y="396875"/>
                    </a:lnTo>
                    <a:lnTo>
                      <a:pt x="615950" y="317500"/>
                    </a:lnTo>
                    <a:lnTo>
                      <a:pt x="615950" y="247650"/>
                    </a:lnTo>
                    <a:lnTo>
                      <a:pt x="688975" y="257175"/>
                    </a:lnTo>
                    <a:lnTo>
                      <a:pt x="768350" y="228600"/>
                    </a:lnTo>
                    <a:lnTo>
                      <a:pt x="806450" y="215900"/>
                    </a:lnTo>
                    <a:lnTo>
                      <a:pt x="806450" y="139700"/>
                    </a:lnTo>
                    <a:lnTo>
                      <a:pt x="898525" y="168275"/>
                    </a:lnTo>
                    <a:lnTo>
                      <a:pt x="974725" y="120650"/>
                    </a:lnTo>
                    <a:lnTo>
                      <a:pt x="1019175" y="130175"/>
                    </a:lnTo>
                    <a:lnTo>
                      <a:pt x="1136650" y="0"/>
                    </a:lnTo>
                    <a:lnTo>
                      <a:pt x="1190625" y="19050"/>
                    </a:lnTo>
                    <a:lnTo>
                      <a:pt x="1190625" y="19050"/>
                    </a:lnTo>
                    <a:lnTo>
                      <a:pt x="1225550" y="66675"/>
                    </a:lnTo>
                    <a:lnTo>
                      <a:pt x="1266825" y="114300"/>
                    </a:lnTo>
                    <a:lnTo>
                      <a:pt x="1317625" y="114300"/>
                    </a:lnTo>
                    <a:cubicBezTo>
                      <a:pt x="1345241" y="103944"/>
                      <a:pt x="1338981" y="112863"/>
                      <a:pt x="1346200" y="98425"/>
                    </a:cubicBezTo>
                    <a:lnTo>
                      <a:pt x="1387475" y="60325"/>
                    </a:lnTo>
                    <a:lnTo>
                      <a:pt x="1438275" y="60325"/>
                    </a:lnTo>
                    <a:lnTo>
                      <a:pt x="1460500" y="88900"/>
                    </a:lnTo>
                    <a:lnTo>
                      <a:pt x="1489075" y="155575"/>
                    </a:lnTo>
                    <a:lnTo>
                      <a:pt x="1603375" y="177800"/>
                    </a:lnTo>
                    <a:lnTo>
                      <a:pt x="1670050" y="203200"/>
                    </a:lnTo>
                    <a:lnTo>
                      <a:pt x="1698625" y="266700"/>
                    </a:lnTo>
                    <a:lnTo>
                      <a:pt x="1708150" y="292100"/>
                    </a:lnTo>
                    <a:lnTo>
                      <a:pt x="1749425" y="320675"/>
                    </a:lnTo>
                    <a:lnTo>
                      <a:pt x="1774825" y="374650"/>
                    </a:lnTo>
                    <a:lnTo>
                      <a:pt x="1790700" y="415925"/>
                    </a:lnTo>
                    <a:lnTo>
                      <a:pt x="1835150" y="431800"/>
                    </a:lnTo>
                    <a:lnTo>
                      <a:pt x="1797050" y="463550"/>
                    </a:lnTo>
                    <a:lnTo>
                      <a:pt x="1797050" y="511175"/>
                    </a:lnTo>
                    <a:lnTo>
                      <a:pt x="1825625" y="539750"/>
                    </a:lnTo>
                    <a:lnTo>
                      <a:pt x="1847850" y="539750"/>
                    </a:lnTo>
                    <a:lnTo>
                      <a:pt x="1831975" y="561975"/>
                    </a:lnTo>
                    <a:lnTo>
                      <a:pt x="1825625" y="574675"/>
                    </a:lnTo>
                    <a:lnTo>
                      <a:pt x="1838325" y="628650"/>
                    </a:lnTo>
                    <a:lnTo>
                      <a:pt x="1841500" y="688975"/>
                    </a:lnTo>
                    <a:lnTo>
                      <a:pt x="1838325" y="717550"/>
                    </a:lnTo>
                    <a:lnTo>
                      <a:pt x="1752600" y="800100"/>
                    </a:lnTo>
                    <a:lnTo>
                      <a:pt x="1689100" y="806450"/>
                    </a:lnTo>
                    <a:lnTo>
                      <a:pt x="1651000" y="815975"/>
                    </a:lnTo>
                    <a:lnTo>
                      <a:pt x="1622425" y="828675"/>
                    </a:lnTo>
                    <a:lnTo>
                      <a:pt x="1593850" y="876300"/>
                    </a:lnTo>
                    <a:lnTo>
                      <a:pt x="1571625" y="908050"/>
                    </a:lnTo>
                    <a:lnTo>
                      <a:pt x="1552575" y="930275"/>
                    </a:lnTo>
                    <a:lnTo>
                      <a:pt x="1511300" y="933450"/>
                    </a:lnTo>
                    <a:lnTo>
                      <a:pt x="1466850" y="946150"/>
                    </a:lnTo>
                    <a:lnTo>
                      <a:pt x="1428750" y="908050"/>
                    </a:lnTo>
                    <a:lnTo>
                      <a:pt x="1365250" y="1016000"/>
                    </a:lnTo>
                    <a:lnTo>
                      <a:pt x="1289050" y="1101725"/>
                    </a:lnTo>
                    <a:lnTo>
                      <a:pt x="1190625" y="1012825"/>
                    </a:lnTo>
                    <a:lnTo>
                      <a:pt x="1139825" y="946150"/>
                    </a:lnTo>
                    <a:lnTo>
                      <a:pt x="1114425" y="968375"/>
                    </a:lnTo>
                    <a:lnTo>
                      <a:pt x="1038225" y="936625"/>
                    </a:lnTo>
                    <a:lnTo>
                      <a:pt x="952500" y="1016000"/>
                    </a:lnTo>
                    <a:lnTo>
                      <a:pt x="822325" y="1012825"/>
                    </a:lnTo>
                    <a:lnTo>
                      <a:pt x="704850" y="1085850"/>
                    </a:lnTo>
                    <a:lnTo>
                      <a:pt x="650875" y="1079500"/>
                    </a:lnTo>
                    <a:lnTo>
                      <a:pt x="606425" y="1098550"/>
                    </a:lnTo>
                    <a:lnTo>
                      <a:pt x="488950" y="1038225"/>
                    </a:lnTo>
                    <a:lnTo>
                      <a:pt x="390525" y="977900"/>
                    </a:lnTo>
                    <a:lnTo>
                      <a:pt x="114300" y="981075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5" name="Freeform 8"/>
              <p:cNvSpPr/>
              <p:nvPr/>
            </p:nvSpPr>
            <p:spPr>
              <a:xfrm>
                <a:off x="1110612" y="2063111"/>
                <a:ext cx="1355171" cy="755990"/>
              </a:xfrm>
              <a:custGeom>
                <a:avLst/>
                <a:gdLst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34925 w 1927225"/>
                  <a:gd name="connsiteY54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13694 w 1927225"/>
                  <a:gd name="connsiteY54" fmla="*/ 616744 h 1073150"/>
                  <a:gd name="connsiteX55" fmla="*/ 34925 w 1927225"/>
                  <a:gd name="connsiteY55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34925 w 1927225"/>
                  <a:gd name="connsiteY55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20838 w 1927225"/>
                  <a:gd name="connsiteY55" fmla="*/ 588169 h 1073150"/>
                  <a:gd name="connsiteX56" fmla="*/ 34925 w 1927225"/>
                  <a:gd name="connsiteY56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34925 w 1927225"/>
                  <a:gd name="connsiteY56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632744 w 1927225"/>
                  <a:gd name="connsiteY56" fmla="*/ 540544 h 1073150"/>
                  <a:gd name="connsiteX57" fmla="*/ 34925 w 1927225"/>
                  <a:gd name="connsiteY57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34925 w 1927225"/>
                  <a:gd name="connsiteY57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589881 w 1927225"/>
                  <a:gd name="connsiteY57" fmla="*/ 450056 h 1073150"/>
                  <a:gd name="connsiteX58" fmla="*/ 34925 w 1927225"/>
                  <a:gd name="connsiteY58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34925 w 1927225"/>
                  <a:gd name="connsiteY58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666081 w 1927225"/>
                  <a:gd name="connsiteY58" fmla="*/ 419100 h 1073150"/>
                  <a:gd name="connsiteX59" fmla="*/ 34925 w 1927225"/>
                  <a:gd name="connsiteY59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34925 w 1927225"/>
                  <a:gd name="connsiteY59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597025 w 1927225"/>
                  <a:gd name="connsiteY59" fmla="*/ 361950 h 1073150"/>
                  <a:gd name="connsiteX60" fmla="*/ 34925 w 1927225"/>
                  <a:gd name="connsiteY60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34925 w 1927225"/>
                  <a:gd name="connsiteY60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661319 w 1927225"/>
                  <a:gd name="connsiteY60" fmla="*/ 328613 h 1073150"/>
                  <a:gd name="connsiteX61" fmla="*/ 34925 w 1927225"/>
                  <a:gd name="connsiteY61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34925 w 1927225"/>
                  <a:gd name="connsiteY61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673225 w 1927225"/>
                  <a:gd name="connsiteY61" fmla="*/ 257175 h 1073150"/>
                  <a:gd name="connsiteX62" fmla="*/ 34925 w 1927225"/>
                  <a:gd name="connsiteY62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34925 w 1927225"/>
                  <a:gd name="connsiteY62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639888 w 1927225"/>
                  <a:gd name="connsiteY62" fmla="*/ 209550 h 1073150"/>
                  <a:gd name="connsiteX63" fmla="*/ 34925 w 1927225"/>
                  <a:gd name="connsiteY63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34925 w 1927225"/>
                  <a:gd name="connsiteY63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92275 w 1927225"/>
                  <a:gd name="connsiteY63" fmla="*/ 169069 h 1073150"/>
                  <a:gd name="connsiteX64" fmla="*/ 34925 w 1927225"/>
                  <a:gd name="connsiteY64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34925 w 1927225"/>
                  <a:gd name="connsiteY64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04169 w 1927225"/>
                  <a:gd name="connsiteY64" fmla="*/ 123825 h 1073150"/>
                  <a:gd name="connsiteX65" fmla="*/ 34925 w 1927225"/>
                  <a:gd name="connsiteY65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34925 w 1927225"/>
                  <a:gd name="connsiteY65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82738 w 1927225"/>
                  <a:gd name="connsiteY65" fmla="*/ 142875 h 1073150"/>
                  <a:gd name="connsiteX66" fmla="*/ 34925 w 1927225"/>
                  <a:gd name="connsiteY66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58925 w 1927225"/>
                  <a:gd name="connsiteY65" fmla="*/ 107156 h 1073150"/>
                  <a:gd name="connsiteX66" fmla="*/ 34925 w 1927225"/>
                  <a:gd name="connsiteY66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58925 w 1927225"/>
                  <a:gd name="connsiteY65" fmla="*/ 107156 h 1073150"/>
                  <a:gd name="connsiteX66" fmla="*/ 1527969 w 1927225"/>
                  <a:gd name="connsiteY66" fmla="*/ 102394 h 1073150"/>
                  <a:gd name="connsiteX67" fmla="*/ 34925 w 1927225"/>
                  <a:gd name="connsiteY67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58925 w 1927225"/>
                  <a:gd name="connsiteY65" fmla="*/ 107156 h 1073150"/>
                  <a:gd name="connsiteX66" fmla="*/ 1556544 w 1927225"/>
                  <a:gd name="connsiteY66" fmla="*/ 57150 h 1073150"/>
                  <a:gd name="connsiteX67" fmla="*/ 34925 w 1927225"/>
                  <a:gd name="connsiteY67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58925 w 1927225"/>
                  <a:gd name="connsiteY65" fmla="*/ 107156 h 1073150"/>
                  <a:gd name="connsiteX66" fmla="*/ 1556544 w 1927225"/>
                  <a:gd name="connsiteY66" fmla="*/ 57150 h 1073150"/>
                  <a:gd name="connsiteX67" fmla="*/ 1473200 w 1927225"/>
                  <a:gd name="connsiteY67" fmla="*/ 47625 h 1073150"/>
                  <a:gd name="connsiteX68" fmla="*/ 34925 w 1927225"/>
                  <a:gd name="connsiteY68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58925 w 1927225"/>
                  <a:gd name="connsiteY65" fmla="*/ 107156 h 1073150"/>
                  <a:gd name="connsiteX66" fmla="*/ 1556544 w 1927225"/>
                  <a:gd name="connsiteY66" fmla="*/ 57150 h 1073150"/>
                  <a:gd name="connsiteX67" fmla="*/ 1563688 w 1927225"/>
                  <a:gd name="connsiteY67" fmla="*/ 7144 h 1073150"/>
                  <a:gd name="connsiteX68" fmla="*/ 34925 w 1927225"/>
                  <a:gd name="connsiteY68" fmla="*/ 0 h 1073150"/>
                  <a:gd name="connsiteX0" fmla="*/ 34925 w 1927225"/>
                  <a:gd name="connsiteY0" fmla="*/ 0 h 1073150"/>
                  <a:gd name="connsiteX1" fmla="*/ 15875 w 1927225"/>
                  <a:gd name="connsiteY1" fmla="*/ 15875 h 1073150"/>
                  <a:gd name="connsiteX2" fmla="*/ 3175 w 1927225"/>
                  <a:gd name="connsiteY2" fmla="*/ 47625 h 1073150"/>
                  <a:gd name="connsiteX3" fmla="*/ 0 w 1927225"/>
                  <a:gd name="connsiteY3" fmla="*/ 79375 h 1073150"/>
                  <a:gd name="connsiteX4" fmla="*/ 3175 w 1927225"/>
                  <a:gd name="connsiteY4" fmla="*/ 111125 h 1073150"/>
                  <a:gd name="connsiteX5" fmla="*/ 38100 w 1927225"/>
                  <a:gd name="connsiteY5" fmla="*/ 146050 h 1073150"/>
                  <a:gd name="connsiteX6" fmla="*/ 82550 w 1927225"/>
                  <a:gd name="connsiteY6" fmla="*/ 101600 h 1073150"/>
                  <a:gd name="connsiteX7" fmla="*/ 120650 w 1927225"/>
                  <a:gd name="connsiteY7" fmla="*/ 146050 h 1073150"/>
                  <a:gd name="connsiteX8" fmla="*/ 177800 w 1927225"/>
                  <a:gd name="connsiteY8" fmla="*/ 149225 h 1073150"/>
                  <a:gd name="connsiteX9" fmla="*/ 222250 w 1927225"/>
                  <a:gd name="connsiteY9" fmla="*/ 174625 h 1073150"/>
                  <a:gd name="connsiteX10" fmla="*/ 228600 w 1927225"/>
                  <a:gd name="connsiteY10" fmla="*/ 203200 h 1073150"/>
                  <a:gd name="connsiteX11" fmla="*/ 231775 w 1927225"/>
                  <a:gd name="connsiteY11" fmla="*/ 222250 h 1073150"/>
                  <a:gd name="connsiteX12" fmla="*/ 228600 w 1927225"/>
                  <a:gd name="connsiteY12" fmla="*/ 254000 h 1073150"/>
                  <a:gd name="connsiteX13" fmla="*/ 257175 w 1927225"/>
                  <a:gd name="connsiteY13" fmla="*/ 282575 h 1073150"/>
                  <a:gd name="connsiteX14" fmla="*/ 279400 w 1927225"/>
                  <a:gd name="connsiteY14" fmla="*/ 330200 h 1073150"/>
                  <a:gd name="connsiteX15" fmla="*/ 279400 w 1927225"/>
                  <a:gd name="connsiteY15" fmla="*/ 371475 h 1073150"/>
                  <a:gd name="connsiteX16" fmla="*/ 279400 w 1927225"/>
                  <a:gd name="connsiteY16" fmla="*/ 403225 h 1073150"/>
                  <a:gd name="connsiteX17" fmla="*/ 333375 w 1927225"/>
                  <a:gd name="connsiteY17" fmla="*/ 514350 h 1073150"/>
                  <a:gd name="connsiteX18" fmla="*/ 346075 w 1927225"/>
                  <a:gd name="connsiteY18" fmla="*/ 536575 h 1073150"/>
                  <a:gd name="connsiteX19" fmla="*/ 285750 w 1927225"/>
                  <a:gd name="connsiteY19" fmla="*/ 555625 h 1073150"/>
                  <a:gd name="connsiteX20" fmla="*/ 225425 w 1927225"/>
                  <a:gd name="connsiteY20" fmla="*/ 495300 h 1073150"/>
                  <a:gd name="connsiteX21" fmla="*/ 184150 w 1927225"/>
                  <a:gd name="connsiteY21" fmla="*/ 546100 h 1073150"/>
                  <a:gd name="connsiteX22" fmla="*/ 314325 w 1927225"/>
                  <a:gd name="connsiteY22" fmla="*/ 657225 h 1073150"/>
                  <a:gd name="connsiteX23" fmla="*/ 352425 w 1927225"/>
                  <a:gd name="connsiteY23" fmla="*/ 628650 h 1073150"/>
                  <a:gd name="connsiteX24" fmla="*/ 403225 w 1927225"/>
                  <a:gd name="connsiteY24" fmla="*/ 619125 h 1073150"/>
                  <a:gd name="connsiteX25" fmla="*/ 469900 w 1927225"/>
                  <a:gd name="connsiteY25" fmla="*/ 628650 h 1073150"/>
                  <a:gd name="connsiteX26" fmla="*/ 615950 w 1927225"/>
                  <a:gd name="connsiteY26" fmla="*/ 577850 h 1073150"/>
                  <a:gd name="connsiteX27" fmla="*/ 803275 w 1927225"/>
                  <a:gd name="connsiteY27" fmla="*/ 511175 h 1073150"/>
                  <a:gd name="connsiteX28" fmla="*/ 911225 w 1927225"/>
                  <a:gd name="connsiteY28" fmla="*/ 568325 h 1073150"/>
                  <a:gd name="connsiteX29" fmla="*/ 1016000 w 1927225"/>
                  <a:gd name="connsiteY29" fmla="*/ 650875 h 1073150"/>
                  <a:gd name="connsiteX30" fmla="*/ 1092200 w 1927225"/>
                  <a:gd name="connsiteY30" fmla="*/ 600075 h 1073150"/>
                  <a:gd name="connsiteX31" fmla="*/ 1171575 w 1927225"/>
                  <a:gd name="connsiteY31" fmla="*/ 635000 h 1073150"/>
                  <a:gd name="connsiteX32" fmla="*/ 1200150 w 1927225"/>
                  <a:gd name="connsiteY32" fmla="*/ 641350 h 1073150"/>
                  <a:gd name="connsiteX33" fmla="*/ 1203325 w 1927225"/>
                  <a:gd name="connsiteY33" fmla="*/ 727075 h 1073150"/>
                  <a:gd name="connsiteX34" fmla="*/ 1219200 w 1927225"/>
                  <a:gd name="connsiteY34" fmla="*/ 762000 h 1073150"/>
                  <a:gd name="connsiteX35" fmla="*/ 1238250 w 1927225"/>
                  <a:gd name="connsiteY35" fmla="*/ 787400 h 1073150"/>
                  <a:gd name="connsiteX36" fmla="*/ 1231900 w 1927225"/>
                  <a:gd name="connsiteY36" fmla="*/ 866775 h 1073150"/>
                  <a:gd name="connsiteX37" fmla="*/ 1212850 w 1927225"/>
                  <a:gd name="connsiteY37" fmla="*/ 911225 h 1073150"/>
                  <a:gd name="connsiteX38" fmla="*/ 1209675 w 1927225"/>
                  <a:gd name="connsiteY38" fmla="*/ 939800 h 1073150"/>
                  <a:gd name="connsiteX39" fmla="*/ 1282700 w 1927225"/>
                  <a:gd name="connsiteY39" fmla="*/ 946150 h 1073150"/>
                  <a:gd name="connsiteX40" fmla="*/ 1311275 w 1927225"/>
                  <a:gd name="connsiteY40" fmla="*/ 933450 h 1073150"/>
                  <a:gd name="connsiteX41" fmla="*/ 1352550 w 1927225"/>
                  <a:gd name="connsiteY41" fmla="*/ 914400 h 1073150"/>
                  <a:gd name="connsiteX42" fmla="*/ 1425575 w 1927225"/>
                  <a:gd name="connsiteY42" fmla="*/ 949325 h 1073150"/>
                  <a:gd name="connsiteX43" fmla="*/ 1457325 w 1927225"/>
                  <a:gd name="connsiteY43" fmla="*/ 904875 h 1073150"/>
                  <a:gd name="connsiteX44" fmla="*/ 1555750 w 1927225"/>
                  <a:gd name="connsiteY44" fmla="*/ 901700 h 1073150"/>
                  <a:gd name="connsiteX45" fmla="*/ 1616075 w 1927225"/>
                  <a:gd name="connsiteY45" fmla="*/ 955675 h 1073150"/>
                  <a:gd name="connsiteX46" fmla="*/ 1676400 w 1927225"/>
                  <a:gd name="connsiteY46" fmla="*/ 885825 h 1073150"/>
                  <a:gd name="connsiteX47" fmla="*/ 1895475 w 1927225"/>
                  <a:gd name="connsiteY47" fmla="*/ 1073150 h 1073150"/>
                  <a:gd name="connsiteX48" fmla="*/ 1895475 w 1927225"/>
                  <a:gd name="connsiteY48" fmla="*/ 1073150 h 1073150"/>
                  <a:gd name="connsiteX49" fmla="*/ 1927225 w 1927225"/>
                  <a:gd name="connsiteY49" fmla="*/ 1050925 h 1073150"/>
                  <a:gd name="connsiteX50" fmla="*/ 1895475 w 1927225"/>
                  <a:gd name="connsiteY50" fmla="*/ 892175 h 1073150"/>
                  <a:gd name="connsiteX51" fmla="*/ 1778000 w 1927225"/>
                  <a:gd name="connsiteY51" fmla="*/ 838200 h 1073150"/>
                  <a:gd name="connsiteX52" fmla="*/ 1698625 w 1927225"/>
                  <a:gd name="connsiteY52" fmla="*/ 762000 h 1073150"/>
                  <a:gd name="connsiteX53" fmla="*/ 1679575 w 1927225"/>
                  <a:gd name="connsiteY53" fmla="*/ 644525 h 1073150"/>
                  <a:gd name="connsiteX54" fmla="*/ 1673225 w 1927225"/>
                  <a:gd name="connsiteY54" fmla="*/ 604838 h 1073150"/>
                  <a:gd name="connsiteX55" fmla="*/ 1694656 w 1927225"/>
                  <a:gd name="connsiteY55" fmla="*/ 557213 h 1073150"/>
                  <a:gd name="connsiteX56" fmla="*/ 1720850 w 1927225"/>
                  <a:gd name="connsiteY56" fmla="*/ 483394 h 1073150"/>
                  <a:gd name="connsiteX57" fmla="*/ 1747043 w 1927225"/>
                  <a:gd name="connsiteY57" fmla="*/ 440531 h 1073150"/>
                  <a:gd name="connsiteX58" fmla="*/ 1725613 w 1927225"/>
                  <a:gd name="connsiteY58" fmla="*/ 395288 h 1073150"/>
                  <a:gd name="connsiteX59" fmla="*/ 1716088 w 1927225"/>
                  <a:gd name="connsiteY59" fmla="*/ 342900 h 1073150"/>
                  <a:gd name="connsiteX60" fmla="*/ 1713706 w 1927225"/>
                  <a:gd name="connsiteY60" fmla="*/ 261938 h 1073150"/>
                  <a:gd name="connsiteX61" fmla="*/ 1713706 w 1927225"/>
                  <a:gd name="connsiteY61" fmla="*/ 221456 h 1073150"/>
                  <a:gd name="connsiteX62" fmla="*/ 1739900 w 1927225"/>
                  <a:gd name="connsiteY62" fmla="*/ 171450 h 1073150"/>
                  <a:gd name="connsiteX63" fmla="*/ 1680369 w 1927225"/>
                  <a:gd name="connsiteY63" fmla="*/ 128588 h 1073150"/>
                  <a:gd name="connsiteX64" fmla="*/ 1639888 w 1927225"/>
                  <a:gd name="connsiteY64" fmla="*/ 150019 h 1073150"/>
                  <a:gd name="connsiteX65" fmla="*/ 1558925 w 1927225"/>
                  <a:gd name="connsiteY65" fmla="*/ 107156 h 1073150"/>
                  <a:gd name="connsiteX66" fmla="*/ 1556544 w 1927225"/>
                  <a:gd name="connsiteY66" fmla="*/ 57150 h 1073150"/>
                  <a:gd name="connsiteX67" fmla="*/ 1563688 w 1927225"/>
                  <a:gd name="connsiteY67" fmla="*/ 7144 h 1073150"/>
                  <a:gd name="connsiteX68" fmla="*/ 1518444 w 1927225"/>
                  <a:gd name="connsiteY68" fmla="*/ 2381 h 1073150"/>
                  <a:gd name="connsiteX69" fmla="*/ 34925 w 1927225"/>
                  <a:gd name="connsiteY69" fmla="*/ 0 h 1073150"/>
                  <a:gd name="connsiteX0" fmla="*/ 34925 w 1927225"/>
                  <a:gd name="connsiteY0" fmla="*/ 11907 h 1085057"/>
                  <a:gd name="connsiteX1" fmla="*/ 15875 w 1927225"/>
                  <a:gd name="connsiteY1" fmla="*/ 27782 h 1085057"/>
                  <a:gd name="connsiteX2" fmla="*/ 3175 w 1927225"/>
                  <a:gd name="connsiteY2" fmla="*/ 59532 h 1085057"/>
                  <a:gd name="connsiteX3" fmla="*/ 0 w 1927225"/>
                  <a:gd name="connsiteY3" fmla="*/ 91282 h 1085057"/>
                  <a:gd name="connsiteX4" fmla="*/ 3175 w 1927225"/>
                  <a:gd name="connsiteY4" fmla="*/ 123032 h 1085057"/>
                  <a:gd name="connsiteX5" fmla="*/ 38100 w 1927225"/>
                  <a:gd name="connsiteY5" fmla="*/ 157957 h 1085057"/>
                  <a:gd name="connsiteX6" fmla="*/ 82550 w 1927225"/>
                  <a:gd name="connsiteY6" fmla="*/ 113507 h 1085057"/>
                  <a:gd name="connsiteX7" fmla="*/ 120650 w 1927225"/>
                  <a:gd name="connsiteY7" fmla="*/ 157957 h 1085057"/>
                  <a:gd name="connsiteX8" fmla="*/ 177800 w 1927225"/>
                  <a:gd name="connsiteY8" fmla="*/ 161132 h 1085057"/>
                  <a:gd name="connsiteX9" fmla="*/ 222250 w 1927225"/>
                  <a:gd name="connsiteY9" fmla="*/ 186532 h 1085057"/>
                  <a:gd name="connsiteX10" fmla="*/ 228600 w 1927225"/>
                  <a:gd name="connsiteY10" fmla="*/ 215107 h 1085057"/>
                  <a:gd name="connsiteX11" fmla="*/ 231775 w 1927225"/>
                  <a:gd name="connsiteY11" fmla="*/ 234157 h 1085057"/>
                  <a:gd name="connsiteX12" fmla="*/ 228600 w 1927225"/>
                  <a:gd name="connsiteY12" fmla="*/ 265907 h 1085057"/>
                  <a:gd name="connsiteX13" fmla="*/ 257175 w 1927225"/>
                  <a:gd name="connsiteY13" fmla="*/ 294482 h 1085057"/>
                  <a:gd name="connsiteX14" fmla="*/ 279400 w 1927225"/>
                  <a:gd name="connsiteY14" fmla="*/ 342107 h 1085057"/>
                  <a:gd name="connsiteX15" fmla="*/ 279400 w 1927225"/>
                  <a:gd name="connsiteY15" fmla="*/ 383382 h 1085057"/>
                  <a:gd name="connsiteX16" fmla="*/ 279400 w 1927225"/>
                  <a:gd name="connsiteY16" fmla="*/ 415132 h 1085057"/>
                  <a:gd name="connsiteX17" fmla="*/ 333375 w 1927225"/>
                  <a:gd name="connsiteY17" fmla="*/ 526257 h 1085057"/>
                  <a:gd name="connsiteX18" fmla="*/ 346075 w 1927225"/>
                  <a:gd name="connsiteY18" fmla="*/ 548482 h 1085057"/>
                  <a:gd name="connsiteX19" fmla="*/ 285750 w 1927225"/>
                  <a:gd name="connsiteY19" fmla="*/ 567532 h 1085057"/>
                  <a:gd name="connsiteX20" fmla="*/ 225425 w 1927225"/>
                  <a:gd name="connsiteY20" fmla="*/ 507207 h 1085057"/>
                  <a:gd name="connsiteX21" fmla="*/ 184150 w 1927225"/>
                  <a:gd name="connsiteY21" fmla="*/ 558007 h 1085057"/>
                  <a:gd name="connsiteX22" fmla="*/ 314325 w 1927225"/>
                  <a:gd name="connsiteY22" fmla="*/ 669132 h 1085057"/>
                  <a:gd name="connsiteX23" fmla="*/ 352425 w 1927225"/>
                  <a:gd name="connsiteY23" fmla="*/ 640557 h 1085057"/>
                  <a:gd name="connsiteX24" fmla="*/ 403225 w 1927225"/>
                  <a:gd name="connsiteY24" fmla="*/ 631032 h 1085057"/>
                  <a:gd name="connsiteX25" fmla="*/ 469900 w 1927225"/>
                  <a:gd name="connsiteY25" fmla="*/ 640557 h 1085057"/>
                  <a:gd name="connsiteX26" fmla="*/ 615950 w 1927225"/>
                  <a:gd name="connsiteY26" fmla="*/ 589757 h 1085057"/>
                  <a:gd name="connsiteX27" fmla="*/ 803275 w 1927225"/>
                  <a:gd name="connsiteY27" fmla="*/ 523082 h 1085057"/>
                  <a:gd name="connsiteX28" fmla="*/ 911225 w 1927225"/>
                  <a:gd name="connsiteY28" fmla="*/ 580232 h 1085057"/>
                  <a:gd name="connsiteX29" fmla="*/ 1016000 w 1927225"/>
                  <a:gd name="connsiteY29" fmla="*/ 662782 h 1085057"/>
                  <a:gd name="connsiteX30" fmla="*/ 1092200 w 1927225"/>
                  <a:gd name="connsiteY30" fmla="*/ 611982 h 1085057"/>
                  <a:gd name="connsiteX31" fmla="*/ 1171575 w 1927225"/>
                  <a:gd name="connsiteY31" fmla="*/ 646907 h 1085057"/>
                  <a:gd name="connsiteX32" fmla="*/ 1200150 w 1927225"/>
                  <a:gd name="connsiteY32" fmla="*/ 653257 h 1085057"/>
                  <a:gd name="connsiteX33" fmla="*/ 1203325 w 1927225"/>
                  <a:gd name="connsiteY33" fmla="*/ 738982 h 1085057"/>
                  <a:gd name="connsiteX34" fmla="*/ 1219200 w 1927225"/>
                  <a:gd name="connsiteY34" fmla="*/ 773907 h 1085057"/>
                  <a:gd name="connsiteX35" fmla="*/ 1238250 w 1927225"/>
                  <a:gd name="connsiteY35" fmla="*/ 799307 h 1085057"/>
                  <a:gd name="connsiteX36" fmla="*/ 1231900 w 1927225"/>
                  <a:gd name="connsiteY36" fmla="*/ 878682 h 1085057"/>
                  <a:gd name="connsiteX37" fmla="*/ 1212850 w 1927225"/>
                  <a:gd name="connsiteY37" fmla="*/ 923132 h 1085057"/>
                  <a:gd name="connsiteX38" fmla="*/ 1209675 w 1927225"/>
                  <a:gd name="connsiteY38" fmla="*/ 951707 h 1085057"/>
                  <a:gd name="connsiteX39" fmla="*/ 1282700 w 1927225"/>
                  <a:gd name="connsiteY39" fmla="*/ 958057 h 1085057"/>
                  <a:gd name="connsiteX40" fmla="*/ 1311275 w 1927225"/>
                  <a:gd name="connsiteY40" fmla="*/ 945357 h 1085057"/>
                  <a:gd name="connsiteX41" fmla="*/ 1352550 w 1927225"/>
                  <a:gd name="connsiteY41" fmla="*/ 926307 h 1085057"/>
                  <a:gd name="connsiteX42" fmla="*/ 1425575 w 1927225"/>
                  <a:gd name="connsiteY42" fmla="*/ 961232 h 1085057"/>
                  <a:gd name="connsiteX43" fmla="*/ 1457325 w 1927225"/>
                  <a:gd name="connsiteY43" fmla="*/ 916782 h 1085057"/>
                  <a:gd name="connsiteX44" fmla="*/ 1555750 w 1927225"/>
                  <a:gd name="connsiteY44" fmla="*/ 913607 h 1085057"/>
                  <a:gd name="connsiteX45" fmla="*/ 1616075 w 1927225"/>
                  <a:gd name="connsiteY45" fmla="*/ 967582 h 1085057"/>
                  <a:gd name="connsiteX46" fmla="*/ 1676400 w 1927225"/>
                  <a:gd name="connsiteY46" fmla="*/ 897732 h 1085057"/>
                  <a:gd name="connsiteX47" fmla="*/ 1895475 w 1927225"/>
                  <a:gd name="connsiteY47" fmla="*/ 1085057 h 1085057"/>
                  <a:gd name="connsiteX48" fmla="*/ 1895475 w 1927225"/>
                  <a:gd name="connsiteY48" fmla="*/ 1085057 h 1085057"/>
                  <a:gd name="connsiteX49" fmla="*/ 1927225 w 1927225"/>
                  <a:gd name="connsiteY49" fmla="*/ 1062832 h 1085057"/>
                  <a:gd name="connsiteX50" fmla="*/ 1895475 w 1927225"/>
                  <a:gd name="connsiteY50" fmla="*/ 904082 h 1085057"/>
                  <a:gd name="connsiteX51" fmla="*/ 1778000 w 1927225"/>
                  <a:gd name="connsiteY51" fmla="*/ 850107 h 1085057"/>
                  <a:gd name="connsiteX52" fmla="*/ 1698625 w 1927225"/>
                  <a:gd name="connsiteY52" fmla="*/ 773907 h 1085057"/>
                  <a:gd name="connsiteX53" fmla="*/ 1679575 w 1927225"/>
                  <a:gd name="connsiteY53" fmla="*/ 656432 h 1085057"/>
                  <a:gd name="connsiteX54" fmla="*/ 1673225 w 1927225"/>
                  <a:gd name="connsiteY54" fmla="*/ 616745 h 1085057"/>
                  <a:gd name="connsiteX55" fmla="*/ 1694656 w 1927225"/>
                  <a:gd name="connsiteY55" fmla="*/ 569120 h 1085057"/>
                  <a:gd name="connsiteX56" fmla="*/ 1720850 w 1927225"/>
                  <a:gd name="connsiteY56" fmla="*/ 495301 h 1085057"/>
                  <a:gd name="connsiteX57" fmla="*/ 1747043 w 1927225"/>
                  <a:gd name="connsiteY57" fmla="*/ 452438 h 1085057"/>
                  <a:gd name="connsiteX58" fmla="*/ 1725613 w 1927225"/>
                  <a:gd name="connsiteY58" fmla="*/ 407195 h 1085057"/>
                  <a:gd name="connsiteX59" fmla="*/ 1716088 w 1927225"/>
                  <a:gd name="connsiteY59" fmla="*/ 354807 h 1085057"/>
                  <a:gd name="connsiteX60" fmla="*/ 1713706 w 1927225"/>
                  <a:gd name="connsiteY60" fmla="*/ 273845 h 1085057"/>
                  <a:gd name="connsiteX61" fmla="*/ 1713706 w 1927225"/>
                  <a:gd name="connsiteY61" fmla="*/ 233363 h 1085057"/>
                  <a:gd name="connsiteX62" fmla="*/ 1739900 w 1927225"/>
                  <a:gd name="connsiteY62" fmla="*/ 183357 h 1085057"/>
                  <a:gd name="connsiteX63" fmla="*/ 1680369 w 1927225"/>
                  <a:gd name="connsiteY63" fmla="*/ 140495 h 1085057"/>
                  <a:gd name="connsiteX64" fmla="*/ 1639888 w 1927225"/>
                  <a:gd name="connsiteY64" fmla="*/ 161926 h 1085057"/>
                  <a:gd name="connsiteX65" fmla="*/ 1558925 w 1927225"/>
                  <a:gd name="connsiteY65" fmla="*/ 119063 h 1085057"/>
                  <a:gd name="connsiteX66" fmla="*/ 1556544 w 1927225"/>
                  <a:gd name="connsiteY66" fmla="*/ 69057 h 1085057"/>
                  <a:gd name="connsiteX67" fmla="*/ 1563688 w 1927225"/>
                  <a:gd name="connsiteY67" fmla="*/ 19051 h 1085057"/>
                  <a:gd name="connsiteX68" fmla="*/ 1592263 w 1927225"/>
                  <a:gd name="connsiteY68" fmla="*/ 0 h 1085057"/>
                  <a:gd name="connsiteX69" fmla="*/ 34925 w 1927225"/>
                  <a:gd name="connsiteY69" fmla="*/ 11907 h 1085057"/>
                  <a:gd name="connsiteX0" fmla="*/ 34925 w 1927225"/>
                  <a:gd name="connsiteY0" fmla="*/ 14286 h 1087436"/>
                  <a:gd name="connsiteX1" fmla="*/ 15875 w 1927225"/>
                  <a:gd name="connsiteY1" fmla="*/ 30161 h 1087436"/>
                  <a:gd name="connsiteX2" fmla="*/ 3175 w 1927225"/>
                  <a:gd name="connsiteY2" fmla="*/ 61911 h 1087436"/>
                  <a:gd name="connsiteX3" fmla="*/ 0 w 1927225"/>
                  <a:gd name="connsiteY3" fmla="*/ 93661 h 1087436"/>
                  <a:gd name="connsiteX4" fmla="*/ 3175 w 1927225"/>
                  <a:gd name="connsiteY4" fmla="*/ 125411 h 1087436"/>
                  <a:gd name="connsiteX5" fmla="*/ 38100 w 1927225"/>
                  <a:gd name="connsiteY5" fmla="*/ 160336 h 1087436"/>
                  <a:gd name="connsiteX6" fmla="*/ 82550 w 1927225"/>
                  <a:gd name="connsiteY6" fmla="*/ 115886 h 1087436"/>
                  <a:gd name="connsiteX7" fmla="*/ 120650 w 1927225"/>
                  <a:gd name="connsiteY7" fmla="*/ 160336 h 1087436"/>
                  <a:gd name="connsiteX8" fmla="*/ 177800 w 1927225"/>
                  <a:gd name="connsiteY8" fmla="*/ 163511 h 1087436"/>
                  <a:gd name="connsiteX9" fmla="*/ 222250 w 1927225"/>
                  <a:gd name="connsiteY9" fmla="*/ 188911 h 1087436"/>
                  <a:gd name="connsiteX10" fmla="*/ 228600 w 1927225"/>
                  <a:gd name="connsiteY10" fmla="*/ 217486 h 1087436"/>
                  <a:gd name="connsiteX11" fmla="*/ 231775 w 1927225"/>
                  <a:gd name="connsiteY11" fmla="*/ 236536 h 1087436"/>
                  <a:gd name="connsiteX12" fmla="*/ 228600 w 1927225"/>
                  <a:gd name="connsiteY12" fmla="*/ 268286 h 1087436"/>
                  <a:gd name="connsiteX13" fmla="*/ 257175 w 1927225"/>
                  <a:gd name="connsiteY13" fmla="*/ 296861 h 1087436"/>
                  <a:gd name="connsiteX14" fmla="*/ 279400 w 1927225"/>
                  <a:gd name="connsiteY14" fmla="*/ 344486 h 1087436"/>
                  <a:gd name="connsiteX15" fmla="*/ 279400 w 1927225"/>
                  <a:gd name="connsiteY15" fmla="*/ 385761 h 1087436"/>
                  <a:gd name="connsiteX16" fmla="*/ 279400 w 1927225"/>
                  <a:gd name="connsiteY16" fmla="*/ 417511 h 1087436"/>
                  <a:gd name="connsiteX17" fmla="*/ 333375 w 1927225"/>
                  <a:gd name="connsiteY17" fmla="*/ 528636 h 1087436"/>
                  <a:gd name="connsiteX18" fmla="*/ 346075 w 1927225"/>
                  <a:gd name="connsiteY18" fmla="*/ 550861 h 1087436"/>
                  <a:gd name="connsiteX19" fmla="*/ 285750 w 1927225"/>
                  <a:gd name="connsiteY19" fmla="*/ 569911 h 1087436"/>
                  <a:gd name="connsiteX20" fmla="*/ 225425 w 1927225"/>
                  <a:gd name="connsiteY20" fmla="*/ 509586 h 1087436"/>
                  <a:gd name="connsiteX21" fmla="*/ 184150 w 1927225"/>
                  <a:gd name="connsiteY21" fmla="*/ 560386 h 1087436"/>
                  <a:gd name="connsiteX22" fmla="*/ 314325 w 1927225"/>
                  <a:gd name="connsiteY22" fmla="*/ 671511 h 1087436"/>
                  <a:gd name="connsiteX23" fmla="*/ 352425 w 1927225"/>
                  <a:gd name="connsiteY23" fmla="*/ 642936 h 1087436"/>
                  <a:gd name="connsiteX24" fmla="*/ 403225 w 1927225"/>
                  <a:gd name="connsiteY24" fmla="*/ 633411 h 1087436"/>
                  <a:gd name="connsiteX25" fmla="*/ 469900 w 1927225"/>
                  <a:gd name="connsiteY25" fmla="*/ 642936 h 1087436"/>
                  <a:gd name="connsiteX26" fmla="*/ 615950 w 1927225"/>
                  <a:gd name="connsiteY26" fmla="*/ 592136 h 1087436"/>
                  <a:gd name="connsiteX27" fmla="*/ 803275 w 1927225"/>
                  <a:gd name="connsiteY27" fmla="*/ 525461 h 1087436"/>
                  <a:gd name="connsiteX28" fmla="*/ 911225 w 1927225"/>
                  <a:gd name="connsiteY28" fmla="*/ 582611 h 1087436"/>
                  <a:gd name="connsiteX29" fmla="*/ 1016000 w 1927225"/>
                  <a:gd name="connsiteY29" fmla="*/ 665161 h 1087436"/>
                  <a:gd name="connsiteX30" fmla="*/ 1092200 w 1927225"/>
                  <a:gd name="connsiteY30" fmla="*/ 614361 h 1087436"/>
                  <a:gd name="connsiteX31" fmla="*/ 1171575 w 1927225"/>
                  <a:gd name="connsiteY31" fmla="*/ 649286 h 1087436"/>
                  <a:gd name="connsiteX32" fmla="*/ 1200150 w 1927225"/>
                  <a:gd name="connsiteY32" fmla="*/ 655636 h 1087436"/>
                  <a:gd name="connsiteX33" fmla="*/ 1203325 w 1927225"/>
                  <a:gd name="connsiteY33" fmla="*/ 741361 h 1087436"/>
                  <a:gd name="connsiteX34" fmla="*/ 1219200 w 1927225"/>
                  <a:gd name="connsiteY34" fmla="*/ 776286 h 1087436"/>
                  <a:gd name="connsiteX35" fmla="*/ 1238250 w 1927225"/>
                  <a:gd name="connsiteY35" fmla="*/ 801686 h 1087436"/>
                  <a:gd name="connsiteX36" fmla="*/ 1231900 w 1927225"/>
                  <a:gd name="connsiteY36" fmla="*/ 881061 h 1087436"/>
                  <a:gd name="connsiteX37" fmla="*/ 1212850 w 1927225"/>
                  <a:gd name="connsiteY37" fmla="*/ 925511 h 1087436"/>
                  <a:gd name="connsiteX38" fmla="*/ 1209675 w 1927225"/>
                  <a:gd name="connsiteY38" fmla="*/ 954086 h 1087436"/>
                  <a:gd name="connsiteX39" fmla="*/ 1282700 w 1927225"/>
                  <a:gd name="connsiteY39" fmla="*/ 960436 h 1087436"/>
                  <a:gd name="connsiteX40" fmla="*/ 1311275 w 1927225"/>
                  <a:gd name="connsiteY40" fmla="*/ 947736 h 1087436"/>
                  <a:gd name="connsiteX41" fmla="*/ 1352550 w 1927225"/>
                  <a:gd name="connsiteY41" fmla="*/ 928686 h 1087436"/>
                  <a:gd name="connsiteX42" fmla="*/ 1425575 w 1927225"/>
                  <a:gd name="connsiteY42" fmla="*/ 963611 h 1087436"/>
                  <a:gd name="connsiteX43" fmla="*/ 1457325 w 1927225"/>
                  <a:gd name="connsiteY43" fmla="*/ 919161 h 1087436"/>
                  <a:gd name="connsiteX44" fmla="*/ 1555750 w 1927225"/>
                  <a:gd name="connsiteY44" fmla="*/ 915986 h 1087436"/>
                  <a:gd name="connsiteX45" fmla="*/ 1616075 w 1927225"/>
                  <a:gd name="connsiteY45" fmla="*/ 969961 h 1087436"/>
                  <a:gd name="connsiteX46" fmla="*/ 1676400 w 1927225"/>
                  <a:gd name="connsiteY46" fmla="*/ 900111 h 1087436"/>
                  <a:gd name="connsiteX47" fmla="*/ 1895475 w 1927225"/>
                  <a:gd name="connsiteY47" fmla="*/ 1087436 h 1087436"/>
                  <a:gd name="connsiteX48" fmla="*/ 1895475 w 1927225"/>
                  <a:gd name="connsiteY48" fmla="*/ 1087436 h 1087436"/>
                  <a:gd name="connsiteX49" fmla="*/ 1927225 w 1927225"/>
                  <a:gd name="connsiteY49" fmla="*/ 1065211 h 1087436"/>
                  <a:gd name="connsiteX50" fmla="*/ 1895475 w 1927225"/>
                  <a:gd name="connsiteY50" fmla="*/ 906461 h 1087436"/>
                  <a:gd name="connsiteX51" fmla="*/ 1778000 w 1927225"/>
                  <a:gd name="connsiteY51" fmla="*/ 852486 h 1087436"/>
                  <a:gd name="connsiteX52" fmla="*/ 1698625 w 1927225"/>
                  <a:gd name="connsiteY52" fmla="*/ 776286 h 1087436"/>
                  <a:gd name="connsiteX53" fmla="*/ 1679575 w 1927225"/>
                  <a:gd name="connsiteY53" fmla="*/ 658811 h 1087436"/>
                  <a:gd name="connsiteX54" fmla="*/ 1673225 w 1927225"/>
                  <a:gd name="connsiteY54" fmla="*/ 619124 h 1087436"/>
                  <a:gd name="connsiteX55" fmla="*/ 1694656 w 1927225"/>
                  <a:gd name="connsiteY55" fmla="*/ 571499 h 1087436"/>
                  <a:gd name="connsiteX56" fmla="*/ 1720850 w 1927225"/>
                  <a:gd name="connsiteY56" fmla="*/ 497680 h 1087436"/>
                  <a:gd name="connsiteX57" fmla="*/ 1747043 w 1927225"/>
                  <a:gd name="connsiteY57" fmla="*/ 454817 h 1087436"/>
                  <a:gd name="connsiteX58" fmla="*/ 1725613 w 1927225"/>
                  <a:gd name="connsiteY58" fmla="*/ 409574 h 1087436"/>
                  <a:gd name="connsiteX59" fmla="*/ 1716088 w 1927225"/>
                  <a:gd name="connsiteY59" fmla="*/ 357186 h 1087436"/>
                  <a:gd name="connsiteX60" fmla="*/ 1713706 w 1927225"/>
                  <a:gd name="connsiteY60" fmla="*/ 276224 h 1087436"/>
                  <a:gd name="connsiteX61" fmla="*/ 1713706 w 1927225"/>
                  <a:gd name="connsiteY61" fmla="*/ 235742 h 1087436"/>
                  <a:gd name="connsiteX62" fmla="*/ 1739900 w 1927225"/>
                  <a:gd name="connsiteY62" fmla="*/ 185736 h 1087436"/>
                  <a:gd name="connsiteX63" fmla="*/ 1680369 w 1927225"/>
                  <a:gd name="connsiteY63" fmla="*/ 142874 h 1087436"/>
                  <a:gd name="connsiteX64" fmla="*/ 1639888 w 1927225"/>
                  <a:gd name="connsiteY64" fmla="*/ 164305 h 1087436"/>
                  <a:gd name="connsiteX65" fmla="*/ 1558925 w 1927225"/>
                  <a:gd name="connsiteY65" fmla="*/ 121442 h 1087436"/>
                  <a:gd name="connsiteX66" fmla="*/ 1556544 w 1927225"/>
                  <a:gd name="connsiteY66" fmla="*/ 71436 h 1087436"/>
                  <a:gd name="connsiteX67" fmla="*/ 1563688 w 1927225"/>
                  <a:gd name="connsiteY67" fmla="*/ 21430 h 1087436"/>
                  <a:gd name="connsiteX68" fmla="*/ 1592263 w 1927225"/>
                  <a:gd name="connsiteY68" fmla="*/ 2379 h 1087436"/>
                  <a:gd name="connsiteX69" fmla="*/ 1518444 w 1927225"/>
                  <a:gd name="connsiteY69" fmla="*/ 0 h 1087436"/>
                  <a:gd name="connsiteX70" fmla="*/ 34925 w 1927225"/>
                  <a:gd name="connsiteY70" fmla="*/ 14286 h 1087436"/>
                  <a:gd name="connsiteX0" fmla="*/ 34925 w 1927225"/>
                  <a:gd name="connsiteY0" fmla="*/ 47624 h 1120774"/>
                  <a:gd name="connsiteX1" fmla="*/ 15875 w 1927225"/>
                  <a:gd name="connsiteY1" fmla="*/ 63499 h 1120774"/>
                  <a:gd name="connsiteX2" fmla="*/ 3175 w 1927225"/>
                  <a:gd name="connsiteY2" fmla="*/ 95249 h 1120774"/>
                  <a:gd name="connsiteX3" fmla="*/ 0 w 1927225"/>
                  <a:gd name="connsiteY3" fmla="*/ 126999 h 1120774"/>
                  <a:gd name="connsiteX4" fmla="*/ 3175 w 1927225"/>
                  <a:gd name="connsiteY4" fmla="*/ 158749 h 1120774"/>
                  <a:gd name="connsiteX5" fmla="*/ 38100 w 1927225"/>
                  <a:gd name="connsiteY5" fmla="*/ 193674 h 1120774"/>
                  <a:gd name="connsiteX6" fmla="*/ 82550 w 1927225"/>
                  <a:gd name="connsiteY6" fmla="*/ 149224 h 1120774"/>
                  <a:gd name="connsiteX7" fmla="*/ 120650 w 1927225"/>
                  <a:gd name="connsiteY7" fmla="*/ 193674 h 1120774"/>
                  <a:gd name="connsiteX8" fmla="*/ 177800 w 1927225"/>
                  <a:gd name="connsiteY8" fmla="*/ 196849 h 1120774"/>
                  <a:gd name="connsiteX9" fmla="*/ 222250 w 1927225"/>
                  <a:gd name="connsiteY9" fmla="*/ 222249 h 1120774"/>
                  <a:gd name="connsiteX10" fmla="*/ 228600 w 1927225"/>
                  <a:gd name="connsiteY10" fmla="*/ 250824 h 1120774"/>
                  <a:gd name="connsiteX11" fmla="*/ 231775 w 1927225"/>
                  <a:gd name="connsiteY11" fmla="*/ 269874 h 1120774"/>
                  <a:gd name="connsiteX12" fmla="*/ 228600 w 1927225"/>
                  <a:gd name="connsiteY12" fmla="*/ 301624 h 1120774"/>
                  <a:gd name="connsiteX13" fmla="*/ 257175 w 1927225"/>
                  <a:gd name="connsiteY13" fmla="*/ 330199 h 1120774"/>
                  <a:gd name="connsiteX14" fmla="*/ 279400 w 1927225"/>
                  <a:gd name="connsiteY14" fmla="*/ 377824 h 1120774"/>
                  <a:gd name="connsiteX15" fmla="*/ 279400 w 1927225"/>
                  <a:gd name="connsiteY15" fmla="*/ 419099 h 1120774"/>
                  <a:gd name="connsiteX16" fmla="*/ 279400 w 1927225"/>
                  <a:gd name="connsiteY16" fmla="*/ 450849 h 1120774"/>
                  <a:gd name="connsiteX17" fmla="*/ 333375 w 1927225"/>
                  <a:gd name="connsiteY17" fmla="*/ 561974 h 1120774"/>
                  <a:gd name="connsiteX18" fmla="*/ 346075 w 1927225"/>
                  <a:gd name="connsiteY18" fmla="*/ 584199 h 1120774"/>
                  <a:gd name="connsiteX19" fmla="*/ 285750 w 1927225"/>
                  <a:gd name="connsiteY19" fmla="*/ 603249 h 1120774"/>
                  <a:gd name="connsiteX20" fmla="*/ 225425 w 1927225"/>
                  <a:gd name="connsiteY20" fmla="*/ 542924 h 1120774"/>
                  <a:gd name="connsiteX21" fmla="*/ 184150 w 1927225"/>
                  <a:gd name="connsiteY21" fmla="*/ 593724 h 1120774"/>
                  <a:gd name="connsiteX22" fmla="*/ 314325 w 1927225"/>
                  <a:gd name="connsiteY22" fmla="*/ 704849 h 1120774"/>
                  <a:gd name="connsiteX23" fmla="*/ 352425 w 1927225"/>
                  <a:gd name="connsiteY23" fmla="*/ 676274 h 1120774"/>
                  <a:gd name="connsiteX24" fmla="*/ 403225 w 1927225"/>
                  <a:gd name="connsiteY24" fmla="*/ 666749 h 1120774"/>
                  <a:gd name="connsiteX25" fmla="*/ 469900 w 1927225"/>
                  <a:gd name="connsiteY25" fmla="*/ 676274 h 1120774"/>
                  <a:gd name="connsiteX26" fmla="*/ 615950 w 1927225"/>
                  <a:gd name="connsiteY26" fmla="*/ 625474 h 1120774"/>
                  <a:gd name="connsiteX27" fmla="*/ 803275 w 1927225"/>
                  <a:gd name="connsiteY27" fmla="*/ 558799 h 1120774"/>
                  <a:gd name="connsiteX28" fmla="*/ 911225 w 1927225"/>
                  <a:gd name="connsiteY28" fmla="*/ 615949 h 1120774"/>
                  <a:gd name="connsiteX29" fmla="*/ 1016000 w 1927225"/>
                  <a:gd name="connsiteY29" fmla="*/ 698499 h 1120774"/>
                  <a:gd name="connsiteX30" fmla="*/ 1092200 w 1927225"/>
                  <a:gd name="connsiteY30" fmla="*/ 647699 h 1120774"/>
                  <a:gd name="connsiteX31" fmla="*/ 1171575 w 1927225"/>
                  <a:gd name="connsiteY31" fmla="*/ 682624 h 1120774"/>
                  <a:gd name="connsiteX32" fmla="*/ 1200150 w 1927225"/>
                  <a:gd name="connsiteY32" fmla="*/ 688974 h 1120774"/>
                  <a:gd name="connsiteX33" fmla="*/ 1203325 w 1927225"/>
                  <a:gd name="connsiteY33" fmla="*/ 774699 h 1120774"/>
                  <a:gd name="connsiteX34" fmla="*/ 1219200 w 1927225"/>
                  <a:gd name="connsiteY34" fmla="*/ 809624 h 1120774"/>
                  <a:gd name="connsiteX35" fmla="*/ 1238250 w 1927225"/>
                  <a:gd name="connsiteY35" fmla="*/ 835024 h 1120774"/>
                  <a:gd name="connsiteX36" fmla="*/ 1231900 w 1927225"/>
                  <a:gd name="connsiteY36" fmla="*/ 914399 h 1120774"/>
                  <a:gd name="connsiteX37" fmla="*/ 1212850 w 1927225"/>
                  <a:gd name="connsiteY37" fmla="*/ 958849 h 1120774"/>
                  <a:gd name="connsiteX38" fmla="*/ 1209675 w 1927225"/>
                  <a:gd name="connsiteY38" fmla="*/ 987424 h 1120774"/>
                  <a:gd name="connsiteX39" fmla="*/ 1282700 w 1927225"/>
                  <a:gd name="connsiteY39" fmla="*/ 993774 h 1120774"/>
                  <a:gd name="connsiteX40" fmla="*/ 1311275 w 1927225"/>
                  <a:gd name="connsiteY40" fmla="*/ 981074 h 1120774"/>
                  <a:gd name="connsiteX41" fmla="*/ 1352550 w 1927225"/>
                  <a:gd name="connsiteY41" fmla="*/ 962024 h 1120774"/>
                  <a:gd name="connsiteX42" fmla="*/ 1425575 w 1927225"/>
                  <a:gd name="connsiteY42" fmla="*/ 996949 h 1120774"/>
                  <a:gd name="connsiteX43" fmla="*/ 1457325 w 1927225"/>
                  <a:gd name="connsiteY43" fmla="*/ 952499 h 1120774"/>
                  <a:gd name="connsiteX44" fmla="*/ 1555750 w 1927225"/>
                  <a:gd name="connsiteY44" fmla="*/ 949324 h 1120774"/>
                  <a:gd name="connsiteX45" fmla="*/ 1616075 w 1927225"/>
                  <a:gd name="connsiteY45" fmla="*/ 1003299 h 1120774"/>
                  <a:gd name="connsiteX46" fmla="*/ 1676400 w 1927225"/>
                  <a:gd name="connsiteY46" fmla="*/ 933449 h 1120774"/>
                  <a:gd name="connsiteX47" fmla="*/ 1895475 w 1927225"/>
                  <a:gd name="connsiteY47" fmla="*/ 1120774 h 1120774"/>
                  <a:gd name="connsiteX48" fmla="*/ 1895475 w 1927225"/>
                  <a:gd name="connsiteY48" fmla="*/ 1120774 h 1120774"/>
                  <a:gd name="connsiteX49" fmla="*/ 1927225 w 1927225"/>
                  <a:gd name="connsiteY49" fmla="*/ 1098549 h 1120774"/>
                  <a:gd name="connsiteX50" fmla="*/ 1895475 w 1927225"/>
                  <a:gd name="connsiteY50" fmla="*/ 939799 h 1120774"/>
                  <a:gd name="connsiteX51" fmla="*/ 1778000 w 1927225"/>
                  <a:gd name="connsiteY51" fmla="*/ 885824 h 1120774"/>
                  <a:gd name="connsiteX52" fmla="*/ 1698625 w 1927225"/>
                  <a:gd name="connsiteY52" fmla="*/ 809624 h 1120774"/>
                  <a:gd name="connsiteX53" fmla="*/ 1679575 w 1927225"/>
                  <a:gd name="connsiteY53" fmla="*/ 692149 h 1120774"/>
                  <a:gd name="connsiteX54" fmla="*/ 1673225 w 1927225"/>
                  <a:gd name="connsiteY54" fmla="*/ 652462 h 1120774"/>
                  <a:gd name="connsiteX55" fmla="*/ 1694656 w 1927225"/>
                  <a:gd name="connsiteY55" fmla="*/ 604837 h 1120774"/>
                  <a:gd name="connsiteX56" fmla="*/ 1720850 w 1927225"/>
                  <a:gd name="connsiteY56" fmla="*/ 531018 h 1120774"/>
                  <a:gd name="connsiteX57" fmla="*/ 1747043 w 1927225"/>
                  <a:gd name="connsiteY57" fmla="*/ 488155 h 1120774"/>
                  <a:gd name="connsiteX58" fmla="*/ 1725613 w 1927225"/>
                  <a:gd name="connsiteY58" fmla="*/ 442912 h 1120774"/>
                  <a:gd name="connsiteX59" fmla="*/ 1716088 w 1927225"/>
                  <a:gd name="connsiteY59" fmla="*/ 390524 h 1120774"/>
                  <a:gd name="connsiteX60" fmla="*/ 1713706 w 1927225"/>
                  <a:gd name="connsiteY60" fmla="*/ 309562 h 1120774"/>
                  <a:gd name="connsiteX61" fmla="*/ 1713706 w 1927225"/>
                  <a:gd name="connsiteY61" fmla="*/ 269080 h 1120774"/>
                  <a:gd name="connsiteX62" fmla="*/ 1739900 w 1927225"/>
                  <a:gd name="connsiteY62" fmla="*/ 219074 h 1120774"/>
                  <a:gd name="connsiteX63" fmla="*/ 1680369 w 1927225"/>
                  <a:gd name="connsiteY63" fmla="*/ 176212 h 1120774"/>
                  <a:gd name="connsiteX64" fmla="*/ 1639888 w 1927225"/>
                  <a:gd name="connsiteY64" fmla="*/ 197643 h 1120774"/>
                  <a:gd name="connsiteX65" fmla="*/ 1558925 w 1927225"/>
                  <a:gd name="connsiteY65" fmla="*/ 154780 h 1120774"/>
                  <a:gd name="connsiteX66" fmla="*/ 1556544 w 1927225"/>
                  <a:gd name="connsiteY66" fmla="*/ 104774 h 1120774"/>
                  <a:gd name="connsiteX67" fmla="*/ 1563688 w 1927225"/>
                  <a:gd name="connsiteY67" fmla="*/ 54768 h 1120774"/>
                  <a:gd name="connsiteX68" fmla="*/ 1592263 w 1927225"/>
                  <a:gd name="connsiteY68" fmla="*/ 35717 h 1120774"/>
                  <a:gd name="connsiteX69" fmla="*/ 1537494 w 1927225"/>
                  <a:gd name="connsiteY69" fmla="*/ 0 h 1120774"/>
                  <a:gd name="connsiteX70" fmla="*/ 34925 w 1927225"/>
                  <a:gd name="connsiteY70" fmla="*/ 47624 h 1120774"/>
                  <a:gd name="connsiteX0" fmla="*/ 34925 w 1927225"/>
                  <a:gd name="connsiteY0" fmla="*/ 47624 h 1120774"/>
                  <a:gd name="connsiteX1" fmla="*/ 15875 w 1927225"/>
                  <a:gd name="connsiteY1" fmla="*/ 63499 h 1120774"/>
                  <a:gd name="connsiteX2" fmla="*/ 3175 w 1927225"/>
                  <a:gd name="connsiteY2" fmla="*/ 95249 h 1120774"/>
                  <a:gd name="connsiteX3" fmla="*/ 0 w 1927225"/>
                  <a:gd name="connsiteY3" fmla="*/ 126999 h 1120774"/>
                  <a:gd name="connsiteX4" fmla="*/ 3175 w 1927225"/>
                  <a:gd name="connsiteY4" fmla="*/ 158749 h 1120774"/>
                  <a:gd name="connsiteX5" fmla="*/ 38100 w 1927225"/>
                  <a:gd name="connsiteY5" fmla="*/ 193674 h 1120774"/>
                  <a:gd name="connsiteX6" fmla="*/ 82550 w 1927225"/>
                  <a:gd name="connsiteY6" fmla="*/ 149224 h 1120774"/>
                  <a:gd name="connsiteX7" fmla="*/ 120650 w 1927225"/>
                  <a:gd name="connsiteY7" fmla="*/ 193674 h 1120774"/>
                  <a:gd name="connsiteX8" fmla="*/ 177800 w 1927225"/>
                  <a:gd name="connsiteY8" fmla="*/ 196849 h 1120774"/>
                  <a:gd name="connsiteX9" fmla="*/ 222250 w 1927225"/>
                  <a:gd name="connsiteY9" fmla="*/ 222249 h 1120774"/>
                  <a:gd name="connsiteX10" fmla="*/ 228600 w 1927225"/>
                  <a:gd name="connsiteY10" fmla="*/ 250824 h 1120774"/>
                  <a:gd name="connsiteX11" fmla="*/ 231775 w 1927225"/>
                  <a:gd name="connsiteY11" fmla="*/ 269874 h 1120774"/>
                  <a:gd name="connsiteX12" fmla="*/ 228600 w 1927225"/>
                  <a:gd name="connsiteY12" fmla="*/ 301624 h 1120774"/>
                  <a:gd name="connsiteX13" fmla="*/ 257175 w 1927225"/>
                  <a:gd name="connsiteY13" fmla="*/ 330199 h 1120774"/>
                  <a:gd name="connsiteX14" fmla="*/ 279400 w 1927225"/>
                  <a:gd name="connsiteY14" fmla="*/ 377824 h 1120774"/>
                  <a:gd name="connsiteX15" fmla="*/ 279400 w 1927225"/>
                  <a:gd name="connsiteY15" fmla="*/ 419099 h 1120774"/>
                  <a:gd name="connsiteX16" fmla="*/ 279400 w 1927225"/>
                  <a:gd name="connsiteY16" fmla="*/ 450849 h 1120774"/>
                  <a:gd name="connsiteX17" fmla="*/ 333375 w 1927225"/>
                  <a:gd name="connsiteY17" fmla="*/ 561974 h 1120774"/>
                  <a:gd name="connsiteX18" fmla="*/ 346075 w 1927225"/>
                  <a:gd name="connsiteY18" fmla="*/ 584199 h 1120774"/>
                  <a:gd name="connsiteX19" fmla="*/ 285750 w 1927225"/>
                  <a:gd name="connsiteY19" fmla="*/ 603249 h 1120774"/>
                  <a:gd name="connsiteX20" fmla="*/ 225425 w 1927225"/>
                  <a:gd name="connsiteY20" fmla="*/ 542924 h 1120774"/>
                  <a:gd name="connsiteX21" fmla="*/ 184150 w 1927225"/>
                  <a:gd name="connsiteY21" fmla="*/ 593724 h 1120774"/>
                  <a:gd name="connsiteX22" fmla="*/ 314325 w 1927225"/>
                  <a:gd name="connsiteY22" fmla="*/ 704849 h 1120774"/>
                  <a:gd name="connsiteX23" fmla="*/ 352425 w 1927225"/>
                  <a:gd name="connsiteY23" fmla="*/ 676274 h 1120774"/>
                  <a:gd name="connsiteX24" fmla="*/ 403225 w 1927225"/>
                  <a:gd name="connsiteY24" fmla="*/ 666749 h 1120774"/>
                  <a:gd name="connsiteX25" fmla="*/ 469900 w 1927225"/>
                  <a:gd name="connsiteY25" fmla="*/ 676274 h 1120774"/>
                  <a:gd name="connsiteX26" fmla="*/ 615950 w 1927225"/>
                  <a:gd name="connsiteY26" fmla="*/ 625474 h 1120774"/>
                  <a:gd name="connsiteX27" fmla="*/ 803275 w 1927225"/>
                  <a:gd name="connsiteY27" fmla="*/ 558799 h 1120774"/>
                  <a:gd name="connsiteX28" fmla="*/ 911225 w 1927225"/>
                  <a:gd name="connsiteY28" fmla="*/ 615949 h 1120774"/>
                  <a:gd name="connsiteX29" fmla="*/ 1016000 w 1927225"/>
                  <a:gd name="connsiteY29" fmla="*/ 698499 h 1120774"/>
                  <a:gd name="connsiteX30" fmla="*/ 1092200 w 1927225"/>
                  <a:gd name="connsiteY30" fmla="*/ 647699 h 1120774"/>
                  <a:gd name="connsiteX31" fmla="*/ 1171575 w 1927225"/>
                  <a:gd name="connsiteY31" fmla="*/ 682624 h 1120774"/>
                  <a:gd name="connsiteX32" fmla="*/ 1200150 w 1927225"/>
                  <a:gd name="connsiteY32" fmla="*/ 688974 h 1120774"/>
                  <a:gd name="connsiteX33" fmla="*/ 1203325 w 1927225"/>
                  <a:gd name="connsiteY33" fmla="*/ 774699 h 1120774"/>
                  <a:gd name="connsiteX34" fmla="*/ 1219200 w 1927225"/>
                  <a:gd name="connsiteY34" fmla="*/ 809624 h 1120774"/>
                  <a:gd name="connsiteX35" fmla="*/ 1238250 w 1927225"/>
                  <a:gd name="connsiteY35" fmla="*/ 835024 h 1120774"/>
                  <a:gd name="connsiteX36" fmla="*/ 1231900 w 1927225"/>
                  <a:gd name="connsiteY36" fmla="*/ 914399 h 1120774"/>
                  <a:gd name="connsiteX37" fmla="*/ 1212850 w 1927225"/>
                  <a:gd name="connsiteY37" fmla="*/ 958849 h 1120774"/>
                  <a:gd name="connsiteX38" fmla="*/ 1209675 w 1927225"/>
                  <a:gd name="connsiteY38" fmla="*/ 987424 h 1120774"/>
                  <a:gd name="connsiteX39" fmla="*/ 1282700 w 1927225"/>
                  <a:gd name="connsiteY39" fmla="*/ 993774 h 1120774"/>
                  <a:gd name="connsiteX40" fmla="*/ 1311275 w 1927225"/>
                  <a:gd name="connsiteY40" fmla="*/ 981074 h 1120774"/>
                  <a:gd name="connsiteX41" fmla="*/ 1352550 w 1927225"/>
                  <a:gd name="connsiteY41" fmla="*/ 962024 h 1120774"/>
                  <a:gd name="connsiteX42" fmla="*/ 1425575 w 1927225"/>
                  <a:gd name="connsiteY42" fmla="*/ 996949 h 1120774"/>
                  <a:gd name="connsiteX43" fmla="*/ 1457325 w 1927225"/>
                  <a:gd name="connsiteY43" fmla="*/ 952499 h 1120774"/>
                  <a:gd name="connsiteX44" fmla="*/ 1555750 w 1927225"/>
                  <a:gd name="connsiteY44" fmla="*/ 949324 h 1120774"/>
                  <a:gd name="connsiteX45" fmla="*/ 1616075 w 1927225"/>
                  <a:gd name="connsiteY45" fmla="*/ 1003299 h 1120774"/>
                  <a:gd name="connsiteX46" fmla="*/ 1676400 w 1927225"/>
                  <a:gd name="connsiteY46" fmla="*/ 933449 h 1120774"/>
                  <a:gd name="connsiteX47" fmla="*/ 1895475 w 1927225"/>
                  <a:gd name="connsiteY47" fmla="*/ 1120774 h 1120774"/>
                  <a:gd name="connsiteX48" fmla="*/ 1895475 w 1927225"/>
                  <a:gd name="connsiteY48" fmla="*/ 1120774 h 1120774"/>
                  <a:gd name="connsiteX49" fmla="*/ 1927225 w 1927225"/>
                  <a:gd name="connsiteY49" fmla="*/ 1098549 h 1120774"/>
                  <a:gd name="connsiteX50" fmla="*/ 1895475 w 1927225"/>
                  <a:gd name="connsiteY50" fmla="*/ 939799 h 1120774"/>
                  <a:gd name="connsiteX51" fmla="*/ 1778000 w 1927225"/>
                  <a:gd name="connsiteY51" fmla="*/ 885824 h 1120774"/>
                  <a:gd name="connsiteX52" fmla="*/ 1698625 w 1927225"/>
                  <a:gd name="connsiteY52" fmla="*/ 809624 h 1120774"/>
                  <a:gd name="connsiteX53" fmla="*/ 1679575 w 1927225"/>
                  <a:gd name="connsiteY53" fmla="*/ 692149 h 1120774"/>
                  <a:gd name="connsiteX54" fmla="*/ 1673225 w 1927225"/>
                  <a:gd name="connsiteY54" fmla="*/ 652462 h 1120774"/>
                  <a:gd name="connsiteX55" fmla="*/ 1694656 w 1927225"/>
                  <a:gd name="connsiteY55" fmla="*/ 604837 h 1120774"/>
                  <a:gd name="connsiteX56" fmla="*/ 1720850 w 1927225"/>
                  <a:gd name="connsiteY56" fmla="*/ 531018 h 1120774"/>
                  <a:gd name="connsiteX57" fmla="*/ 1747043 w 1927225"/>
                  <a:gd name="connsiteY57" fmla="*/ 488155 h 1120774"/>
                  <a:gd name="connsiteX58" fmla="*/ 1725613 w 1927225"/>
                  <a:gd name="connsiteY58" fmla="*/ 442912 h 1120774"/>
                  <a:gd name="connsiteX59" fmla="*/ 1716088 w 1927225"/>
                  <a:gd name="connsiteY59" fmla="*/ 390524 h 1120774"/>
                  <a:gd name="connsiteX60" fmla="*/ 1713706 w 1927225"/>
                  <a:gd name="connsiteY60" fmla="*/ 309562 h 1120774"/>
                  <a:gd name="connsiteX61" fmla="*/ 1713706 w 1927225"/>
                  <a:gd name="connsiteY61" fmla="*/ 269080 h 1120774"/>
                  <a:gd name="connsiteX62" fmla="*/ 1739900 w 1927225"/>
                  <a:gd name="connsiteY62" fmla="*/ 219074 h 1120774"/>
                  <a:gd name="connsiteX63" fmla="*/ 1680369 w 1927225"/>
                  <a:gd name="connsiteY63" fmla="*/ 176212 h 1120774"/>
                  <a:gd name="connsiteX64" fmla="*/ 1639888 w 1927225"/>
                  <a:gd name="connsiteY64" fmla="*/ 197643 h 1120774"/>
                  <a:gd name="connsiteX65" fmla="*/ 1558925 w 1927225"/>
                  <a:gd name="connsiteY65" fmla="*/ 154780 h 1120774"/>
                  <a:gd name="connsiteX66" fmla="*/ 1556544 w 1927225"/>
                  <a:gd name="connsiteY66" fmla="*/ 104774 h 1120774"/>
                  <a:gd name="connsiteX67" fmla="*/ 1563688 w 1927225"/>
                  <a:gd name="connsiteY67" fmla="*/ 54768 h 1120774"/>
                  <a:gd name="connsiteX68" fmla="*/ 1592263 w 1927225"/>
                  <a:gd name="connsiteY68" fmla="*/ 35717 h 1120774"/>
                  <a:gd name="connsiteX69" fmla="*/ 1537494 w 1927225"/>
                  <a:gd name="connsiteY69" fmla="*/ 0 h 1120774"/>
                  <a:gd name="connsiteX70" fmla="*/ 1508919 w 1927225"/>
                  <a:gd name="connsiteY70" fmla="*/ 2381 h 1120774"/>
                  <a:gd name="connsiteX71" fmla="*/ 34925 w 1927225"/>
                  <a:gd name="connsiteY71" fmla="*/ 47624 h 1120774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34925 w 1927225"/>
                  <a:gd name="connsiteY71" fmla="*/ 85725 h 1158875"/>
                  <a:gd name="connsiteX0" fmla="*/ 34925 w 1927225"/>
                  <a:gd name="connsiteY0" fmla="*/ 88104 h 1161254"/>
                  <a:gd name="connsiteX1" fmla="*/ 15875 w 1927225"/>
                  <a:gd name="connsiteY1" fmla="*/ 103979 h 1161254"/>
                  <a:gd name="connsiteX2" fmla="*/ 3175 w 1927225"/>
                  <a:gd name="connsiteY2" fmla="*/ 135729 h 1161254"/>
                  <a:gd name="connsiteX3" fmla="*/ 0 w 1927225"/>
                  <a:gd name="connsiteY3" fmla="*/ 167479 h 1161254"/>
                  <a:gd name="connsiteX4" fmla="*/ 3175 w 1927225"/>
                  <a:gd name="connsiteY4" fmla="*/ 199229 h 1161254"/>
                  <a:gd name="connsiteX5" fmla="*/ 38100 w 1927225"/>
                  <a:gd name="connsiteY5" fmla="*/ 234154 h 1161254"/>
                  <a:gd name="connsiteX6" fmla="*/ 82550 w 1927225"/>
                  <a:gd name="connsiteY6" fmla="*/ 189704 h 1161254"/>
                  <a:gd name="connsiteX7" fmla="*/ 120650 w 1927225"/>
                  <a:gd name="connsiteY7" fmla="*/ 234154 h 1161254"/>
                  <a:gd name="connsiteX8" fmla="*/ 177800 w 1927225"/>
                  <a:gd name="connsiteY8" fmla="*/ 237329 h 1161254"/>
                  <a:gd name="connsiteX9" fmla="*/ 222250 w 1927225"/>
                  <a:gd name="connsiteY9" fmla="*/ 262729 h 1161254"/>
                  <a:gd name="connsiteX10" fmla="*/ 228600 w 1927225"/>
                  <a:gd name="connsiteY10" fmla="*/ 291304 h 1161254"/>
                  <a:gd name="connsiteX11" fmla="*/ 231775 w 1927225"/>
                  <a:gd name="connsiteY11" fmla="*/ 310354 h 1161254"/>
                  <a:gd name="connsiteX12" fmla="*/ 228600 w 1927225"/>
                  <a:gd name="connsiteY12" fmla="*/ 342104 h 1161254"/>
                  <a:gd name="connsiteX13" fmla="*/ 257175 w 1927225"/>
                  <a:gd name="connsiteY13" fmla="*/ 370679 h 1161254"/>
                  <a:gd name="connsiteX14" fmla="*/ 279400 w 1927225"/>
                  <a:gd name="connsiteY14" fmla="*/ 418304 h 1161254"/>
                  <a:gd name="connsiteX15" fmla="*/ 279400 w 1927225"/>
                  <a:gd name="connsiteY15" fmla="*/ 459579 h 1161254"/>
                  <a:gd name="connsiteX16" fmla="*/ 279400 w 1927225"/>
                  <a:gd name="connsiteY16" fmla="*/ 491329 h 1161254"/>
                  <a:gd name="connsiteX17" fmla="*/ 333375 w 1927225"/>
                  <a:gd name="connsiteY17" fmla="*/ 602454 h 1161254"/>
                  <a:gd name="connsiteX18" fmla="*/ 346075 w 1927225"/>
                  <a:gd name="connsiteY18" fmla="*/ 624679 h 1161254"/>
                  <a:gd name="connsiteX19" fmla="*/ 285750 w 1927225"/>
                  <a:gd name="connsiteY19" fmla="*/ 643729 h 1161254"/>
                  <a:gd name="connsiteX20" fmla="*/ 225425 w 1927225"/>
                  <a:gd name="connsiteY20" fmla="*/ 583404 h 1161254"/>
                  <a:gd name="connsiteX21" fmla="*/ 184150 w 1927225"/>
                  <a:gd name="connsiteY21" fmla="*/ 634204 h 1161254"/>
                  <a:gd name="connsiteX22" fmla="*/ 314325 w 1927225"/>
                  <a:gd name="connsiteY22" fmla="*/ 745329 h 1161254"/>
                  <a:gd name="connsiteX23" fmla="*/ 352425 w 1927225"/>
                  <a:gd name="connsiteY23" fmla="*/ 716754 h 1161254"/>
                  <a:gd name="connsiteX24" fmla="*/ 403225 w 1927225"/>
                  <a:gd name="connsiteY24" fmla="*/ 707229 h 1161254"/>
                  <a:gd name="connsiteX25" fmla="*/ 469900 w 1927225"/>
                  <a:gd name="connsiteY25" fmla="*/ 716754 h 1161254"/>
                  <a:gd name="connsiteX26" fmla="*/ 615950 w 1927225"/>
                  <a:gd name="connsiteY26" fmla="*/ 665954 h 1161254"/>
                  <a:gd name="connsiteX27" fmla="*/ 803275 w 1927225"/>
                  <a:gd name="connsiteY27" fmla="*/ 599279 h 1161254"/>
                  <a:gd name="connsiteX28" fmla="*/ 911225 w 1927225"/>
                  <a:gd name="connsiteY28" fmla="*/ 656429 h 1161254"/>
                  <a:gd name="connsiteX29" fmla="*/ 1016000 w 1927225"/>
                  <a:gd name="connsiteY29" fmla="*/ 738979 h 1161254"/>
                  <a:gd name="connsiteX30" fmla="*/ 1092200 w 1927225"/>
                  <a:gd name="connsiteY30" fmla="*/ 688179 h 1161254"/>
                  <a:gd name="connsiteX31" fmla="*/ 1171575 w 1927225"/>
                  <a:gd name="connsiteY31" fmla="*/ 723104 h 1161254"/>
                  <a:gd name="connsiteX32" fmla="*/ 1200150 w 1927225"/>
                  <a:gd name="connsiteY32" fmla="*/ 729454 h 1161254"/>
                  <a:gd name="connsiteX33" fmla="*/ 1203325 w 1927225"/>
                  <a:gd name="connsiteY33" fmla="*/ 815179 h 1161254"/>
                  <a:gd name="connsiteX34" fmla="*/ 1219200 w 1927225"/>
                  <a:gd name="connsiteY34" fmla="*/ 850104 h 1161254"/>
                  <a:gd name="connsiteX35" fmla="*/ 1238250 w 1927225"/>
                  <a:gd name="connsiteY35" fmla="*/ 875504 h 1161254"/>
                  <a:gd name="connsiteX36" fmla="*/ 1231900 w 1927225"/>
                  <a:gd name="connsiteY36" fmla="*/ 954879 h 1161254"/>
                  <a:gd name="connsiteX37" fmla="*/ 1212850 w 1927225"/>
                  <a:gd name="connsiteY37" fmla="*/ 999329 h 1161254"/>
                  <a:gd name="connsiteX38" fmla="*/ 1209675 w 1927225"/>
                  <a:gd name="connsiteY38" fmla="*/ 1027904 h 1161254"/>
                  <a:gd name="connsiteX39" fmla="*/ 1282700 w 1927225"/>
                  <a:gd name="connsiteY39" fmla="*/ 1034254 h 1161254"/>
                  <a:gd name="connsiteX40" fmla="*/ 1311275 w 1927225"/>
                  <a:gd name="connsiteY40" fmla="*/ 1021554 h 1161254"/>
                  <a:gd name="connsiteX41" fmla="*/ 1352550 w 1927225"/>
                  <a:gd name="connsiteY41" fmla="*/ 1002504 h 1161254"/>
                  <a:gd name="connsiteX42" fmla="*/ 1425575 w 1927225"/>
                  <a:gd name="connsiteY42" fmla="*/ 1037429 h 1161254"/>
                  <a:gd name="connsiteX43" fmla="*/ 1457325 w 1927225"/>
                  <a:gd name="connsiteY43" fmla="*/ 992979 h 1161254"/>
                  <a:gd name="connsiteX44" fmla="*/ 1555750 w 1927225"/>
                  <a:gd name="connsiteY44" fmla="*/ 989804 h 1161254"/>
                  <a:gd name="connsiteX45" fmla="*/ 1616075 w 1927225"/>
                  <a:gd name="connsiteY45" fmla="*/ 1043779 h 1161254"/>
                  <a:gd name="connsiteX46" fmla="*/ 1676400 w 1927225"/>
                  <a:gd name="connsiteY46" fmla="*/ 973929 h 1161254"/>
                  <a:gd name="connsiteX47" fmla="*/ 1895475 w 1927225"/>
                  <a:gd name="connsiteY47" fmla="*/ 1161254 h 1161254"/>
                  <a:gd name="connsiteX48" fmla="*/ 1895475 w 1927225"/>
                  <a:gd name="connsiteY48" fmla="*/ 1161254 h 1161254"/>
                  <a:gd name="connsiteX49" fmla="*/ 1927225 w 1927225"/>
                  <a:gd name="connsiteY49" fmla="*/ 1139029 h 1161254"/>
                  <a:gd name="connsiteX50" fmla="*/ 1895475 w 1927225"/>
                  <a:gd name="connsiteY50" fmla="*/ 980279 h 1161254"/>
                  <a:gd name="connsiteX51" fmla="*/ 1778000 w 1927225"/>
                  <a:gd name="connsiteY51" fmla="*/ 926304 h 1161254"/>
                  <a:gd name="connsiteX52" fmla="*/ 1698625 w 1927225"/>
                  <a:gd name="connsiteY52" fmla="*/ 850104 h 1161254"/>
                  <a:gd name="connsiteX53" fmla="*/ 1679575 w 1927225"/>
                  <a:gd name="connsiteY53" fmla="*/ 732629 h 1161254"/>
                  <a:gd name="connsiteX54" fmla="*/ 1673225 w 1927225"/>
                  <a:gd name="connsiteY54" fmla="*/ 692942 h 1161254"/>
                  <a:gd name="connsiteX55" fmla="*/ 1694656 w 1927225"/>
                  <a:gd name="connsiteY55" fmla="*/ 645317 h 1161254"/>
                  <a:gd name="connsiteX56" fmla="*/ 1720850 w 1927225"/>
                  <a:gd name="connsiteY56" fmla="*/ 571498 h 1161254"/>
                  <a:gd name="connsiteX57" fmla="*/ 1747043 w 1927225"/>
                  <a:gd name="connsiteY57" fmla="*/ 528635 h 1161254"/>
                  <a:gd name="connsiteX58" fmla="*/ 1725613 w 1927225"/>
                  <a:gd name="connsiteY58" fmla="*/ 483392 h 1161254"/>
                  <a:gd name="connsiteX59" fmla="*/ 1716088 w 1927225"/>
                  <a:gd name="connsiteY59" fmla="*/ 431004 h 1161254"/>
                  <a:gd name="connsiteX60" fmla="*/ 1713706 w 1927225"/>
                  <a:gd name="connsiteY60" fmla="*/ 350042 h 1161254"/>
                  <a:gd name="connsiteX61" fmla="*/ 1713706 w 1927225"/>
                  <a:gd name="connsiteY61" fmla="*/ 309560 h 1161254"/>
                  <a:gd name="connsiteX62" fmla="*/ 1739900 w 1927225"/>
                  <a:gd name="connsiteY62" fmla="*/ 259554 h 1161254"/>
                  <a:gd name="connsiteX63" fmla="*/ 1680369 w 1927225"/>
                  <a:gd name="connsiteY63" fmla="*/ 216692 h 1161254"/>
                  <a:gd name="connsiteX64" fmla="*/ 1639888 w 1927225"/>
                  <a:gd name="connsiteY64" fmla="*/ 238123 h 1161254"/>
                  <a:gd name="connsiteX65" fmla="*/ 1558925 w 1927225"/>
                  <a:gd name="connsiteY65" fmla="*/ 195260 h 1161254"/>
                  <a:gd name="connsiteX66" fmla="*/ 1556544 w 1927225"/>
                  <a:gd name="connsiteY66" fmla="*/ 145254 h 1161254"/>
                  <a:gd name="connsiteX67" fmla="*/ 1563688 w 1927225"/>
                  <a:gd name="connsiteY67" fmla="*/ 95248 h 1161254"/>
                  <a:gd name="connsiteX68" fmla="*/ 1592263 w 1927225"/>
                  <a:gd name="connsiteY68" fmla="*/ 76197 h 1161254"/>
                  <a:gd name="connsiteX69" fmla="*/ 1537494 w 1927225"/>
                  <a:gd name="connsiteY69" fmla="*/ 40480 h 1161254"/>
                  <a:gd name="connsiteX70" fmla="*/ 1497013 w 1927225"/>
                  <a:gd name="connsiteY70" fmla="*/ 2379 h 1161254"/>
                  <a:gd name="connsiteX71" fmla="*/ 1427956 w 1927225"/>
                  <a:gd name="connsiteY71" fmla="*/ 0 h 1161254"/>
                  <a:gd name="connsiteX72" fmla="*/ 34925 w 1927225"/>
                  <a:gd name="connsiteY72" fmla="*/ 88104 h 1161254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34925 w 1927225"/>
                  <a:gd name="connsiteY72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6050 w 1927225"/>
                  <a:gd name="connsiteY72" fmla="*/ 40483 h 1158875"/>
                  <a:gd name="connsiteX73" fmla="*/ 34925 w 1927225"/>
                  <a:gd name="connsiteY73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34925 w 1927225"/>
                  <a:gd name="connsiteY73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77950 w 1927225"/>
                  <a:gd name="connsiteY73" fmla="*/ 47627 h 1158875"/>
                  <a:gd name="connsiteX74" fmla="*/ 34925 w 1927225"/>
                  <a:gd name="connsiteY74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34925 w 1927225"/>
                  <a:gd name="connsiteY74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56519 w 1927225"/>
                  <a:gd name="connsiteY74" fmla="*/ 66677 h 1158875"/>
                  <a:gd name="connsiteX75" fmla="*/ 34925 w 1927225"/>
                  <a:gd name="connsiteY75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34925 w 1927225"/>
                  <a:gd name="connsiteY75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89844 w 1927225"/>
                  <a:gd name="connsiteY75" fmla="*/ 23815 h 1158875"/>
                  <a:gd name="connsiteX76" fmla="*/ 34925 w 1927225"/>
                  <a:gd name="connsiteY76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34925 w 1927225"/>
                  <a:gd name="connsiteY76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185069 w 1927225"/>
                  <a:gd name="connsiteY76" fmla="*/ 138115 h 1158875"/>
                  <a:gd name="connsiteX77" fmla="*/ 34925 w 1927225"/>
                  <a:gd name="connsiteY77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34925 w 1927225"/>
                  <a:gd name="connsiteY77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4106 w 1927225"/>
                  <a:gd name="connsiteY77" fmla="*/ 200027 h 1158875"/>
                  <a:gd name="connsiteX78" fmla="*/ 34925 w 1927225"/>
                  <a:gd name="connsiteY78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34925 w 1927225"/>
                  <a:gd name="connsiteY78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1244 w 1927225"/>
                  <a:gd name="connsiteY78" fmla="*/ 119065 h 1158875"/>
                  <a:gd name="connsiteX79" fmla="*/ 34925 w 1927225"/>
                  <a:gd name="connsiteY79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34925 w 1927225"/>
                  <a:gd name="connsiteY79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27906 w 1927225"/>
                  <a:gd name="connsiteY79" fmla="*/ 57152 h 1158875"/>
                  <a:gd name="connsiteX80" fmla="*/ 34925 w 1927225"/>
                  <a:gd name="connsiteY80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34925 w 1927225"/>
                  <a:gd name="connsiteY80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73138 w 1927225"/>
                  <a:gd name="connsiteY80" fmla="*/ 80965 h 1158875"/>
                  <a:gd name="connsiteX81" fmla="*/ 34925 w 1927225"/>
                  <a:gd name="connsiteY81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34925 w 1927225"/>
                  <a:gd name="connsiteY81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87413 w 1927225"/>
                  <a:gd name="connsiteY81" fmla="*/ 50008 h 1158875"/>
                  <a:gd name="connsiteX82" fmla="*/ 34925 w 1927225"/>
                  <a:gd name="connsiteY82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34925 w 1927225"/>
                  <a:gd name="connsiteY82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08819 w 1927225"/>
                  <a:gd name="connsiteY82" fmla="*/ 119065 h 1158875"/>
                  <a:gd name="connsiteX83" fmla="*/ 34925 w 1927225"/>
                  <a:gd name="connsiteY83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34925 w 1927225"/>
                  <a:gd name="connsiteY83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54050 w 1927225"/>
                  <a:gd name="connsiteY83" fmla="*/ 121446 h 1158875"/>
                  <a:gd name="connsiteX84" fmla="*/ 34925 w 1927225"/>
                  <a:gd name="connsiteY84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34925 w 1927225"/>
                  <a:gd name="connsiteY84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44513 w 1927225"/>
                  <a:gd name="connsiteY84" fmla="*/ 176215 h 1158875"/>
                  <a:gd name="connsiteX85" fmla="*/ 34925 w 1927225"/>
                  <a:gd name="connsiteY85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75469 w 1927225"/>
                  <a:gd name="connsiteY84" fmla="*/ 188121 h 1158875"/>
                  <a:gd name="connsiteX85" fmla="*/ 34925 w 1927225"/>
                  <a:gd name="connsiteY85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75469 w 1927225"/>
                  <a:gd name="connsiteY84" fmla="*/ 188121 h 1158875"/>
                  <a:gd name="connsiteX85" fmla="*/ 520700 w 1927225"/>
                  <a:gd name="connsiteY85" fmla="*/ 176215 h 1158875"/>
                  <a:gd name="connsiteX86" fmla="*/ 34925 w 1927225"/>
                  <a:gd name="connsiteY86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75469 w 1927225"/>
                  <a:gd name="connsiteY84" fmla="*/ 188121 h 1158875"/>
                  <a:gd name="connsiteX85" fmla="*/ 523081 w 1927225"/>
                  <a:gd name="connsiteY85" fmla="*/ 211933 h 1158875"/>
                  <a:gd name="connsiteX86" fmla="*/ 34925 w 1927225"/>
                  <a:gd name="connsiteY86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75469 w 1927225"/>
                  <a:gd name="connsiteY84" fmla="*/ 188121 h 1158875"/>
                  <a:gd name="connsiteX85" fmla="*/ 523081 w 1927225"/>
                  <a:gd name="connsiteY85" fmla="*/ 211933 h 1158875"/>
                  <a:gd name="connsiteX86" fmla="*/ 415925 w 1927225"/>
                  <a:gd name="connsiteY86" fmla="*/ 185740 h 1158875"/>
                  <a:gd name="connsiteX87" fmla="*/ 34925 w 1927225"/>
                  <a:gd name="connsiteY87" fmla="*/ 85725 h 1158875"/>
                  <a:gd name="connsiteX0" fmla="*/ 34925 w 1927225"/>
                  <a:gd name="connsiteY0" fmla="*/ 85725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75469 w 1927225"/>
                  <a:gd name="connsiteY84" fmla="*/ 188121 h 1158875"/>
                  <a:gd name="connsiteX85" fmla="*/ 523081 w 1927225"/>
                  <a:gd name="connsiteY85" fmla="*/ 211933 h 1158875"/>
                  <a:gd name="connsiteX86" fmla="*/ 311150 w 1927225"/>
                  <a:gd name="connsiteY86" fmla="*/ 92871 h 1158875"/>
                  <a:gd name="connsiteX87" fmla="*/ 34925 w 1927225"/>
                  <a:gd name="connsiteY87" fmla="*/ 85725 h 1158875"/>
                  <a:gd name="connsiteX0" fmla="*/ 34925 w 1927225"/>
                  <a:gd name="connsiteY0" fmla="*/ 90487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895475 w 1927225"/>
                  <a:gd name="connsiteY47" fmla="*/ 1158875 h 1158875"/>
                  <a:gd name="connsiteX48" fmla="*/ 1895475 w 1927225"/>
                  <a:gd name="connsiteY48" fmla="*/ 1158875 h 1158875"/>
                  <a:gd name="connsiteX49" fmla="*/ 1927225 w 1927225"/>
                  <a:gd name="connsiteY49" fmla="*/ 1136650 h 1158875"/>
                  <a:gd name="connsiteX50" fmla="*/ 1895475 w 1927225"/>
                  <a:gd name="connsiteY50" fmla="*/ 977900 h 1158875"/>
                  <a:gd name="connsiteX51" fmla="*/ 1778000 w 1927225"/>
                  <a:gd name="connsiteY51" fmla="*/ 923925 h 1158875"/>
                  <a:gd name="connsiteX52" fmla="*/ 1698625 w 1927225"/>
                  <a:gd name="connsiteY52" fmla="*/ 847725 h 1158875"/>
                  <a:gd name="connsiteX53" fmla="*/ 1679575 w 1927225"/>
                  <a:gd name="connsiteY53" fmla="*/ 730250 h 1158875"/>
                  <a:gd name="connsiteX54" fmla="*/ 1673225 w 1927225"/>
                  <a:gd name="connsiteY54" fmla="*/ 690563 h 1158875"/>
                  <a:gd name="connsiteX55" fmla="*/ 1694656 w 1927225"/>
                  <a:gd name="connsiteY55" fmla="*/ 642938 h 1158875"/>
                  <a:gd name="connsiteX56" fmla="*/ 1720850 w 1927225"/>
                  <a:gd name="connsiteY56" fmla="*/ 569119 h 1158875"/>
                  <a:gd name="connsiteX57" fmla="*/ 1747043 w 1927225"/>
                  <a:gd name="connsiteY57" fmla="*/ 526256 h 1158875"/>
                  <a:gd name="connsiteX58" fmla="*/ 1725613 w 1927225"/>
                  <a:gd name="connsiteY58" fmla="*/ 481013 h 1158875"/>
                  <a:gd name="connsiteX59" fmla="*/ 1716088 w 1927225"/>
                  <a:gd name="connsiteY59" fmla="*/ 428625 h 1158875"/>
                  <a:gd name="connsiteX60" fmla="*/ 1713706 w 1927225"/>
                  <a:gd name="connsiteY60" fmla="*/ 347663 h 1158875"/>
                  <a:gd name="connsiteX61" fmla="*/ 1713706 w 1927225"/>
                  <a:gd name="connsiteY61" fmla="*/ 307181 h 1158875"/>
                  <a:gd name="connsiteX62" fmla="*/ 1739900 w 1927225"/>
                  <a:gd name="connsiteY62" fmla="*/ 257175 h 1158875"/>
                  <a:gd name="connsiteX63" fmla="*/ 1680369 w 1927225"/>
                  <a:gd name="connsiteY63" fmla="*/ 214313 h 1158875"/>
                  <a:gd name="connsiteX64" fmla="*/ 1639888 w 1927225"/>
                  <a:gd name="connsiteY64" fmla="*/ 235744 h 1158875"/>
                  <a:gd name="connsiteX65" fmla="*/ 1558925 w 1927225"/>
                  <a:gd name="connsiteY65" fmla="*/ 192881 h 1158875"/>
                  <a:gd name="connsiteX66" fmla="*/ 1556544 w 1927225"/>
                  <a:gd name="connsiteY66" fmla="*/ 142875 h 1158875"/>
                  <a:gd name="connsiteX67" fmla="*/ 1563688 w 1927225"/>
                  <a:gd name="connsiteY67" fmla="*/ 92869 h 1158875"/>
                  <a:gd name="connsiteX68" fmla="*/ 1592263 w 1927225"/>
                  <a:gd name="connsiteY68" fmla="*/ 73818 h 1158875"/>
                  <a:gd name="connsiteX69" fmla="*/ 1537494 w 1927225"/>
                  <a:gd name="connsiteY69" fmla="*/ 38101 h 1158875"/>
                  <a:gd name="connsiteX70" fmla="*/ 1497013 w 1927225"/>
                  <a:gd name="connsiteY70" fmla="*/ 0 h 1158875"/>
                  <a:gd name="connsiteX71" fmla="*/ 1470819 w 1927225"/>
                  <a:gd name="connsiteY71" fmla="*/ 40483 h 1158875"/>
                  <a:gd name="connsiteX72" fmla="*/ 1411288 w 1927225"/>
                  <a:gd name="connsiteY72" fmla="*/ 45245 h 1158875"/>
                  <a:gd name="connsiteX73" fmla="*/ 1394619 w 1927225"/>
                  <a:gd name="connsiteY73" fmla="*/ 61915 h 1158875"/>
                  <a:gd name="connsiteX74" fmla="*/ 1349375 w 1927225"/>
                  <a:gd name="connsiteY74" fmla="*/ 23814 h 1158875"/>
                  <a:gd name="connsiteX75" fmla="*/ 1261269 w 1927225"/>
                  <a:gd name="connsiteY75" fmla="*/ 145258 h 1158875"/>
                  <a:gd name="connsiteX76" fmla="*/ 1208881 w 1927225"/>
                  <a:gd name="connsiteY76" fmla="*/ 207171 h 1158875"/>
                  <a:gd name="connsiteX77" fmla="*/ 1106488 w 1927225"/>
                  <a:gd name="connsiteY77" fmla="*/ 123827 h 1158875"/>
                  <a:gd name="connsiteX78" fmla="*/ 1068387 w 1927225"/>
                  <a:gd name="connsiteY78" fmla="*/ 54771 h 1158875"/>
                  <a:gd name="connsiteX79" fmla="*/ 1030288 w 1927225"/>
                  <a:gd name="connsiteY79" fmla="*/ 83346 h 1158875"/>
                  <a:gd name="connsiteX80" fmla="*/ 961231 w 1927225"/>
                  <a:gd name="connsiteY80" fmla="*/ 47627 h 1158875"/>
                  <a:gd name="connsiteX81" fmla="*/ 863600 w 1927225"/>
                  <a:gd name="connsiteY81" fmla="*/ 128590 h 1158875"/>
                  <a:gd name="connsiteX82" fmla="*/ 737394 w 1927225"/>
                  <a:gd name="connsiteY82" fmla="*/ 126208 h 1158875"/>
                  <a:gd name="connsiteX83" fmla="*/ 625475 w 1927225"/>
                  <a:gd name="connsiteY83" fmla="*/ 195265 h 1158875"/>
                  <a:gd name="connsiteX84" fmla="*/ 575469 w 1927225"/>
                  <a:gd name="connsiteY84" fmla="*/ 188121 h 1158875"/>
                  <a:gd name="connsiteX85" fmla="*/ 523081 w 1927225"/>
                  <a:gd name="connsiteY85" fmla="*/ 211933 h 1158875"/>
                  <a:gd name="connsiteX86" fmla="*/ 311150 w 1927225"/>
                  <a:gd name="connsiteY86" fmla="*/ 92871 h 1158875"/>
                  <a:gd name="connsiteX87" fmla="*/ 34925 w 1927225"/>
                  <a:gd name="connsiteY87" fmla="*/ 90487 h 1158875"/>
                  <a:gd name="connsiteX0" fmla="*/ 34925 w 1927225"/>
                  <a:gd name="connsiteY0" fmla="*/ 90487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797050 w 1927225"/>
                  <a:gd name="connsiteY47" fmla="*/ 1073946 h 1158875"/>
                  <a:gd name="connsiteX48" fmla="*/ 1895475 w 1927225"/>
                  <a:gd name="connsiteY48" fmla="*/ 1158875 h 1158875"/>
                  <a:gd name="connsiteX49" fmla="*/ 1895475 w 1927225"/>
                  <a:gd name="connsiteY49" fmla="*/ 1158875 h 1158875"/>
                  <a:gd name="connsiteX50" fmla="*/ 1927225 w 1927225"/>
                  <a:gd name="connsiteY50" fmla="*/ 1136650 h 1158875"/>
                  <a:gd name="connsiteX51" fmla="*/ 1895475 w 1927225"/>
                  <a:gd name="connsiteY51" fmla="*/ 977900 h 1158875"/>
                  <a:gd name="connsiteX52" fmla="*/ 1778000 w 1927225"/>
                  <a:gd name="connsiteY52" fmla="*/ 923925 h 1158875"/>
                  <a:gd name="connsiteX53" fmla="*/ 1698625 w 1927225"/>
                  <a:gd name="connsiteY53" fmla="*/ 847725 h 1158875"/>
                  <a:gd name="connsiteX54" fmla="*/ 1679575 w 1927225"/>
                  <a:gd name="connsiteY54" fmla="*/ 730250 h 1158875"/>
                  <a:gd name="connsiteX55" fmla="*/ 1673225 w 1927225"/>
                  <a:gd name="connsiteY55" fmla="*/ 690563 h 1158875"/>
                  <a:gd name="connsiteX56" fmla="*/ 1694656 w 1927225"/>
                  <a:gd name="connsiteY56" fmla="*/ 642938 h 1158875"/>
                  <a:gd name="connsiteX57" fmla="*/ 1720850 w 1927225"/>
                  <a:gd name="connsiteY57" fmla="*/ 569119 h 1158875"/>
                  <a:gd name="connsiteX58" fmla="*/ 1747043 w 1927225"/>
                  <a:gd name="connsiteY58" fmla="*/ 526256 h 1158875"/>
                  <a:gd name="connsiteX59" fmla="*/ 1725613 w 1927225"/>
                  <a:gd name="connsiteY59" fmla="*/ 481013 h 1158875"/>
                  <a:gd name="connsiteX60" fmla="*/ 1716088 w 1927225"/>
                  <a:gd name="connsiteY60" fmla="*/ 428625 h 1158875"/>
                  <a:gd name="connsiteX61" fmla="*/ 1713706 w 1927225"/>
                  <a:gd name="connsiteY61" fmla="*/ 347663 h 1158875"/>
                  <a:gd name="connsiteX62" fmla="*/ 1713706 w 1927225"/>
                  <a:gd name="connsiteY62" fmla="*/ 307181 h 1158875"/>
                  <a:gd name="connsiteX63" fmla="*/ 1739900 w 1927225"/>
                  <a:gd name="connsiteY63" fmla="*/ 257175 h 1158875"/>
                  <a:gd name="connsiteX64" fmla="*/ 1680369 w 1927225"/>
                  <a:gd name="connsiteY64" fmla="*/ 214313 h 1158875"/>
                  <a:gd name="connsiteX65" fmla="*/ 1639888 w 1927225"/>
                  <a:gd name="connsiteY65" fmla="*/ 235744 h 1158875"/>
                  <a:gd name="connsiteX66" fmla="*/ 1558925 w 1927225"/>
                  <a:gd name="connsiteY66" fmla="*/ 192881 h 1158875"/>
                  <a:gd name="connsiteX67" fmla="*/ 1556544 w 1927225"/>
                  <a:gd name="connsiteY67" fmla="*/ 142875 h 1158875"/>
                  <a:gd name="connsiteX68" fmla="*/ 1563688 w 1927225"/>
                  <a:gd name="connsiteY68" fmla="*/ 92869 h 1158875"/>
                  <a:gd name="connsiteX69" fmla="*/ 1592263 w 1927225"/>
                  <a:gd name="connsiteY69" fmla="*/ 73818 h 1158875"/>
                  <a:gd name="connsiteX70" fmla="*/ 1537494 w 1927225"/>
                  <a:gd name="connsiteY70" fmla="*/ 38101 h 1158875"/>
                  <a:gd name="connsiteX71" fmla="*/ 1497013 w 1927225"/>
                  <a:gd name="connsiteY71" fmla="*/ 0 h 1158875"/>
                  <a:gd name="connsiteX72" fmla="*/ 1470819 w 1927225"/>
                  <a:gd name="connsiteY72" fmla="*/ 40483 h 1158875"/>
                  <a:gd name="connsiteX73" fmla="*/ 1411288 w 1927225"/>
                  <a:gd name="connsiteY73" fmla="*/ 45245 h 1158875"/>
                  <a:gd name="connsiteX74" fmla="*/ 1394619 w 1927225"/>
                  <a:gd name="connsiteY74" fmla="*/ 61915 h 1158875"/>
                  <a:gd name="connsiteX75" fmla="*/ 1349375 w 1927225"/>
                  <a:gd name="connsiteY75" fmla="*/ 23814 h 1158875"/>
                  <a:gd name="connsiteX76" fmla="*/ 1261269 w 1927225"/>
                  <a:gd name="connsiteY76" fmla="*/ 145258 h 1158875"/>
                  <a:gd name="connsiteX77" fmla="*/ 1208881 w 1927225"/>
                  <a:gd name="connsiteY77" fmla="*/ 207171 h 1158875"/>
                  <a:gd name="connsiteX78" fmla="*/ 1106488 w 1927225"/>
                  <a:gd name="connsiteY78" fmla="*/ 123827 h 1158875"/>
                  <a:gd name="connsiteX79" fmla="*/ 1068387 w 1927225"/>
                  <a:gd name="connsiteY79" fmla="*/ 54771 h 1158875"/>
                  <a:gd name="connsiteX80" fmla="*/ 1030288 w 1927225"/>
                  <a:gd name="connsiteY80" fmla="*/ 83346 h 1158875"/>
                  <a:gd name="connsiteX81" fmla="*/ 961231 w 1927225"/>
                  <a:gd name="connsiteY81" fmla="*/ 47627 h 1158875"/>
                  <a:gd name="connsiteX82" fmla="*/ 863600 w 1927225"/>
                  <a:gd name="connsiteY82" fmla="*/ 128590 h 1158875"/>
                  <a:gd name="connsiteX83" fmla="*/ 737394 w 1927225"/>
                  <a:gd name="connsiteY83" fmla="*/ 126208 h 1158875"/>
                  <a:gd name="connsiteX84" fmla="*/ 625475 w 1927225"/>
                  <a:gd name="connsiteY84" fmla="*/ 195265 h 1158875"/>
                  <a:gd name="connsiteX85" fmla="*/ 575469 w 1927225"/>
                  <a:gd name="connsiteY85" fmla="*/ 188121 h 1158875"/>
                  <a:gd name="connsiteX86" fmla="*/ 523081 w 1927225"/>
                  <a:gd name="connsiteY86" fmla="*/ 211933 h 1158875"/>
                  <a:gd name="connsiteX87" fmla="*/ 311150 w 1927225"/>
                  <a:gd name="connsiteY87" fmla="*/ 92871 h 1158875"/>
                  <a:gd name="connsiteX88" fmla="*/ 34925 w 1927225"/>
                  <a:gd name="connsiteY88" fmla="*/ 90487 h 1158875"/>
                  <a:gd name="connsiteX0" fmla="*/ 34925 w 1927225"/>
                  <a:gd name="connsiteY0" fmla="*/ 90487 h 1158875"/>
                  <a:gd name="connsiteX1" fmla="*/ 15875 w 1927225"/>
                  <a:gd name="connsiteY1" fmla="*/ 101600 h 1158875"/>
                  <a:gd name="connsiteX2" fmla="*/ 3175 w 1927225"/>
                  <a:gd name="connsiteY2" fmla="*/ 133350 h 1158875"/>
                  <a:gd name="connsiteX3" fmla="*/ 0 w 1927225"/>
                  <a:gd name="connsiteY3" fmla="*/ 165100 h 1158875"/>
                  <a:gd name="connsiteX4" fmla="*/ 3175 w 1927225"/>
                  <a:gd name="connsiteY4" fmla="*/ 196850 h 1158875"/>
                  <a:gd name="connsiteX5" fmla="*/ 38100 w 1927225"/>
                  <a:gd name="connsiteY5" fmla="*/ 231775 h 1158875"/>
                  <a:gd name="connsiteX6" fmla="*/ 82550 w 1927225"/>
                  <a:gd name="connsiteY6" fmla="*/ 187325 h 1158875"/>
                  <a:gd name="connsiteX7" fmla="*/ 120650 w 1927225"/>
                  <a:gd name="connsiteY7" fmla="*/ 231775 h 1158875"/>
                  <a:gd name="connsiteX8" fmla="*/ 177800 w 1927225"/>
                  <a:gd name="connsiteY8" fmla="*/ 234950 h 1158875"/>
                  <a:gd name="connsiteX9" fmla="*/ 222250 w 1927225"/>
                  <a:gd name="connsiteY9" fmla="*/ 260350 h 1158875"/>
                  <a:gd name="connsiteX10" fmla="*/ 228600 w 1927225"/>
                  <a:gd name="connsiteY10" fmla="*/ 288925 h 1158875"/>
                  <a:gd name="connsiteX11" fmla="*/ 231775 w 1927225"/>
                  <a:gd name="connsiteY11" fmla="*/ 307975 h 1158875"/>
                  <a:gd name="connsiteX12" fmla="*/ 228600 w 1927225"/>
                  <a:gd name="connsiteY12" fmla="*/ 339725 h 1158875"/>
                  <a:gd name="connsiteX13" fmla="*/ 257175 w 1927225"/>
                  <a:gd name="connsiteY13" fmla="*/ 368300 h 1158875"/>
                  <a:gd name="connsiteX14" fmla="*/ 279400 w 1927225"/>
                  <a:gd name="connsiteY14" fmla="*/ 415925 h 1158875"/>
                  <a:gd name="connsiteX15" fmla="*/ 279400 w 1927225"/>
                  <a:gd name="connsiteY15" fmla="*/ 457200 h 1158875"/>
                  <a:gd name="connsiteX16" fmla="*/ 279400 w 1927225"/>
                  <a:gd name="connsiteY16" fmla="*/ 488950 h 1158875"/>
                  <a:gd name="connsiteX17" fmla="*/ 333375 w 1927225"/>
                  <a:gd name="connsiteY17" fmla="*/ 600075 h 1158875"/>
                  <a:gd name="connsiteX18" fmla="*/ 346075 w 1927225"/>
                  <a:gd name="connsiteY18" fmla="*/ 622300 h 1158875"/>
                  <a:gd name="connsiteX19" fmla="*/ 285750 w 1927225"/>
                  <a:gd name="connsiteY19" fmla="*/ 641350 h 1158875"/>
                  <a:gd name="connsiteX20" fmla="*/ 225425 w 1927225"/>
                  <a:gd name="connsiteY20" fmla="*/ 581025 h 1158875"/>
                  <a:gd name="connsiteX21" fmla="*/ 184150 w 1927225"/>
                  <a:gd name="connsiteY21" fmla="*/ 631825 h 1158875"/>
                  <a:gd name="connsiteX22" fmla="*/ 314325 w 1927225"/>
                  <a:gd name="connsiteY22" fmla="*/ 742950 h 1158875"/>
                  <a:gd name="connsiteX23" fmla="*/ 352425 w 1927225"/>
                  <a:gd name="connsiteY23" fmla="*/ 714375 h 1158875"/>
                  <a:gd name="connsiteX24" fmla="*/ 403225 w 1927225"/>
                  <a:gd name="connsiteY24" fmla="*/ 704850 h 1158875"/>
                  <a:gd name="connsiteX25" fmla="*/ 469900 w 1927225"/>
                  <a:gd name="connsiteY25" fmla="*/ 714375 h 1158875"/>
                  <a:gd name="connsiteX26" fmla="*/ 615950 w 1927225"/>
                  <a:gd name="connsiteY26" fmla="*/ 663575 h 1158875"/>
                  <a:gd name="connsiteX27" fmla="*/ 803275 w 1927225"/>
                  <a:gd name="connsiteY27" fmla="*/ 596900 h 1158875"/>
                  <a:gd name="connsiteX28" fmla="*/ 911225 w 1927225"/>
                  <a:gd name="connsiteY28" fmla="*/ 654050 h 1158875"/>
                  <a:gd name="connsiteX29" fmla="*/ 1016000 w 1927225"/>
                  <a:gd name="connsiteY29" fmla="*/ 736600 h 1158875"/>
                  <a:gd name="connsiteX30" fmla="*/ 1092200 w 1927225"/>
                  <a:gd name="connsiteY30" fmla="*/ 685800 h 1158875"/>
                  <a:gd name="connsiteX31" fmla="*/ 1171575 w 1927225"/>
                  <a:gd name="connsiteY31" fmla="*/ 720725 h 1158875"/>
                  <a:gd name="connsiteX32" fmla="*/ 1200150 w 1927225"/>
                  <a:gd name="connsiteY32" fmla="*/ 727075 h 1158875"/>
                  <a:gd name="connsiteX33" fmla="*/ 1203325 w 1927225"/>
                  <a:gd name="connsiteY33" fmla="*/ 812800 h 1158875"/>
                  <a:gd name="connsiteX34" fmla="*/ 1219200 w 1927225"/>
                  <a:gd name="connsiteY34" fmla="*/ 847725 h 1158875"/>
                  <a:gd name="connsiteX35" fmla="*/ 1238250 w 1927225"/>
                  <a:gd name="connsiteY35" fmla="*/ 873125 h 1158875"/>
                  <a:gd name="connsiteX36" fmla="*/ 1231900 w 1927225"/>
                  <a:gd name="connsiteY36" fmla="*/ 952500 h 1158875"/>
                  <a:gd name="connsiteX37" fmla="*/ 1212850 w 1927225"/>
                  <a:gd name="connsiteY37" fmla="*/ 996950 h 1158875"/>
                  <a:gd name="connsiteX38" fmla="*/ 1209675 w 1927225"/>
                  <a:gd name="connsiteY38" fmla="*/ 1025525 h 1158875"/>
                  <a:gd name="connsiteX39" fmla="*/ 1282700 w 1927225"/>
                  <a:gd name="connsiteY39" fmla="*/ 1031875 h 1158875"/>
                  <a:gd name="connsiteX40" fmla="*/ 1311275 w 1927225"/>
                  <a:gd name="connsiteY40" fmla="*/ 1019175 h 1158875"/>
                  <a:gd name="connsiteX41" fmla="*/ 1352550 w 1927225"/>
                  <a:gd name="connsiteY41" fmla="*/ 1000125 h 1158875"/>
                  <a:gd name="connsiteX42" fmla="*/ 1425575 w 1927225"/>
                  <a:gd name="connsiteY42" fmla="*/ 1035050 h 1158875"/>
                  <a:gd name="connsiteX43" fmla="*/ 1457325 w 1927225"/>
                  <a:gd name="connsiteY43" fmla="*/ 990600 h 1158875"/>
                  <a:gd name="connsiteX44" fmla="*/ 1555750 w 1927225"/>
                  <a:gd name="connsiteY44" fmla="*/ 987425 h 1158875"/>
                  <a:gd name="connsiteX45" fmla="*/ 1616075 w 1927225"/>
                  <a:gd name="connsiteY45" fmla="*/ 1041400 h 1158875"/>
                  <a:gd name="connsiteX46" fmla="*/ 1676400 w 1927225"/>
                  <a:gd name="connsiteY46" fmla="*/ 971550 h 1158875"/>
                  <a:gd name="connsiteX47" fmla="*/ 1763712 w 1927225"/>
                  <a:gd name="connsiteY47" fmla="*/ 1085852 h 1158875"/>
                  <a:gd name="connsiteX48" fmla="*/ 1895475 w 1927225"/>
                  <a:gd name="connsiteY48" fmla="*/ 1158875 h 1158875"/>
                  <a:gd name="connsiteX49" fmla="*/ 1895475 w 1927225"/>
                  <a:gd name="connsiteY49" fmla="*/ 1158875 h 1158875"/>
                  <a:gd name="connsiteX50" fmla="*/ 1927225 w 1927225"/>
                  <a:gd name="connsiteY50" fmla="*/ 1136650 h 1158875"/>
                  <a:gd name="connsiteX51" fmla="*/ 1895475 w 1927225"/>
                  <a:gd name="connsiteY51" fmla="*/ 977900 h 1158875"/>
                  <a:gd name="connsiteX52" fmla="*/ 1778000 w 1927225"/>
                  <a:gd name="connsiteY52" fmla="*/ 923925 h 1158875"/>
                  <a:gd name="connsiteX53" fmla="*/ 1698625 w 1927225"/>
                  <a:gd name="connsiteY53" fmla="*/ 847725 h 1158875"/>
                  <a:gd name="connsiteX54" fmla="*/ 1679575 w 1927225"/>
                  <a:gd name="connsiteY54" fmla="*/ 730250 h 1158875"/>
                  <a:gd name="connsiteX55" fmla="*/ 1673225 w 1927225"/>
                  <a:gd name="connsiteY55" fmla="*/ 690563 h 1158875"/>
                  <a:gd name="connsiteX56" fmla="*/ 1694656 w 1927225"/>
                  <a:gd name="connsiteY56" fmla="*/ 642938 h 1158875"/>
                  <a:gd name="connsiteX57" fmla="*/ 1720850 w 1927225"/>
                  <a:gd name="connsiteY57" fmla="*/ 569119 h 1158875"/>
                  <a:gd name="connsiteX58" fmla="*/ 1747043 w 1927225"/>
                  <a:gd name="connsiteY58" fmla="*/ 526256 h 1158875"/>
                  <a:gd name="connsiteX59" fmla="*/ 1725613 w 1927225"/>
                  <a:gd name="connsiteY59" fmla="*/ 481013 h 1158875"/>
                  <a:gd name="connsiteX60" fmla="*/ 1716088 w 1927225"/>
                  <a:gd name="connsiteY60" fmla="*/ 428625 h 1158875"/>
                  <a:gd name="connsiteX61" fmla="*/ 1713706 w 1927225"/>
                  <a:gd name="connsiteY61" fmla="*/ 347663 h 1158875"/>
                  <a:gd name="connsiteX62" fmla="*/ 1713706 w 1927225"/>
                  <a:gd name="connsiteY62" fmla="*/ 307181 h 1158875"/>
                  <a:gd name="connsiteX63" fmla="*/ 1739900 w 1927225"/>
                  <a:gd name="connsiteY63" fmla="*/ 257175 h 1158875"/>
                  <a:gd name="connsiteX64" fmla="*/ 1680369 w 1927225"/>
                  <a:gd name="connsiteY64" fmla="*/ 214313 h 1158875"/>
                  <a:gd name="connsiteX65" fmla="*/ 1639888 w 1927225"/>
                  <a:gd name="connsiteY65" fmla="*/ 235744 h 1158875"/>
                  <a:gd name="connsiteX66" fmla="*/ 1558925 w 1927225"/>
                  <a:gd name="connsiteY66" fmla="*/ 192881 h 1158875"/>
                  <a:gd name="connsiteX67" fmla="*/ 1556544 w 1927225"/>
                  <a:gd name="connsiteY67" fmla="*/ 142875 h 1158875"/>
                  <a:gd name="connsiteX68" fmla="*/ 1563688 w 1927225"/>
                  <a:gd name="connsiteY68" fmla="*/ 92869 h 1158875"/>
                  <a:gd name="connsiteX69" fmla="*/ 1592263 w 1927225"/>
                  <a:gd name="connsiteY69" fmla="*/ 73818 h 1158875"/>
                  <a:gd name="connsiteX70" fmla="*/ 1537494 w 1927225"/>
                  <a:gd name="connsiteY70" fmla="*/ 38101 h 1158875"/>
                  <a:gd name="connsiteX71" fmla="*/ 1497013 w 1927225"/>
                  <a:gd name="connsiteY71" fmla="*/ 0 h 1158875"/>
                  <a:gd name="connsiteX72" fmla="*/ 1470819 w 1927225"/>
                  <a:gd name="connsiteY72" fmla="*/ 40483 h 1158875"/>
                  <a:gd name="connsiteX73" fmla="*/ 1411288 w 1927225"/>
                  <a:gd name="connsiteY73" fmla="*/ 45245 h 1158875"/>
                  <a:gd name="connsiteX74" fmla="*/ 1394619 w 1927225"/>
                  <a:gd name="connsiteY74" fmla="*/ 61915 h 1158875"/>
                  <a:gd name="connsiteX75" fmla="*/ 1349375 w 1927225"/>
                  <a:gd name="connsiteY75" fmla="*/ 23814 h 1158875"/>
                  <a:gd name="connsiteX76" fmla="*/ 1261269 w 1927225"/>
                  <a:gd name="connsiteY76" fmla="*/ 145258 h 1158875"/>
                  <a:gd name="connsiteX77" fmla="*/ 1208881 w 1927225"/>
                  <a:gd name="connsiteY77" fmla="*/ 207171 h 1158875"/>
                  <a:gd name="connsiteX78" fmla="*/ 1106488 w 1927225"/>
                  <a:gd name="connsiteY78" fmla="*/ 123827 h 1158875"/>
                  <a:gd name="connsiteX79" fmla="*/ 1068387 w 1927225"/>
                  <a:gd name="connsiteY79" fmla="*/ 54771 h 1158875"/>
                  <a:gd name="connsiteX80" fmla="*/ 1030288 w 1927225"/>
                  <a:gd name="connsiteY80" fmla="*/ 83346 h 1158875"/>
                  <a:gd name="connsiteX81" fmla="*/ 961231 w 1927225"/>
                  <a:gd name="connsiteY81" fmla="*/ 47627 h 1158875"/>
                  <a:gd name="connsiteX82" fmla="*/ 863600 w 1927225"/>
                  <a:gd name="connsiteY82" fmla="*/ 128590 h 1158875"/>
                  <a:gd name="connsiteX83" fmla="*/ 737394 w 1927225"/>
                  <a:gd name="connsiteY83" fmla="*/ 126208 h 1158875"/>
                  <a:gd name="connsiteX84" fmla="*/ 625475 w 1927225"/>
                  <a:gd name="connsiteY84" fmla="*/ 195265 h 1158875"/>
                  <a:gd name="connsiteX85" fmla="*/ 575469 w 1927225"/>
                  <a:gd name="connsiteY85" fmla="*/ 188121 h 1158875"/>
                  <a:gd name="connsiteX86" fmla="*/ 523081 w 1927225"/>
                  <a:gd name="connsiteY86" fmla="*/ 211933 h 1158875"/>
                  <a:gd name="connsiteX87" fmla="*/ 311150 w 1927225"/>
                  <a:gd name="connsiteY87" fmla="*/ 92871 h 1158875"/>
                  <a:gd name="connsiteX88" fmla="*/ 34925 w 1927225"/>
                  <a:gd name="connsiteY88" fmla="*/ 90487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1927225" h="1158875">
                    <a:moveTo>
                      <a:pt x="34925" y="90487"/>
                    </a:moveTo>
                    <a:lnTo>
                      <a:pt x="15875" y="101600"/>
                    </a:lnTo>
                    <a:lnTo>
                      <a:pt x="3175" y="133350"/>
                    </a:lnTo>
                    <a:lnTo>
                      <a:pt x="0" y="165100"/>
                    </a:lnTo>
                    <a:lnTo>
                      <a:pt x="3175" y="196850"/>
                    </a:lnTo>
                    <a:lnTo>
                      <a:pt x="38100" y="231775"/>
                    </a:lnTo>
                    <a:lnTo>
                      <a:pt x="82550" y="187325"/>
                    </a:lnTo>
                    <a:lnTo>
                      <a:pt x="120650" y="231775"/>
                    </a:lnTo>
                    <a:lnTo>
                      <a:pt x="177800" y="234950"/>
                    </a:lnTo>
                    <a:lnTo>
                      <a:pt x="222250" y="260350"/>
                    </a:lnTo>
                    <a:lnTo>
                      <a:pt x="228600" y="288925"/>
                    </a:lnTo>
                    <a:lnTo>
                      <a:pt x="231775" y="307975"/>
                    </a:lnTo>
                    <a:lnTo>
                      <a:pt x="228600" y="339725"/>
                    </a:lnTo>
                    <a:lnTo>
                      <a:pt x="257175" y="368300"/>
                    </a:lnTo>
                    <a:lnTo>
                      <a:pt x="279400" y="415925"/>
                    </a:lnTo>
                    <a:lnTo>
                      <a:pt x="279400" y="457200"/>
                    </a:lnTo>
                    <a:lnTo>
                      <a:pt x="279400" y="488950"/>
                    </a:lnTo>
                    <a:lnTo>
                      <a:pt x="333375" y="600075"/>
                    </a:lnTo>
                    <a:lnTo>
                      <a:pt x="346075" y="622300"/>
                    </a:lnTo>
                    <a:lnTo>
                      <a:pt x="285750" y="641350"/>
                    </a:lnTo>
                    <a:lnTo>
                      <a:pt x="225425" y="581025"/>
                    </a:lnTo>
                    <a:lnTo>
                      <a:pt x="184150" y="631825"/>
                    </a:lnTo>
                    <a:lnTo>
                      <a:pt x="314325" y="742950"/>
                    </a:lnTo>
                    <a:lnTo>
                      <a:pt x="352425" y="714375"/>
                    </a:lnTo>
                    <a:lnTo>
                      <a:pt x="403225" y="704850"/>
                    </a:lnTo>
                    <a:lnTo>
                      <a:pt x="469900" y="714375"/>
                    </a:lnTo>
                    <a:lnTo>
                      <a:pt x="615950" y="663575"/>
                    </a:lnTo>
                    <a:lnTo>
                      <a:pt x="803275" y="596900"/>
                    </a:lnTo>
                    <a:lnTo>
                      <a:pt x="911225" y="654050"/>
                    </a:lnTo>
                    <a:lnTo>
                      <a:pt x="1016000" y="736600"/>
                    </a:lnTo>
                    <a:lnTo>
                      <a:pt x="1092200" y="685800"/>
                    </a:lnTo>
                    <a:lnTo>
                      <a:pt x="1171575" y="720725"/>
                    </a:lnTo>
                    <a:lnTo>
                      <a:pt x="1200150" y="727075"/>
                    </a:lnTo>
                    <a:lnTo>
                      <a:pt x="1203325" y="812800"/>
                    </a:lnTo>
                    <a:lnTo>
                      <a:pt x="1219200" y="847725"/>
                    </a:lnTo>
                    <a:lnTo>
                      <a:pt x="1238250" y="873125"/>
                    </a:lnTo>
                    <a:lnTo>
                      <a:pt x="1231900" y="952500"/>
                    </a:lnTo>
                    <a:lnTo>
                      <a:pt x="1212850" y="996950"/>
                    </a:lnTo>
                    <a:lnTo>
                      <a:pt x="1209675" y="1025525"/>
                    </a:lnTo>
                    <a:lnTo>
                      <a:pt x="1282700" y="1031875"/>
                    </a:lnTo>
                    <a:lnTo>
                      <a:pt x="1311275" y="1019175"/>
                    </a:lnTo>
                    <a:lnTo>
                      <a:pt x="1352550" y="1000125"/>
                    </a:lnTo>
                    <a:lnTo>
                      <a:pt x="1425575" y="1035050"/>
                    </a:lnTo>
                    <a:lnTo>
                      <a:pt x="1457325" y="990600"/>
                    </a:lnTo>
                    <a:lnTo>
                      <a:pt x="1555750" y="987425"/>
                    </a:lnTo>
                    <a:lnTo>
                      <a:pt x="1616075" y="1041400"/>
                    </a:lnTo>
                    <a:lnTo>
                      <a:pt x="1676400" y="971550"/>
                    </a:lnTo>
                    <a:lnTo>
                      <a:pt x="1763712" y="1085852"/>
                    </a:lnTo>
                    <a:lnTo>
                      <a:pt x="1895475" y="1158875"/>
                    </a:lnTo>
                    <a:lnTo>
                      <a:pt x="1895475" y="1158875"/>
                    </a:lnTo>
                    <a:lnTo>
                      <a:pt x="1927225" y="1136650"/>
                    </a:lnTo>
                    <a:lnTo>
                      <a:pt x="1895475" y="977900"/>
                    </a:lnTo>
                    <a:lnTo>
                      <a:pt x="1778000" y="923925"/>
                    </a:lnTo>
                    <a:lnTo>
                      <a:pt x="1698625" y="847725"/>
                    </a:lnTo>
                    <a:lnTo>
                      <a:pt x="1679575" y="730250"/>
                    </a:lnTo>
                    <a:lnTo>
                      <a:pt x="1673225" y="690563"/>
                    </a:lnTo>
                    <a:lnTo>
                      <a:pt x="1694656" y="642938"/>
                    </a:lnTo>
                    <a:lnTo>
                      <a:pt x="1720850" y="569119"/>
                    </a:lnTo>
                    <a:lnTo>
                      <a:pt x="1747043" y="526256"/>
                    </a:lnTo>
                    <a:lnTo>
                      <a:pt x="1725613" y="481013"/>
                    </a:lnTo>
                    <a:lnTo>
                      <a:pt x="1716088" y="428625"/>
                    </a:lnTo>
                    <a:lnTo>
                      <a:pt x="1713706" y="347663"/>
                    </a:lnTo>
                    <a:lnTo>
                      <a:pt x="1713706" y="307181"/>
                    </a:lnTo>
                    <a:lnTo>
                      <a:pt x="1739900" y="257175"/>
                    </a:lnTo>
                    <a:lnTo>
                      <a:pt x="1680369" y="214313"/>
                    </a:lnTo>
                    <a:lnTo>
                      <a:pt x="1639888" y="235744"/>
                    </a:lnTo>
                    <a:lnTo>
                      <a:pt x="1558925" y="192881"/>
                    </a:lnTo>
                    <a:lnTo>
                      <a:pt x="1556544" y="142875"/>
                    </a:lnTo>
                    <a:lnTo>
                      <a:pt x="1563688" y="92869"/>
                    </a:lnTo>
                    <a:lnTo>
                      <a:pt x="1592263" y="73818"/>
                    </a:lnTo>
                    <a:lnTo>
                      <a:pt x="1537494" y="38101"/>
                    </a:lnTo>
                    <a:lnTo>
                      <a:pt x="1497013" y="0"/>
                    </a:lnTo>
                    <a:lnTo>
                      <a:pt x="1470819" y="40483"/>
                    </a:lnTo>
                    <a:lnTo>
                      <a:pt x="1411288" y="45245"/>
                    </a:lnTo>
                    <a:lnTo>
                      <a:pt x="1394619" y="61915"/>
                    </a:lnTo>
                    <a:lnTo>
                      <a:pt x="1349375" y="23814"/>
                    </a:lnTo>
                    <a:lnTo>
                      <a:pt x="1261269" y="145258"/>
                    </a:lnTo>
                    <a:lnTo>
                      <a:pt x="1208881" y="207171"/>
                    </a:lnTo>
                    <a:lnTo>
                      <a:pt x="1106488" y="123827"/>
                    </a:lnTo>
                    <a:lnTo>
                      <a:pt x="1068387" y="54771"/>
                    </a:lnTo>
                    <a:lnTo>
                      <a:pt x="1030288" y="83346"/>
                    </a:lnTo>
                    <a:lnTo>
                      <a:pt x="961231" y="47627"/>
                    </a:lnTo>
                    <a:lnTo>
                      <a:pt x="863600" y="128590"/>
                    </a:lnTo>
                    <a:lnTo>
                      <a:pt x="737394" y="126208"/>
                    </a:lnTo>
                    <a:lnTo>
                      <a:pt x="625475" y="195265"/>
                    </a:lnTo>
                    <a:lnTo>
                      <a:pt x="575469" y="188121"/>
                    </a:lnTo>
                    <a:lnTo>
                      <a:pt x="523081" y="211933"/>
                    </a:lnTo>
                    <a:lnTo>
                      <a:pt x="311150" y="92871"/>
                    </a:lnTo>
                    <a:lnTo>
                      <a:pt x="34925" y="90487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6" name="Freeform 10"/>
              <p:cNvSpPr/>
              <p:nvPr/>
            </p:nvSpPr>
            <p:spPr>
              <a:xfrm>
                <a:off x="2163032" y="1718865"/>
                <a:ext cx="1578630" cy="1280796"/>
              </a:xfrm>
              <a:custGeom>
                <a:avLst/>
                <a:gdLst>
                  <a:gd name="connsiteX0" fmla="*/ 450056 w 2245518"/>
                  <a:gd name="connsiteY0" fmla="*/ 1964531 h 1964531"/>
                  <a:gd name="connsiteX1" fmla="*/ 914400 w 2245518"/>
                  <a:gd name="connsiteY1" fmla="*/ 1888331 h 1964531"/>
                  <a:gd name="connsiteX2" fmla="*/ 921543 w 2245518"/>
                  <a:gd name="connsiteY2" fmla="*/ 1835943 h 1964531"/>
                  <a:gd name="connsiteX3" fmla="*/ 962025 w 2245518"/>
                  <a:gd name="connsiteY3" fmla="*/ 1752600 h 1964531"/>
                  <a:gd name="connsiteX4" fmla="*/ 1033462 w 2245518"/>
                  <a:gd name="connsiteY4" fmla="*/ 1757362 h 1964531"/>
                  <a:gd name="connsiteX5" fmla="*/ 1276350 w 2245518"/>
                  <a:gd name="connsiteY5" fmla="*/ 1507331 h 1964531"/>
                  <a:gd name="connsiteX6" fmla="*/ 1316831 w 2245518"/>
                  <a:gd name="connsiteY6" fmla="*/ 1521618 h 1964531"/>
                  <a:gd name="connsiteX7" fmla="*/ 1343025 w 2245518"/>
                  <a:gd name="connsiteY7" fmla="*/ 1421606 h 1964531"/>
                  <a:gd name="connsiteX8" fmla="*/ 1469231 w 2245518"/>
                  <a:gd name="connsiteY8" fmla="*/ 1440656 h 1964531"/>
                  <a:gd name="connsiteX9" fmla="*/ 1571625 w 2245518"/>
                  <a:gd name="connsiteY9" fmla="*/ 1240631 h 1964531"/>
                  <a:gd name="connsiteX10" fmla="*/ 1688306 w 2245518"/>
                  <a:gd name="connsiteY10" fmla="*/ 1231106 h 1964531"/>
                  <a:gd name="connsiteX11" fmla="*/ 1816893 w 2245518"/>
                  <a:gd name="connsiteY11" fmla="*/ 1350168 h 1964531"/>
                  <a:gd name="connsiteX12" fmla="*/ 1850231 w 2245518"/>
                  <a:gd name="connsiteY12" fmla="*/ 1404937 h 1964531"/>
                  <a:gd name="connsiteX13" fmla="*/ 1847850 w 2245518"/>
                  <a:gd name="connsiteY13" fmla="*/ 1433512 h 1964531"/>
                  <a:gd name="connsiteX14" fmla="*/ 1935956 w 2245518"/>
                  <a:gd name="connsiteY14" fmla="*/ 1488281 h 1964531"/>
                  <a:gd name="connsiteX15" fmla="*/ 2000250 w 2245518"/>
                  <a:gd name="connsiteY15" fmla="*/ 1431131 h 1964531"/>
                  <a:gd name="connsiteX16" fmla="*/ 2245518 w 2245518"/>
                  <a:gd name="connsiteY16" fmla="*/ 1254918 h 1964531"/>
                  <a:gd name="connsiteX17" fmla="*/ 2219325 w 2245518"/>
                  <a:gd name="connsiteY17" fmla="*/ 1209675 h 1964531"/>
                  <a:gd name="connsiteX18" fmla="*/ 2190750 w 2245518"/>
                  <a:gd name="connsiteY18" fmla="*/ 1185862 h 1964531"/>
                  <a:gd name="connsiteX19" fmla="*/ 2195512 w 2245518"/>
                  <a:gd name="connsiteY19" fmla="*/ 1145381 h 1964531"/>
                  <a:gd name="connsiteX20" fmla="*/ 2164556 w 2245518"/>
                  <a:gd name="connsiteY20" fmla="*/ 1064418 h 1964531"/>
                  <a:gd name="connsiteX21" fmla="*/ 2121693 w 2245518"/>
                  <a:gd name="connsiteY21" fmla="*/ 1033462 h 1964531"/>
                  <a:gd name="connsiteX22" fmla="*/ 1974056 w 2245518"/>
                  <a:gd name="connsiteY22" fmla="*/ 952500 h 1964531"/>
                  <a:gd name="connsiteX23" fmla="*/ 1997868 w 2245518"/>
                  <a:gd name="connsiteY23" fmla="*/ 895350 h 1964531"/>
                  <a:gd name="connsiteX24" fmla="*/ 1971675 w 2245518"/>
                  <a:gd name="connsiteY24" fmla="*/ 871537 h 1964531"/>
                  <a:gd name="connsiteX25" fmla="*/ 1921668 w 2245518"/>
                  <a:gd name="connsiteY25" fmla="*/ 909637 h 1964531"/>
                  <a:gd name="connsiteX26" fmla="*/ 1838325 w 2245518"/>
                  <a:gd name="connsiteY26" fmla="*/ 828675 h 1964531"/>
                  <a:gd name="connsiteX27" fmla="*/ 1862137 w 2245518"/>
                  <a:gd name="connsiteY27" fmla="*/ 785812 h 1964531"/>
                  <a:gd name="connsiteX28" fmla="*/ 1852612 w 2245518"/>
                  <a:gd name="connsiteY28" fmla="*/ 688181 h 1964531"/>
                  <a:gd name="connsiteX29" fmla="*/ 1950243 w 2245518"/>
                  <a:gd name="connsiteY29" fmla="*/ 571500 h 1964531"/>
                  <a:gd name="connsiteX30" fmla="*/ 1988343 w 2245518"/>
                  <a:gd name="connsiteY30" fmla="*/ 547687 h 1964531"/>
                  <a:gd name="connsiteX31" fmla="*/ 1952625 w 2245518"/>
                  <a:gd name="connsiteY31" fmla="*/ 411956 h 1964531"/>
                  <a:gd name="connsiteX32" fmla="*/ 1881187 w 2245518"/>
                  <a:gd name="connsiteY32" fmla="*/ 290512 h 1964531"/>
                  <a:gd name="connsiteX33" fmla="*/ 1874043 w 2245518"/>
                  <a:gd name="connsiteY33" fmla="*/ 259556 h 1964531"/>
                  <a:gd name="connsiteX34" fmla="*/ 1912143 w 2245518"/>
                  <a:gd name="connsiteY34" fmla="*/ 238125 h 1964531"/>
                  <a:gd name="connsiteX35" fmla="*/ 1850231 w 2245518"/>
                  <a:gd name="connsiteY35" fmla="*/ 142875 h 1964531"/>
                  <a:gd name="connsiteX36" fmla="*/ 1807368 w 2245518"/>
                  <a:gd name="connsiteY36" fmla="*/ 183356 h 1964531"/>
                  <a:gd name="connsiteX37" fmla="*/ 1809750 w 2245518"/>
                  <a:gd name="connsiteY37" fmla="*/ 90487 h 1964531"/>
                  <a:gd name="connsiteX38" fmla="*/ 1731168 w 2245518"/>
                  <a:gd name="connsiteY38" fmla="*/ 97631 h 1964531"/>
                  <a:gd name="connsiteX39" fmla="*/ 1716881 w 2245518"/>
                  <a:gd name="connsiteY39" fmla="*/ 140493 h 1964531"/>
                  <a:gd name="connsiteX40" fmla="*/ 1697831 w 2245518"/>
                  <a:gd name="connsiteY40" fmla="*/ 180975 h 1964531"/>
                  <a:gd name="connsiteX41" fmla="*/ 1688306 w 2245518"/>
                  <a:gd name="connsiteY41" fmla="*/ 219075 h 1964531"/>
                  <a:gd name="connsiteX42" fmla="*/ 1633537 w 2245518"/>
                  <a:gd name="connsiteY42" fmla="*/ 266700 h 1964531"/>
                  <a:gd name="connsiteX43" fmla="*/ 1485900 w 2245518"/>
                  <a:gd name="connsiteY43" fmla="*/ 273843 h 1964531"/>
                  <a:gd name="connsiteX44" fmla="*/ 1445418 w 2245518"/>
                  <a:gd name="connsiteY44" fmla="*/ 271462 h 1964531"/>
                  <a:gd name="connsiteX45" fmla="*/ 1412081 w 2245518"/>
                  <a:gd name="connsiteY45" fmla="*/ 216693 h 1964531"/>
                  <a:gd name="connsiteX46" fmla="*/ 1376362 w 2245518"/>
                  <a:gd name="connsiteY46" fmla="*/ 216693 h 1964531"/>
                  <a:gd name="connsiteX47" fmla="*/ 1366837 w 2245518"/>
                  <a:gd name="connsiteY47" fmla="*/ 254793 h 1964531"/>
                  <a:gd name="connsiteX48" fmla="*/ 1352550 w 2245518"/>
                  <a:gd name="connsiteY48" fmla="*/ 302418 h 1964531"/>
                  <a:gd name="connsiteX49" fmla="*/ 1309687 w 2245518"/>
                  <a:gd name="connsiteY49" fmla="*/ 311943 h 1964531"/>
                  <a:gd name="connsiteX50" fmla="*/ 1266825 w 2245518"/>
                  <a:gd name="connsiteY50" fmla="*/ 280987 h 1964531"/>
                  <a:gd name="connsiteX51" fmla="*/ 1238250 w 2245518"/>
                  <a:gd name="connsiteY51" fmla="*/ 252412 h 1964531"/>
                  <a:gd name="connsiteX52" fmla="*/ 1178718 w 2245518"/>
                  <a:gd name="connsiteY52" fmla="*/ 266700 h 1964531"/>
                  <a:gd name="connsiteX53" fmla="*/ 1088231 w 2245518"/>
                  <a:gd name="connsiteY53" fmla="*/ 192881 h 1964531"/>
                  <a:gd name="connsiteX54" fmla="*/ 1095375 w 2245518"/>
                  <a:gd name="connsiteY54" fmla="*/ 111918 h 1964531"/>
                  <a:gd name="connsiteX55" fmla="*/ 1000125 w 2245518"/>
                  <a:gd name="connsiteY55" fmla="*/ 85725 h 1964531"/>
                  <a:gd name="connsiteX56" fmla="*/ 947737 w 2245518"/>
                  <a:gd name="connsiteY56" fmla="*/ 76200 h 1964531"/>
                  <a:gd name="connsiteX57" fmla="*/ 902493 w 2245518"/>
                  <a:gd name="connsiteY57" fmla="*/ 133350 h 1964531"/>
                  <a:gd name="connsiteX58" fmla="*/ 850106 w 2245518"/>
                  <a:gd name="connsiteY58" fmla="*/ 150018 h 1964531"/>
                  <a:gd name="connsiteX59" fmla="*/ 816768 w 2245518"/>
                  <a:gd name="connsiteY59" fmla="*/ 97631 h 1964531"/>
                  <a:gd name="connsiteX60" fmla="*/ 797718 w 2245518"/>
                  <a:gd name="connsiteY60" fmla="*/ 80962 h 1964531"/>
                  <a:gd name="connsiteX61" fmla="*/ 685800 w 2245518"/>
                  <a:gd name="connsiteY61" fmla="*/ 66675 h 1964531"/>
                  <a:gd name="connsiteX62" fmla="*/ 645318 w 2245518"/>
                  <a:gd name="connsiteY62" fmla="*/ 92868 h 1964531"/>
                  <a:gd name="connsiteX63" fmla="*/ 597693 w 2245518"/>
                  <a:gd name="connsiteY63" fmla="*/ 107156 h 1964531"/>
                  <a:gd name="connsiteX64" fmla="*/ 569118 w 2245518"/>
                  <a:gd name="connsiteY64" fmla="*/ 154781 h 1964531"/>
                  <a:gd name="connsiteX65" fmla="*/ 528637 w 2245518"/>
                  <a:gd name="connsiteY65" fmla="*/ 176212 h 1964531"/>
                  <a:gd name="connsiteX66" fmla="*/ 471487 w 2245518"/>
                  <a:gd name="connsiteY66" fmla="*/ 188118 h 1964531"/>
                  <a:gd name="connsiteX67" fmla="*/ 421481 w 2245518"/>
                  <a:gd name="connsiteY67" fmla="*/ 135731 h 1964531"/>
                  <a:gd name="connsiteX68" fmla="*/ 350043 w 2245518"/>
                  <a:gd name="connsiteY68" fmla="*/ 59531 h 1964531"/>
                  <a:gd name="connsiteX69" fmla="*/ 300037 w 2245518"/>
                  <a:gd name="connsiteY69" fmla="*/ 0 h 1964531"/>
                  <a:gd name="connsiteX70" fmla="*/ 240506 w 2245518"/>
                  <a:gd name="connsiteY70" fmla="*/ 52387 h 1964531"/>
                  <a:gd name="connsiteX71" fmla="*/ 278606 w 2245518"/>
                  <a:gd name="connsiteY71" fmla="*/ 85725 h 1964531"/>
                  <a:gd name="connsiteX72" fmla="*/ 285750 w 2245518"/>
                  <a:gd name="connsiteY72" fmla="*/ 119062 h 1964531"/>
                  <a:gd name="connsiteX73" fmla="*/ 285750 w 2245518"/>
                  <a:gd name="connsiteY73" fmla="*/ 140493 h 1964531"/>
                  <a:gd name="connsiteX74" fmla="*/ 264318 w 2245518"/>
                  <a:gd name="connsiteY74" fmla="*/ 169068 h 1964531"/>
                  <a:gd name="connsiteX75" fmla="*/ 238125 w 2245518"/>
                  <a:gd name="connsiteY75" fmla="*/ 178593 h 1964531"/>
                  <a:gd name="connsiteX76" fmla="*/ 269081 w 2245518"/>
                  <a:gd name="connsiteY76" fmla="*/ 188118 h 1964531"/>
                  <a:gd name="connsiteX77" fmla="*/ 245268 w 2245518"/>
                  <a:gd name="connsiteY77" fmla="*/ 214312 h 1964531"/>
                  <a:gd name="connsiteX78" fmla="*/ 254793 w 2245518"/>
                  <a:gd name="connsiteY78" fmla="*/ 292893 h 1964531"/>
                  <a:gd name="connsiteX79" fmla="*/ 269081 w 2245518"/>
                  <a:gd name="connsiteY79" fmla="*/ 352425 h 1964531"/>
                  <a:gd name="connsiteX80" fmla="*/ 171450 w 2245518"/>
                  <a:gd name="connsiteY80" fmla="*/ 447675 h 1964531"/>
                  <a:gd name="connsiteX81" fmla="*/ 88106 w 2245518"/>
                  <a:gd name="connsiteY81" fmla="*/ 454818 h 1964531"/>
                  <a:gd name="connsiteX82" fmla="*/ 40481 w 2245518"/>
                  <a:gd name="connsiteY82" fmla="*/ 469106 h 1964531"/>
                  <a:gd name="connsiteX83" fmla="*/ 0 w 2245518"/>
                  <a:gd name="connsiteY83" fmla="*/ 531018 h 1964531"/>
                  <a:gd name="connsiteX84" fmla="*/ 59531 w 2245518"/>
                  <a:gd name="connsiteY84" fmla="*/ 583406 h 1964531"/>
                  <a:gd name="connsiteX85" fmla="*/ 95250 w 2245518"/>
                  <a:gd name="connsiteY85" fmla="*/ 602456 h 1964531"/>
                  <a:gd name="connsiteX86" fmla="*/ 61912 w 2245518"/>
                  <a:gd name="connsiteY86" fmla="*/ 619125 h 1964531"/>
                  <a:gd name="connsiteX87" fmla="*/ 61912 w 2245518"/>
                  <a:gd name="connsiteY87" fmla="*/ 726281 h 1964531"/>
                  <a:gd name="connsiteX88" fmla="*/ 147637 w 2245518"/>
                  <a:gd name="connsiteY88" fmla="*/ 766762 h 1964531"/>
                  <a:gd name="connsiteX89" fmla="*/ 185737 w 2245518"/>
                  <a:gd name="connsiteY89" fmla="*/ 745331 h 1964531"/>
                  <a:gd name="connsiteX90" fmla="*/ 245268 w 2245518"/>
                  <a:gd name="connsiteY90" fmla="*/ 792956 h 1964531"/>
                  <a:gd name="connsiteX91" fmla="*/ 207168 w 2245518"/>
                  <a:gd name="connsiteY91" fmla="*/ 835818 h 1964531"/>
                  <a:gd name="connsiteX92" fmla="*/ 223837 w 2245518"/>
                  <a:gd name="connsiteY92" fmla="*/ 997743 h 1964531"/>
                  <a:gd name="connsiteX93" fmla="*/ 250031 w 2245518"/>
                  <a:gd name="connsiteY93" fmla="*/ 1057275 h 1964531"/>
                  <a:gd name="connsiteX94" fmla="*/ 173831 w 2245518"/>
                  <a:gd name="connsiteY94" fmla="*/ 1226343 h 1964531"/>
                  <a:gd name="connsiteX95" fmla="*/ 197643 w 2245518"/>
                  <a:gd name="connsiteY95" fmla="*/ 1381125 h 1964531"/>
                  <a:gd name="connsiteX96" fmla="*/ 290512 w 2245518"/>
                  <a:gd name="connsiteY96" fmla="*/ 1459706 h 1964531"/>
                  <a:gd name="connsiteX97" fmla="*/ 400050 w 2245518"/>
                  <a:gd name="connsiteY97" fmla="*/ 1516856 h 1964531"/>
                  <a:gd name="connsiteX98" fmla="*/ 428625 w 2245518"/>
                  <a:gd name="connsiteY98" fmla="*/ 1669256 h 1964531"/>
                  <a:gd name="connsiteX99" fmla="*/ 450056 w 2245518"/>
                  <a:gd name="connsiteY99" fmla="*/ 1964531 h 1964531"/>
                  <a:gd name="connsiteX0" fmla="*/ 450056 w 2245518"/>
                  <a:gd name="connsiteY0" fmla="*/ 1964531 h 1964531"/>
                  <a:gd name="connsiteX1" fmla="*/ 914400 w 2245518"/>
                  <a:gd name="connsiteY1" fmla="*/ 1888331 h 1964531"/>
                  <a:gd name="connsiteX2" fmla="*/ 921543 w 2245518"/>
                  <a:gd name="connsiteY2" fmla="*/ 1835943 h 1964531"/>
                  <a:gd name="connsiteX3" fmla="*/ 962025 w 2245518"/>
                  <a:gd name="connsiteY3" fmla="*/ 1752600 h 1964531"/>
                  <a:gd name="connsiteX4" fmla="*/ 1033462 w 2245518"/>
                  <a:gd name="connsiteY4" fmla="*/ 1757362 h 1964531"/>
                  <a:gd name="connsiteX5" fmla="*/ 1276350 w 2245518"/>
                  <a:gd name="connsiteY5" fmla="*/ 1507331 h 1964531"/>
                  <a:gd name="connsiteX6" fmla="*/ 1316831 w 2245518"/>
                  <a:gd name="connsiteY6" fmla="*/ 1521618 h 1964531"/>
                  <a:gd name="connsiteX7" fmla="*/ 1343025 w 2245518"/>
                  <a:gd name="connsiteY7" fmla="*/ 1421606 h 1964531"/>
                  <a:gd name="connsiteX8" fmla="*/ 1469231 w 2245518"/>
                  <a:gd name="connsiteY8" fmla="*/ 1440656 h 1964531"/>
                  <a:gd name="connsiteX9" fmla="*/ 1571625 w 2245518"/>
                  <a:gd name="connsiteY9" fmla="*/ 1240631 h 1964531"/>
                  <a:gd name="connsiteX10" fmla="*/ 1688306 w 2245518"/>
                  <a:gd name="connsiteY10" fmla="*/ 1231106 h 1964531"/>
                  <a:gd name="connsiteX11" fmla="*/ 1816893 w 2245518"/>
                  <a:gd name="connsiteY11" fmla="*/ 1350168 h 1964531"/>
                  <a:gd name="connsiteX12" fmla="*/ 1850231 w 2245518"/>
                  <a:gd name="connsiteY12" fmla="*/ 1404937 h 1964531"/>
                  <a:gd name="connsiteX13" fmla="*/ 1847850 w 2245518"/>
                  <a:gd name="connsiteY13" fmla="*/ 1433512 h 1964531"/>
                  <a:gd name="connsiteX14" fmla="*/ 1935956 w 2245518"/>
                  <a:gd name="connsiteY14" fmla="*/ 1488281 h 1964531"/>
                  <a:gd name="connsiteX15" fmla="*/ 2000250 w 2245518"/>
                  <a:gd name="connsiteY15" fmla="*/ 1431131 h 1964531"/>
                  <a:gd name="connsiteX16" fmla="*/ 2245518 w 2245518"/>
                  <a:gd name="connsiteY16" fmla="*/ 1254918 h 1964531"/>
                  <a:gd name="connsiteX17" fmla="*/ 2219325 w 2245518"/>
                  <a:gd name="connsiteY17" fmla="*/ 1209675 h 1964531"/>
                  <a:gd name="connsiteX18" fmla="*/ 2190750 w 2245518"/>
                  <a:gd name="connsiteY18" fmla="*/ 1185862 h 1964531"/>
                  <a:gd name="connsiteX19" fmla="*/ 2195512 w 2245518"/>
                  <a:gd name="connsiteY19" fmla="*/ 1145381 h 1964531"/>
                  <a:gd name="connsiteX20" fmla="*/ 2164556 w 2245518"/>
                  <a:gd name="connsiteY20" fmla="*/ 1064418 h 1964531"/>
                  <a:gd name="connsiteX21" fmla="*/ 2121693 w 2245518"/>
                  <a:gd name="connsiteY21" fmla="*/ 1033462 h 1964531"/>
                  <a:gd name="connsiteX22" fmla="*/ 1974056 w 2245518"/>
                  <a:gd name="connsiteY22" fmla="*/ 952500 h 1964531"/>
                  <a:gd name="connsiteX23" fmla="*/ 1997868 w 2245518"/>
                  <a:gd name="connsiteY23" fmla="*/ 895350 h 1964531"/>
                  <a:gd name="connsiteX24" fmla="*/ 1971675 w 2245518"/>
                  <a:gd name="connsiteY24" fmla="*/ 871537 h 1964531"/>
                  <a:gd name="connsiteX25" fmla="*/ 1921668 w 2245518"/>
                  <a:gd name="connsiteY25" fmla="*/ 909637 h 1964531"/>
                  <a:gd name="connsiteX26" fmla="*/ 1838325 w 2245518"/>
                  <a:gd name="connsiteY26" fmla="*/ 828675 h 1964531"/>
                  <a:gd name="connsiteX27" fmla="*/ 1862137 w 2245518"/>
                  <a:gd name="connsiteY27" fmla="*/ 785812 h 1964531"/>
                  <a:gd name="connsiteX28" fmla="*/ 1852612 w 2245518"/>
                  <a:gd name="connsiteY28" fmla="*/ 688181 h 1964531"/>
                  <a:gd name="connsiteX29" fmla="*/ 1950243 w 2245518"/>
                  <a:gd name="connsiteY29" fmla="*/ 571500 h 1964531"/>
                  <a:gd name="connsiteX30" fmla="*/ 1988343 w 2245518"/>
                  <a:gd name="connsiteY30" fmla="*/ 547687 h 1964531"/>
                  <a:gd name="connsiteX31" fmla="*/ 1952625 w 2245518"/>
                  <a:gd name="connsiteY31" fmla="*/ 411956 h 1964531"/>
                  <a:gd name="connsiteX32" fmla="*/ 1881187 w 2245518"/>
                  <a:gd name="connsiteY32" fmla="*/ 290512 h 1964531"/>
                  <a:gd name="connsiteX33" fmla="*/ 1874043 w 2245518"/>
                  <a:gd name="connsiteY33" fmla="*/ 259556 h 1964531"/>
                  <a:gd name="connsiteX34" fmla="*/ 1912143 w 2245518"/>
                  <a:gd name="connsiteY34" fmla="*/ 238125 h 1964531"/>
                  <a:gd name="connsiteX35" fmla="*/ 1850231 w 2245518"/>
                  <a:gd name="connsiteY35" fmla="*/ 142875 h 1964531"/>
                  <a:gd name="connsiteX36" fmla="*/ 1807368 w 2245518"/>
                  <a:gd name="connsiteY36" fmla="*/ 183356 h 1964531"/>
                  <a:gd name="connsiteX37" fmla="*/ 1809750 w 2245518"/>
                  <a:gd name="connsiteY37" fmla="*/ 90487 h 1964531"/>
                  <a:gd name="connsiteX38" fmla="*/ 1731168 w 2245518"/>
                  <a:gd name="connsiteY38" fmla="*/ 97631 h 1964531"/>
                  <a:gd name="connsiteX39" fmla="*/ 1716881 w 2245518"/>
                  <a:gd name="connsiteY39" fmla="*/ 140493 h 1964531"/>
                  <a:gd name="connsiteX40" fmla="*/ 1697831 w 2245518"/>
                  <a:gd name="connsiteY40" fmla="*/ 180975 h 1964531"/>
                  <a:gd name="connsiteX41" fmla="*/ 1688306 w 2245518"/>
                  <a:gd name="connsiteY41" fmla="*/ 219075 h 1964531"/>
                  <a:gd name="connsiteX42" fmla="*/ 1633537 w 2245518"/>
                  <a:gd name="connsiteY42" fmla="*/ 266700 h 1964531"/>
                  <a:gd name="connsiteX43" fmla="*/ 1485900 w 2245518"/>
                  <a:gd name="connsiteY43" fmla="*/ 273843 h 1964531"/>
                  <a:gd name="connsiteX44" fmla="*/ 1445418 w 2245518"/>
                  <a:gd name="connsiteY44" fmla="*/ 271462 h 1964531"/>
                  <a:gd name="connsiteX45" fmla="*/ 1412081 w 2245518"/>
                  <a:gd name="connsiteY45" fmla="*/ 216693 h 1964531"/>
                  <a:gd name="connsiteX46" fmla="*/ 1376362 w 2245518"/>
                  <a:gd name="connsiteY46" fmla="*/ 216693 h 1964531"/>
                  <a:gd name="connsiteX47" fmla="*/ 1366837 w 2245518"/>
                  <a:gd name="connsiteY47" fmla="*/ 254793 h 1964531"/>
                  <a:gd name="connsiteX48" fmla="*/ 1352550 w 2245518"/>
                  <a:gd name="connsiteY48" fmla="*/ 302418 h 1964531"/>
                  <a:gd name="connsiteX49" fmla="*/ 1309687 w 2245518"/>
                  <a:gd name="connsiteY49" fmla="*/ 311943 h 1964531"/>
                  <a:gd name="connsiteX50" fmla="*/ 1266825 w 2245518"/>
                  <a:gd name="connsiteY50" fmla="*/ 280987 h 1964531"/>
                  <a:gd name="connsiteX51" fmla="*/ 1238250 w 2245518"/>
                  <a:gd name="connsiteY51" fmla="*/ 252412 h 1964531"/>
                  <a:gd name="connsiteX52" fmla="*/ 1178718 w 2245518"/>
                  <a:gd name="connsiteY52" fmla="*/ 266700 h 1964531"/>
                  <a:gd name="connsiteX53" fmla="*/ 1088231 w 2245518"/>
                  <a:gd name="connsiteY53" fmla="*/ 192881 h 1964531"/>
                  <a:gd name="connsiteX54" fmla="*/ 1095375 w 2245518"/>
                  <a:gd name="connsiteY54" fmla="*/ 111918 h 1964531"/>
                  <a:gd name="connsiteX55" fmla="*/ 1000125 w 2245518"/>
                  <a:gd name="connsiteY55" fmla="*/ 85725 h 1964531"/>
                  <a:gd name="connsiteX56" fmla="*/ 947737 w 2245518"/>
                  <a:gd name="connsiteY56" fmla="*/ 76200 h 1964531"/>
                  <a:gd name="connsiteX57" fmla="*/ 902493 w 2245518"/>
                  <a:gd name="connsiteY57" fmla="*/ 133350 h 1964531"/>
                  <a:gd name="connsiteX58" fmla="*/ 850106 w 2245518"/>
                  <a:gd name="connsiteY58" fmla="*/ 150018 h 1964531"/>
                  <a:gd name="connsiteX59" fmla="*/ 816768 w 2245518"/>
                  <a:gd name="connsiteY59" fmla="*/ 97631 h 1964531"/>
                  <a:gd name="connsiteX60" fmla="*/ 797718 w 2245518"/>
                  <a:gd name="connsiteY60" fmla="*/ 80962 h 1964531"/>
                  <a:gd name="connsiteX61" fmla="*/ 685800 w 2245518"/>
                  <a:gd name="connsiteY61" fmla="*/ 66675 h 1964531"/>
                  <a:gd name="connsiteX62" fmla="*/ 645318 w 2245518"/>
                  <a:gd name="connsiteY62" fmla="*/ 92868 h 1964531"/>
                  <a:gd name="connsiteX63" fmla="*/ 597693 w 2245518"/>
                  <a:gd name="connsiteY63" fmla="*/ 107156 h 1964531"/>
                  <a:gd name="connsiteX64" fmla="*/ 569118 w 2245518"/>
                  <a:gd name="connsiteY64" fmla="*/ 154781 h 1964531"/>
                  <a:gd name="connsiteX65" fmla="*/ 528637 w 2245518"/>
                  <a:gd name="connsiteY65" fmla="*/ 176212 h 1964531"/>
                  <a:gd name="connsiteX66" fmla="*/ 471487 w 2245518"/>
                  <a:gd name="connsiteY66" fmla="*/ 188118 h 1964531"/>
                  <a:gd name="connsiteX67" fmla="*/ 421481 w 2245518"/>
                  <a:gd name="connsiteY67" fmla="*/ 135731 h 1964531"/>
                  <a:gd name="connsiteX68" fmla="*/ 350043 w 2245518"/>
                  <a:gd name="connsiteY68" fmla="*/ 59531 h 1964531"/>
                  <a:gd name="connsiteX69" fmla="*/ 300037 w 2245518"/>
                  <a:gd name="connsiteY69" fmla="*/ 0 h 1964531"/>
                  <a:gd name="connsiteX70" fmla="*/ 240506 w 2245518"/>
                  <a:gd name="connsiteY70" fmla="*/ 52387 h 1964531"/>
                  <a:gd name="connsiteX71" fmla="*/ 278606 w 2245518"/>
                  <a:gd name="connsiteY71" fmla="*/ 85725 h 1964531"/>
                  <a:gd name="connsiteX72" fmla="*/ 285750 w 2245518"/>
                  <a:gd name="connsiteY72" fmla="*/ 119062 h 1964531"/>
                  <a:gd name="connsiteX73" fmla="*/ 285750 w 2245518"/>
                  <a:gd name="connsiteY73" fmla="*/ 140493 h 1964531"/>
                  <a:gd name="connsiteX74" fmla="*/ 264318 w 2245518"/>
                  <a:gd name="connsiteY74" fmla="*/ 169068 h 1964531"/>
                  <a:gd name="connsiteX75" fmla="*/ 238125 w 2245518"/>
                  <a:gd name="connsiteY75" fmla="*/ 178593 h 1964531"/>
                  <a:gd name="connsiteX76" fmla="*/ 269081 w 2245518"/>
                  <a:gd name="connsiteY76" fmla="*/ 188118 h 1964531"/>
                  <a:gd name="connsiteX77" fmla="*/ 245268 w 2245518"/>
                  <a:gd name="connsiteY77" fmla="*/ 214312 h 1964531"/>
                  <a:gd name="connsiteX78" fmla="*/ 254793 w 2245518"/>
                  <a:gd name="connsiteY78" fmla="*/ 292893 h 1964531"/>
                  <a:gd name="connsiteX79" fmla="*/ 269081 w 2245518"/>
                  <a:gd name="connsiteY79" fmla="*/ 352425 h 1964531"/>
                  <a:gd name="connsiteX80" fmla="*/ 171450 w 2245518"/>
                  <a:gd name="connsiteY80" fmla="*/ 447675 h 1964531"/>
                  <a:gd name="connsiteX81" fmla="*/ 88106 w 2245518"/>
                  <a:gd name="connsiteY81" fmla="*/ 454818 h 1964531"/>
                  <a:gd name="connsiteX82" fmla="*/ 40481 w 2245518"/>
                  <a:gd name="connsiteY82" fmla="*/ 469106 h 1964531"/>
                  <a:gd name="connsiteX83" fmla="*/ 0 w 2245518"/>
                  <a:gd name="connsiteY83" fmla="*/ 531018 h 1964531"/>
                  <a:gd name="connsiteX84" fmla="*/ 59531 w 2245518"/>
                  <a:gd name="connsiteY84" fmla="*/ 583406 h 1964531"/>
                  <a:gd name="connsiteX85" fmla="*/ 95250 w 2245518"/>
                  <a:gd name="connsiteY85" fmla="*/ 602456 h 1964531"/>
                  <a:gd name="connsiteX86" fmla="*/ 61912 w 2245518"/>
                  <a:gd name="connsiteY86" fmla="*/ 619125 h 1964531"/>
                  <a:gd name="connsiteX87" fmla="*/ 61912 w 2245518"/>
                  <a:gd name="connsiteY87" fmla="*/ 726281 h 1964531"/>
                  <a:gd name="connsiteX88" fmla="*/ 147637 w 2245518"/>
                  <a:gd name="connsiteY88" fmla="*/ 766762 h 1964531"/>
                  <a:gd name="connsiteX89" fmla="*/ 185737 w 2245518"/>
                  <a:gd name="connsiteY89" fmla="*/ 745331 h 1964531"/>
                  <a:gd name="connsiteX90" fmla="*/ 245268 w 2245518"/>
                  <a:gd name="connsiteY90" fmla="*/ 792956 h 1964531"/>
                  <a:gd name="connsiteX91" fmla="*/ 207168 w 2245518"/>
                  <a:gd name="connsiteY91" fmla="*/ 835818 h 1964531"/>
                  <a:gd name="connsiteX92" fmla="*/ 223837 w 2245518"/>
                  <a:gd name="connsiteY92" fmla="*/ 997743 h 1964531"/>
                  <a:gd name="connsiteX93" fmla="*/ 250031 w 2245518"/>
                  <a:gd name="connsiteY93" fmla="*/ 1057275 h 1964531"/>
                  <a:gd name="connsiteX94" fmla="*/ 228600 w 2245518"/>
                  <a:gd name="connsiteY94" fmla="*/ 1102518 h 1964531"/>
                  <a:gd name="connsiteX95" fmla="*/ 173831 w 2245518"/>
                  <a:gd name="connsiteY95" fmla="*/ 1226343 h 1964531"/>
                  <a:gd name="connsiteX96" fmla="*/ 197643 w 2245518"/>
                  <a:gd name="connsiteY96" fmla="*/ 1381125 h 1964531"/>
                  <a:gd name="connsiteX97" fmla="*/ 290512 w 2245518"/>
                  <a:gd name="connsiteY97" fmla="*/ 1459706 h 1964531"/>
                  <a:gd name="connsiteX98" fmla="*/ 400050 w 2245518"/>
                  <a:gd name="connsiteY98" fmla="*/ 1516856 h 1964531"/>
                  <a:gd name="connsiteX99" fmla="*/ 428625 w 2245518"/>
                  <a:gd name="connsiteY99" fmla="*/ 1669256 h 1964531"/>
                  <a:gd name="connsiteX100" fmla="*/ 450056 w 2245518"/>
                  <a:gd name="connsiteY100" fmla="*/ 1964531 h 1964531"/>
                  <a:gd name="connsiteX0" fmla="*/ 450056 w 2245518"/>
                  <a:gd name="connsiteY0" fmla="*/ 1964531 h 1964531"/>
                  <a:gd name="connsiteX1" fmla="*/ 914400 w 2245518"/>
                  <a:gd name="connsiteY1" fmla="*/ 1888331 h 1964531"/>
                  <a:gd name="connsiteX2" fmla="*/ 921543 w 2245518"/>
                  <a:gd name="connsiteY2" fmla="*/ 1835943 h 1964531"/>
                  <a:gd name="connsiteX3" fmla="*/ 962025 w 2245518"/>
                  <a:gd name="connsiteY3" fmla="*/ 1752600 h 1964531"/>
                  <a:gd name="connsiteX4" fmla="*/ 1033462 w 2245518"/>
                  <a:gd name="connsiteY4" fmla="*/ 1757362 h 1964531"/>
                  <a:gd name="connsiteX5" fmla="*/ 1276350 w 2245518"/>
                  <a:gd name="connsiteY5" fmla="*/ 1507331 h 1964531"/>
                  <a:gd name="connsiteX6" fmla="*/ 1316831 w 2245518"/>
                  <a:gd name="connsiteY6" fmla="*/ 1521618 h 1964531"/>
                  <a:gd name="connsiteX7" fmla="*/ 1343025 w 2245518"/>
                  <a:gd name="connsiteY7" fmla="*/ 1421606 h 1964531"/>
                  <a:gd name="connsiteX8" fmla="*/ 1469231 w 2245518"/>
                  <a:gd name="connsiteY8" fmla="*/ 1440656 h 1964531"/>
                  <a:gd name="connsiteX9" fmla="*/ 1571625 w 2245518"/>
                  <a:gd name="connsiteY9" fmla="*/ 1240631 h 1964531"/>
                  <a:gd name="connsiteX10" fmla="*/ 1688306 w 2245518"/>
                  <a:gd name="connsiteY10" fmla="*/ 1231106 h 1964531"/>
                  <a:gd name="connsiteX11" fmla="*/ 1816893 w 2245518"/>
                  <a:gd name="connsiteY11" fmla="*/ 1350168 h 1964531"/>
                  <a:gd name="connsiteX12" fmla="*/ 1850231 w 2245518"/>
                  <a:gd name="connsiteY12" fmla="*/ 1404937 h 1964531"/>
                  <a:gd name="connsiteX13" fmla="*/ 1847850 w 2245518"/>
                  <a:gd name="connsiteY13" fmla="*/ 1433512 h 1964531"/>
                  <a:gd name="connsiteX14" fmla="*/ 1935956 w 2245518"/>
                  <a:gd name="connsiteY14" fmla="*/ 1488281 h 1964531"/>
                  <a:gd name="connsiteX15" fmla="*/ 2000250 w 2245518"/>
                  <a:gd name="connsiteY15" fmla="*/ 1431131 h 1964531"/>
                  <a:gd name="connsiteX16" fmla="*/ 2245518 w 2245518"/>
                  <a:gd name="connsiteY16" fmla="*/ 1254918 h 1964531"/>
                  <a:gd name="connsiteX17" fmla="*/ 2219325 w 2245518"/>
                  <a:gd name="connsiteY17" fmla="*/ 1209675 h 1964531"/>
                  <a:gd name="connsiteX18" fmla="*/ 2190750 w 2245518"/>
                  <a:gd name="connsiteY18" fmla="*/ 1185862 h 1964531"/>
                  <a:gd name="connsiteX19" fmla="*/ 2195512 w 2245518"/>
                  <a:gd name="connsiteY19" fmla="*/ 1145381 h 1964531"/>
                  <a:gd name="connsiteX20" fmla="*/ 2164556 w 2245518"/>
                  <a:gd name="connsiteY20" fmla="*/ 1064418 h 1964531"/>
                  <a:gd name="connsiteX21" fmla="*/ 2121693 w 2245518"/>
                  <a:gd name="connsiteY21" fmla="*/ 1033462 h 1964531"/>
                  <a:gd name="connsiteX22" fmla="*/ 1974056 w 2245518"/>
                  <a:gd name="connsiteY22" fmla="*/ 952500 h 1964531"/>
                  <a:gd name="connsiteX23" fmla="*/ 1997868 w 2245518"/>
                  <a:gd name="connsiteY23" fmla="*/ 895350 h 1964531"/>
                  <a:gd name="connsiteX24" fmla="*/ 1971675 w 2245518"/>
                  <a:gd name="connsiteY24" fmla="*/ 871537 h 1964531"/>
                  <a:gd name="connsiteX25" fmla="*/ 1921668 w 2245518"/>
                  <a:gd name="connsiteY25" fmla="*/ 909637 h 1964531"/>
                  <a:gd name="connsiteX26" fmla="*/ 1838325 w 2245518"/>
                  <a:gd name="connsiteY26" fmla="*/ 828675 h 1964531"/>
                  <a:gd name="connsiteX27" fmla="*/ 1862137 w 2245518"/>
                  <a:gd name="connsiteY27" fmla="*/ 785812 h 1964531"/>
                  <a:gd name="connsiteX28" fmla="*/ 1852612 w 2245518"/>
                  <a:gd name="connsiteY28" fmla="*/ 688181 h 1964531"/>
                  <a:gd name="connsiteX29" fmla="*/ 1950243 w 2245518"/>
                  <a:gd name="connsiteY29" fmla="*/ 571500 h 1964531"/>
                  <a:gd name="connsiteX30" fmla="*/ 1988343 w 2245518"/>
                  <a:gd name="connsiteY30" fmla="*/ 547687 h 1964531"/>
                  <a:gd name="connsiteX31" fmla="*/ 1952625 w 2245518"/>
                  <a:gd name="connsiteY31" fmla="*/ 411956 h 1964531"/>
                  <a:gd name="connsiteX32" fmla="*/ 1881187 w 2245518"/>
                  <a:gd name="connsiteY32" fmla="*/ 290512 h 1964531"/>
                  <a:gd name="connsiteX33" fmla="*/ 1874043 w 2245518"/>
                  <a:gd name="connsiteY33" fmla="*/ 259556 h 1964531"/>
                  <a:gd name="connsiteX34" fmla="*/ 1912143 w 2245518"/>
                  <a:gd name="connsiteY34" fmla="*/ 238125 h 1964531"/>
                  <a:gd name="connsiteX35" fmla="*/ 1850231 w 2245518"/>
                  <a:gd name="connsiteY35" fmla="*/ 142875 h 1964531"/>
                  <a:gd name="connsiteX36" fmla="*/ 1807368 w 2245518"/>
                  <a:gd name="connsiteY36" fmla="*/ 183356 h 1964531"/>
                  <a:gd name="connsiteX37" fmla="*/ 1809750 w 2245518"/>
                  <a:gd name="connsiteY37" fmla="*/ 90487 h 1964531"/>
                  <a:gd name="connsiteX38" fmla="*/ 1731168 w 2245518"/>
                  <a:gd name="connsiteY38" fmla="*/ 97631 h 1964531"/>
                  <a:gd name="connsiteX39" fmla="*/ 1716881 w 2245518"/>
                  <a:gd name="connsiteY39" fmla="*/ 140493 h 1964531"/>
                  <a:gd name="connsiteX40" fmla="*/ 1697831 w 2245518"/>
                  <a:gd name="connsiteY40" fmla="*/ 180975 h 1964531"/>
                  <a:gd name="connsiteX41" fmla="*/ 1688306 w 2245518"/>
                  <a:gd name="connsiteY41" fmla="*/ 219075 h 1964531"/>
                  <a:gd name="connsiteX42" fmla="*/ 1633537 w 2245518"/>
                  <a:gd name="connsiteY42" fmla="*/ 266700 h 1964531"/>
                  <a:gd name="connsiteX43" fmla="*/ 1485900 w 2245518"/>
                  <a:gd name="connsiteY43" fmla="*/ 273843 h 1964531"/>
                  <a:gd name="connsiteX44" fmla="*/ 1445418 w 2245518"/>
                  <a:gd name="connsiteY44" fmla="*/ 271462 h 1964531"/>
                  <a:gd name="connsiteX45" fmla="*/ 1412081 w 2245518"/>
                  <a:gd name="connsiteY45" fmla="*/ 216693 h 1964531"/>
                  <a:gd name="connsiteX46" fmla="*/ 1376362 w 2245518"/>
                  <a:gd name="connsiteY46" fmla="*/ 216693 h 1964531"/>
                  <a:gd name="connsiteX47" fmla="*/ 1366837 w 2245518"/>
                  <a:gd name="connsiteY47" fmla="*/ 254793 h 1964531"/>
                  <a:gd name="connsiteX48" fmla="*/ 1352550 w 2245518"/>
                  <a:gd name="connsiteY48" fmla="*/ 302418 h 1964531"/>
                  <a:gd name="connsiteX49" fmla="*/ 1309687 w 2245518"/>
                  <a:gd name="connsiteY49" fmla="*/ 311943 h 1964531"/>
                  <a:gd name="connsiteX50" fmla="*/ 1266825 w 2245518"/>
                  <a:gd name="connsiteY50" fmla="*/ 280987 h 1964531"/>
                  <a:gd name="connsiteX51" fmla="*/ 1238250 w 2245518"/>
                  <a:gd name="connsiteY51" fmla="*/ 252412 h 1964531"/>
                  <a:gd name="connsiteX52" fmla="*/ 1178718 w 2245518"/>
                  <a:gd name="connsiteY52" fmla="*/ 266700 h 1964531"/>
                  <a:gd name="connsiteX53" fmla="*/ 1088231 w 2245518"/>
                  <a:gd name="connsiteY53" fmla="*/ 192881 h 1964531"/>
                  <a:gd name="connsiteX54" fmla="*/ 1095375 w 2245518"/>
                  <a:gd name="connsiteY54" fmla="*/ 111918 h 1964531"/>
                  <a:gd name="connsiteX55" fmla="*/ 1000125 w 2245518"/>
                  <a:gd name="connsiteY55" fmla="*/ 85725 h 1964531"/>
                  <a:gd name="connsiteX56" fmla="*/ 947737 w 2245518"/>
                  <a:gd name="connsiteY56" fmla="*/ 76200 h 1964531"/>
                  <a:gd name="connsiteX57" fmla="*/ 902493 w 2245518"/>
                  <a:gd name="connsiteY57" fmla="*/ 133350 h 1964531"/>
                  <a:gd name="connsiteX58" fmla="*/ 850106 w 2245518"/>
                  <a:gd name="connsiteY58" fmla="*/ 150018 h 1964531"/>
                  <a:gd name="connsiteX59" fmla="*/ 816768 w 2245518"/>
                  <a:gd name="connsiteY59" fmla="*/ 97631 h 1964531"/>
                  <a:gd name="connsiteX60" fmla="*/ 797718 w 2245518"/>
                  <a:gd name="connsiteY60" fmla="*/ 80962 h 1964531"/>
                  <a:gd name="connsiteX61" fmla="*/ 685800 w 2245518"/>
                  <a:gd name="connsiteY61" fmla="*/ 66675 h 1964531"/>
                  <a:gd name="connsiteX62" fmla="*/ 645318 w 2245518"/>
                  <a:gd name="connsiteY62" fmla="*/ 92868 h 1964531"/>
                  <a:gd name="connsiteX63" fmla="*/ 597693 w 2245518"/>
                  <a:gd name="connsiteY63" fmla="*/ 107156 h 1964531"/>
                  <a:gd name="connsiteX64" fmla="*/ 569118 w 2245518"/>
                  <a:gd name="connsiteY64" fmla="*/ 154781 h 1964531"/>
                  <a:gd name="connsiteX65" fmla="*/ 528637 w 2245518"/>
                  <a:gd name="connsiteY65" fmla="*/ 176212 h 1964531"/>
                  <a:gd name="connsiteX66" fmla="*/ 471487 w 2245518"/>
                  <a:gd name="connsiteY66" fmla="*/ 188118 h 1964531"/>
                  <a:gd name="connsiteX67" fmla="*/ 421481 w 2245518"/>
                  <a:gd name="connsiteY67" fmla="*/ 135731 h 1964531"/>
                  <a:gd name="connsiteX68" fmla="*/ 350043 w 2245518"/>
                  <a:gd name="connsiteY68" fmla="*/ 59531 h 1964531"/>
                  <a:gd name="connsiteX69" fmla="*/ 300037 w 2245518"/>
                  <a:gd name="connsiteY69" fmla="*/ 0 h 1964531"/>
                  <a:gd name="connsiteX70" fmla="*/ 240506 w 2245518"/>
                  <a:gd name="connsiteY70" fmla="*/ 52387 h 1964531"/>
                  <a:gd name="connsiteX71" fmla="*/ 278606 w 2245518"/>
                  <a:gd name="connsiteY71" fmla="*/ 85725 h 1964531"/>
                  <a:gd name="connsiteX72" fmla="*/ 285750 w 2245518"/>
                  <a:gd name="connsiteY72" fmla="*/ 119062 h 1964531"/>
                  <a:gd name="connsiteX73" fmla="*/ 285750 w 2245518"/>
                  <a:gd name="connsiteY73" fmla="*/ 140493 h 1964531"/>
                  <a:gd name="connsiteX74" fmla="*/ 264318 w 2245518"/>
                  <a:gd name="connsiteY74" fmla="*/ 169068 h 1964531"/>
                  <a:gd name="connsiteX75" fmla="*/ 238125 w 2245518"/>
                  <a:gd name="connsiteY75" fmla="*/ 178593 h 1964531"/>
                  <a:gd name="connsiteX76" fmla="*/ 269081 w 2245518"/>
                  <a:gd name="connsiteY76" fmla="*/ 188118 h 1964531"/>
                  <a:gd name="connsiteX77" fmla="*/ 245268 w 2245518"/>
                  <a:gd name="connsiteY77" fmla="*/ 214312 h 1964531"/>
                  <a:gd name="connsiteX78" fmla="*/ 254793 w 2245518"/>
                  <a:gd name="connsiteY78" fmla="*/ 292893 h 1964531"/>
                  <a:gd name="connsiteX79" fmla="*/ 269081 w 2245518"/>
                  <a:gd name="connsiteY79" fmla="*/ 352425 h 1964531"/>
                  <a:gd name="connsiteX80" fmla="*/ 171450 w 2245518"/>
                  <a:gd name="connsiteY80" fmla="*/ 447675 h 1964531"/>
                  <a:gd name="connsiteX81" fmla="*/ 88106 w 2245518"/>
                  <a:gd name="connsiteY81" fmla="*/ 454818 h 1964531"/>
                  <a:gd name="connsiteX82" fmla="*/ 40481 w 2245518"/>
                  <a:gd name="connsiteY82" fmla="*/ 469106 h 1964531"/>
                  <a:gd name="connsiteX83" fmla="*/ 0 w 2245518"/>
                  <a:gd name="connsiteY83" fmla="*/ 531018 h 1964531"/>
                  <a:gd name="connsiteX84" fmla="*/ 59531 w 2245518"/>
                  <a:gd name="connsiteY84" fmla="*/ 583406 h 1964531"/>
                  <a:gd name="connsiteX85" fmla="*/ 95250 w 2245518"/>
                  <a:gd name="connsiteY85" fmla="*/ 602456 h 1964531"/>
                  <a:gd name="connsiteX86" fmla="*/ 61912 w 2245518"/>
                  <a:gd name="connsiteY86" fmla="*/ 619125 h 1964531"/>
                  <a:gd name="connsiteX87" fmla="*/ 61912 w 2245518"/>
                  <a:gd name="connsiteY87" fmla="*/ 726281 h 1964531"/>
                  <a:gd name="connsiteX88" fmla="*/ 147637 w 2245518"/>
                  <a:gd name="connsiteY88" fmla="*/ 766762 h 1964531"/>
                  <a:gd name="connsiteX89" fmla="*/ 185737 w 2245518"/>
                  <a:gd name="connsiteY89" fmla="*/ 745331 h 1964531"/>
                  <a:gd name="connsiteX90" fmla="*/ 245268 w 2245518"/>
                  <a:gd name="connsiteY90" fmla="*/ 792956 h 1964531"/>
                  <a:gd name="connsiteX91" fmla="*/ 207168 w 2245518"/>
                  <a:gd name="connsiteY91" fmla="*/ 835818 h 1964531"/>
                  <a:gd name="connsiteX92" fmla="*/ 223837 w 2245518"/>
                  <a:gd name="connsiteY92" fmla="*/ 997743 h 1964531"/>
                  <a:gd name="connsiteX93" fmla="*/ 250031 w 2245518"/>
                  <a:gd name="connsiteY93" fmla="*/ 1057275 h 1964531"/>
                  <a:gd name="connsiteX94" fmla="*/ 223837 w 2245518"/>
                  <a:gd name="connsiteY94" fmla="*/ 1104900 h 1964531"/>
                  <a:gd name="connsiteX95" fmla="*/ 173831 w 2245518"/>
                  <a:gd name="connsiteY95" fmla="*/ 1226343 h 1964531"/>
                  <a:gd name="connsiteX96" fmla="*/ 197643 w 2245518"/>
                  <a:gd name="connsiteY96" fmla="*/ 1381125 h 1964531"/>
                  <a:gd name="connsiteX97" fmla="*/ 290512 w 2245518"/>
                  <a:gd name="connsiteY97" fmla="*/ 1459706 h 1964531"/>
                  <a:gd name="connsiteX98" fmla="*/ 400050 w 2245518"/>
                  <a:gd name="connsiteY98" fmla="*/ 1516856 h 1964531"/>
                  <a:gd name="connsiteX99" fmla="*/ 428625 w 2245518"/>
                  <a:gd name="connsiteY99" fmla="*/ 1669256 h 1964531"/>
                  <a:gd name="connsiteX100" fmla="*/ 450056 w 2245518"/>
                  <a:gd name="connsiteY100" fmla="*/ 1964531 h 1964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2245518" h="1964531">
                    <a:moveTo>
                      <a:pt x="450056" y="1964531"/>
                    </a:moveTo>
                    <a:lnTo>
                      <a:pt x="914400" y="1888331"/>
                    </a:lnTo>
                    <a:lnTo>
                      <a:pt x="921543" y="1835943"/>
                    </a:lnTo>
                    <a:lnTo>
                      <a:pt x="962025" y="1752600"/>
                    </a:lnTo>
                    <a:lnTo>
                      <a:pt x="1033462" y="1757362"/>
                    </a:lnTo>
                    <a:lnTo>
                      <a:pt x="1276350" y="1507331"/>
                    </a:lnTo>
                    <a:lnTo>
                      <a:pt x="1316831" y="1521618"/>
                    </a:lnTo>
                    <a:lnTo>
                      <a:pt x="1343025" y="1421606"/>
                    </a:lnTo>
                    <a:lnTo>
                      <a:pt x="1469231" y="1440656"/>
                    </a:lnTo>
                    <a:lnTo>
                      <a:pt x="1571625" y="1240631"/>
                    </a:lnTo>
                    <a:lnTo>
                      <a:pt x="1688306" y="1231106"/>
                    </a:lnTo>
                    <a:lnTo>
                      <a:pt x="1816893" y="1350168"/>
                    </a:lnTo>
                    <a:lnTo>
                      <a:pt x="1850231" y="1404937"/>
                    </a:lnTo>
                    <a:lnTo>
                      <a:pt x="1847850" y="1433512"/>
                    </a:lnTo>
                    <a:lnTo>
                      <a:pt x="1935956" y="1488281"/>
                    </a:lnTo>
                    <a:lnTo>
                      <a:pt x="2000250" y="1431131"/>
                    </a:lnTo>
                    <a:lnTo>
                      <a:pt x="2245518" y="1254918"/>
                    </a:lnTo>
                    <a:lnTo>
                      <a:pt x="2219325" y="1209675"/>
                    </a:lnTo>
                    <a:lnTo>
                      <a:pt x="2190750" y="1185862"/>
                    </a:lnTo>
                    <a:lnTo>
                      <a:pt x="2195512" y="1145381"/>
                    </a:lnTo>
                    <a:lnTo>
                      <a:pt x="2164556" y="1064418"/>
                    </a:lnTo>
                    <a:lnTo>
                      <a:pt x="2121693" y="1033462"/>
                    </a:lnTo>
                    <a:lnTo>
                      <a:pt x="1974056" y="952500"/>
                    </a:lnTo>
                    <a:lnTo>
                      <a:pt x="1997868" y="895350"/>
                    </a:lnTo>
                    <a:lnTo>
                      <a:pt x="1971675" y="871537"/>
                    </a:lnTo>
                    <a:lnTo>
                      <a:pt x="1921668" y="909637"/>
                    </a:lnTo>
                    <a:lnTo>
                      <a:pt x="1838325" y="828675"/>
                    </a:lnTo>
                    <a:lnTo>
                      <a:pt x="1862137" y="785812"/>
                    </a:lnTo>
                    <a:lnTo>
                      <a:pt x="1852612" y="688181"/>
                    </a:lnTo>
                    <a:lnTo>
                      <a:pt x="1950243" y="571500"/>
                    </a:lnTo>
                    <a:lnTo>
                      <a:pt x="1988343" y="547687"/>
                    </a:lnTo>
                    <a:lnTo>
                      <a:pt x="1952625" y="411956"/>
                    </a:lnTo>
                    <a:lnTo>
                      <a:pt x="1881187" y="290512"/>
                    </a:lnTo>
                    <a:lnTo>
                      <a:pt x="1874043" y="259556"/>
                    </a:lnTo>
                    <a:lnTo>
                      <a:pt x="1912143" y="238125"/>
                    </a:lnTo>
                    <a:lnTo>
                      <a:pt x="1850231" y="142875"/>
                    </a:lnTo>
                    <a:lnTo>
                      <a:pt x="1807368" y="183356"/>
                    </a:lnTo>
                    <a:lnTo>
                      <a:pt x="1809750" y="90487"/>
                    </a:lnTo>
                    <a:lnTo>
                      <a:pt x="1731168" y="97631"/>
                    </a:lnTo>
                    <a:lnTo>
                      <a:pt x="1716881" y="140493"/>
                    </a:lnTo>
                    <a:lnTo>
                      <a:pt x="1697831" y="180975"/>
                    </a:lnTo>
                    <a:lnTo>
                      <a:pt x="1688306" y="219075"/>
                    </a:lnTo>
                    <a:lnTo>
                      <a:pt x="1633537" y="266700"/>
                    </a:lnTo>
                    <a:lnTo>
                      <a:pt x="1485900" y="273843"/>
                    </a:lnTo>
                    <a:lnTo>
                      <a:pt x="1445418" y="271462"/>
                    </a:lnTo>
                    <a:lnTo>
                      <a:pt x="1412081" y="216693"/>
                    </a:lnTo>
                    <a:lnTo>
                      <a:pt x="1376362" y="216693"/>
                    </a:lnTo>
                    <a:lnTo>
                      <a:pt x="1366837" y="254793"/>
                    </a:lnTo>
                    <a:lnTo>
                      <a:pt x="1352550" y="302418"/>
                    </a:lnTo>
                    <a:lnTo>
                      <a:pt x="1309687" y="311943"/>
                    </a:lnTo>
                    <a:lnTo>
                      <a:pt x="1266825" y="280987"/>
                    </a:lnTo>
                    <a:lnTo>
                      <a:pt x="1238250" y="252412"/>
                    </a:lnTo>
                    <a:lnTo>
                      <a:pt x="1178718" y="266700"/>
                    </a:lnTo>
                    <a:lnTo>
                      <a:pt x="1088231" y="192881"/>
                    </a:lnTo>
                    <a:lnTo>
                      <a:pt x="1095375" y="111918"/>
                    </a:lnTo>
                    <a:lnTo>
                      <a:pt x="1000125" y="85725"/>
                    </a:lnTo>
                    <a:lnTo>
                      <a:pt x="947737" y="76200"/>
                    </a:lnTo>
                    <a:lnTo>
                      <a:pt x="902493" y="133350"/>
                    </a:lnTo>
                    <a:lnTo>
                      <a:pt x="850106" y="150018"/>
                    </a:lnTo>
                    <a:lnTo>
                      <a:pt x="816768" y="97631"/>
                    </a:lnTo>
                    <a:lnTo>
                      <a:pt x="797718" y="80962"/>
                    </a:lnTo>
                    <a:lnTo>
                      <a:pt x="685800" y="66675"/>
                    </a:lnTo>
                    <a:lnTo>
                      <a:pt x="645318" y="92868"/>
                    </a:lnTo>
                    <a:lnTo>
                      <a:pt x="597693" y="107156"/>
                    </a:lnTo>
                    <a:lnTo>
                      <a:pt x="569118" y="154781"/>
                    </a:lnTo>
                    <a:lnTo>
                      <a:pt x="528637" y="176212"/>
                    </a:lnTo>
                    <a:lnTo>
                      <a:pt x="471487" y="188118"/>
                    </a:lnTo>
                    <a:lnTo>
                      <a:pt x="421481" y="135731"/>
                    </a:lnTo>
                    <a:lnTo>
                      <a:pt x="350043" y="59531"/>
                    </a:lnTo>
                    <a:lnTo>
                      <a:pt x="300037" y="0"/>
                    </a:lnTo>
                    <a:lnTo>
                      <a:pt x="240506" y="52387"/>
                    </a:lnTo>
                    <a:lnTo>
                      <a:pt x="278606" y="85725"/>
                    </a:lnTo>
                    <a:lnTo>
                      <a:pt x="285750" y="119062"/>
                    </a:lnTo>
                    <a:lnTo>
                      <a:pt x="285750" y="140493"/>
                    </a:lnTo>
                    <a:lnTo>
                      <a:pt x="264318" y="169068"/>
                    </a:lnTo>
                    <a:lnTo>
                      <a:pt x="238125" y="178593"/>
                    </a:lnTo>
                    <a:lnTo>
                      <a:pt x="269081" y="188118"/>
                    </a:lnTo>
                    <a:lnTo>
                      <a:pt x="245268" y="214312"/>
                    </a:lnTo>
                    <a:lnTo>
                      <a:pt x="254793" y="292893"/>
                    </a:lnTo>
                    <a:lnTo>
                      <a:pt x="269081" y="352425"/>
                    </a:lnTo>
                    <a:lnTo>
                      <a:pt x="171450" y="447675"/>
                    </a:lnTo>
                    <a:lnTo>
                      <a:pt x="88106" y="454818"/>
                    </a:lnTo>
                    <a:lnTo>
                      <a:pt x="40481" y="469106"/>
                    </a:lnTo>
                    <a:lnTo>
                      <a:pt x="0" y="531018"/>
                    </a:lnTo>
                    <a:lnTo>
                      <a:pt x="59531" y="583406"/>
                    </a:lnTo>
                    <a:lnTo>
                      <a:pt x="95250" y="602456"/>
                    </a:lnTo>
                    <a:lnTo>
                      <a:pt x="61912" y="619125"/>
                    </a:lnTo>
                    <a:lnTo>
                      <a:pt x="61912" y="726281"/>
                    </a:lnTo>
                    <a:lnTo>
                      <a:pt x="147637" y="766762"/>
                    </a:lnTo>
                    <a:lnTo>
                      <a:pt x="185737" y="745331"/>
                    </a:lnTo>
                    <a:lnTo>
                      <a:pt x="245268" y="792956"/>
                    </a:lnTo>
                    <a:lnTo>
                      <a:pt x="207168" y="835818"/>
                    </a:lnTo>
                    <a:lnTo>
                      <a:pt x="223837" y="997743"/>
                    </a:lnTo>
                    <a:lnTo>
                      <a:pt x="250031" y="1057275"/>
                    </a:lnTo>
                    <a:lnTo>
                      <a:pt x="223837" y="1104900"/>
                    </a:lnTo>
                    <a:lnTo>
                      <a:pt x="173831" y="1226343"/>
                    </a:lnTo>
                    <a:lnTo>
                      <a:pt x="197643" y="1381125"/>
                    </a:lnTo>
                    <a:lnTo>
                      <a:pt x="290512" y="1459706"/>
                    </a:lnTo>
                    <a:lnTo>
                      <a:pt x="400050" y="1516856"/>
                    </a:lnTo>
                    <a:lnTo>
                      <a:pt x="428625" y="1669256"/>
                    </a:lnTo>
                    <a:lnTo>
                      <a:pt x="450056" y="1964531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7" name="Freeform 11"/>
              <p:cNvSpPr/>
              <p:nvPr/>
            </p:nvSpPr>
            <p:spPr>
              <a:xfrm>
                <a:off x="2791961" y="2527167"/>
                <a:ext cx="1526370" cy="1191359"/>
              </a:xfrm>
              <a:custGeom>
                <a:avLst/>
                <a:gdLst>
                  <a:gd name="connsiteX0" fmla="*/ 0 w 2171700"/>
                  <a:gd name="connsiteY0" fmla="*/ 652462 h 1828800"/>
                  <a:gd name="connsiteX1" fmla="*/ 295275 w 2171700"/>
                  <a:gd name="connsiteY1" fmla="*/ 892968 h 1828800"/>
                  <a:gd name="connsiteX2" fmla="*/ 485775 w 2171700"/>
                  <a:gd name="connsiteY2" fmla="*/ 1054893 h 1828800"/>
                  <a:gd name="connsiteX3" fmla="*/ 547688 w 2171700"/>
                  <a:gd name="connsiteY3" fmla="*/ 1097756 h 1828800"/>
                  <a:gd name="connsiteX4" fmla="*/ 566738 w 2171700"/>
                  <a:gd name="connsiteY4" fmla="*/ 1140618 h 1828800"/>
                  <a:gd name="connsiteX5" fmla="*/ 545307 w 2171700"/>
                  <a:gd name="connsiteY5" fmla="*/ 1157287 h 1828800"/>
                  <a:gd name="connsiteX6" fmla="*/ 754857 w 2171700"/>
                  <a:gd name="connsiteY6" fmla="*/ 1423987 h 1828800"/>
                  <a:gd name="connsiteX7" fmla="*/ 909638 w 2171700"/>
                  <a:gd name="connsiteY7" fmla="*/ 1388268 h 1828800"/>
                  <a:gd name="connsiteX8" fmla="*/ 1023938 w 2171700"/>
                  <a:gd name="connsiteY8" fmla="*/ 1378743 h 1828800"/>
                  <a:gd name="connsiteX9" fmla="*/ 1109663 w 2171700"/>
                  <a:gd name="connsiteY9" fmla="*/ 1395412 h 1828800"/>
                  <a:gd name="connsiteX10" fmla="*/ 1228725 w 2171700"/>
                  <a:gd name="connsiteY10" fmla="*/ 1404937 h 1828800"/>
                  <a:gd name="connsiteX11" fmla="*/ 1328738 w 2171700"/>
                  <a:gd name="connsiteY11" fmla="*/ 1416843 h 1828800"/>
                  <a:gd name="connsiteX12" fmla="*/ 1428750 w 2171700"/>
                  <a:gd name="connsiteY12" fmla="*/ 1359693 h 1828800"/>
                  <a:gd name="connsiteX13" fmla="*/ 1500188 w 2171700"/>
                  <a:gd name="connsiteY13" fmla="*/ 1450181 h 1828800"/>
                  <a:gd name="connsiteX14" fmla="*/ 1590675 w 2171700"/>
                  <a:gd name="connsiteY14" fmla="*/ 1502568 h 1828800"/>
                  <a:gd name="connsiteX15" fmla="*/ 1643063 w 2171700"/>
                  <a:gd name="connsiteY15" fmla="*/ 1650206 h 1828800"/>
                  <a:gd name="connsiteX16" fmla="*/ 1728788 w 2171700"/>
                  <a:gd name="connsiteY16" fmla="*/ 1600200 h 1828800"/>
                  <a:gd name="connsiteX17" fmla="*/ 1709738 w 2171700"/>
                  <a:gd name="connsiteY17" fmla="*/ 1828800 h 1828800"/>
                  <a:gd name="connsiteX18" fmla="*/ 1909763 w 2171700"/>
                  <a:gd name="connsiteY18" fmla="*/ 1676400 h 1828800"/>
                  <a:gd name="connsiteX19" fmla="*/ 1985963 w 2171700"/>
                  <a:gd name="connsiteY19" fmla="*/ 1645443 h 1828800"/>
                  <a:gd name="connsiteX20" fmla="*/ 2131219 w 2171700"/>
                  <a:gd name="connsiteY20" fmla="*/ 1545431 h 1828800"/>
                  <a:gd name="connsiteX21" fmla="*/ 2081213 w 2171700"/>
                  <a:gd name="connsiteY21" fmla="*/ 1471612 h 1828800"/>
                  <a:gd name="connsiteX22" fmla="*/ 2169319 w 2171700"/>
                  <a:gd name="connsiteY22" fmla="*/ 1395412 h 1828800"/>
                  <a:gd name="connsiteX23" fmla="*/ 2162175 w 2171700"/>
                  <a:gd name="connsiteY23" fmla="*/ 1345406 h 1828800"/>
                  <a:gd name="connsiteX24" fmla="*/ 2169319 w 2171700"/>
                  <a:gd name="connsiteY24" fmla="*/ 1290637 h 1828800"/>
                  <a:gd name="connsiteX25" fmla="*/ 2171700 w 2171700"/>
                  <a:gd name="connsiteY25" fmla="*/ 1259681 h 1828800"/>
                  <a:gd name="connsiteX26" fmla="*/ 2062163 w 2171700"/>
                  <a:gd name="connsiteY26" fmla="*/ 1171575 h 1828800"/>
                  <a:gd name="connsiteX27" fmla="*/ 2059782 w 2171700"/>
                  <a:gd name="connsiteY27" fmla="*/ 947737 h 1828800"/>
                  <a:gd name="connsiteX28" fmla="*/ 1988344 w 2171700"/>
                  <a:gd name="connsiteY28" fmla="*/ 847725 h 1828800"/>
                  <a:gd name="connsiteX29" fmla="*/ 2019300 w 2171700"/>
                  <a:gd name="connsiteY29" fmla="*/ 657225 h 1828800"/>
                  <a:gd name="connsiteX30" fmla="*/ 1990725 w 2171700"/>
                  <a:gd name="connsiteY30" fmla="*/ 619125 h 1828800"/>
                  <a:gd name="connsiteX31" fmla="*/ 1976438 w 2171700"/>
                  <a:gd name="connsiteY31" fmla="*/ 597693 h 1828800"/>
                  <a:gd name="connsiteX32" fmla="*/ 1916907 w 2171700"/>
                  <a:gd name="connsiteY32" fmla="*/ 597693 h 1828800"/>
                  <a:gd name="connsiteX33" fmla="*/ 1864519 w 2171700"/>
                  <a:gd name="connsiteY33" fmla="*/ 590550 h 1828800"/>
                  <a:gd name="connsiteX34" fmla="*/ 1831182 w 2171700"/>
                  <a:gd name="connsiteY34" fmla="*/ 619125 h 1828800"/>
                  <a:gd name="connsiteX35" fmla="*/ 1621632 w 2171700"/>
                  <a:gd name="connsiteY35" fmla="*/ 609600 h 1828800"/>
                  <a:gd name="connsiteX36" fmla="*/ 1516857 w 2171700"/>
                  <a:gd name="connsiteY36" fmla="*/ 509587 h 1828800"/>
                  <a:gd name="connsiteX37" fmla="*/ 1250157 w 2171700"/>
                  <a:gd name="connsiteY37" fmla="*/ 390525 h 1828800"/>
                  <a:gd name="connsiteX38" fmla="*/ 1135857 w 2171700"/>
                  <a:gd name="connsiteY38" fmla="*/ 335756 h 1828800"/>
                  <a:gd name="connsiteX39" fmla="*/ 1083469 w 2171700"/>
                  <a:gd name="connsiteY39" fmla="*/ 273843 h 1828800"/>
                  <a:gd name="connsiteX40" fmla="*/ 1040607 w 2171700"/>
                  <a:gd name="connsiteY40" fmla="*/ 271462 h 1828800"/>
                  <a:gd name="connsiteX41" fmla="*/ 947738 w 2171700"/>
                  <a:gd name="connsiteY41" fmla="*/ 190500 h 1828800"/>
                  <a:gd name="connsiteX42" fmla="*/ 950119 w 2171700"/>
                  <a:gd name="connsiteY42" fmla="*/ 159543 h 1828800"/>
                  <a:gd name="connsiteX43" fmla="*/ 878682 w 2171700"/>
                  <a:gd name="connsiteY43" fmla="*/ 76200 h 1828800"/>
                  <a:gd name="connsiteX44" fmla="*/ 797719 w 2171700"/>
                  <a:gd name="connsiteY44" fmla="*/ 0 h 1828800"/>
                  <a:gd name="connsiteX45" fmla="*/ 685800 w 2171700"/>
                  <a:gd name="connsiteY45" fmla="*/ 0 h 1828800"/>
                  <a:gd name="connsiteX46" fmla="*/ 640557 w 2171700"/>
                  <a:gd name="connsiteY46" fmla="*/ 71437 h 1828800"/>
                  <a:gd name="connsiteX47" fmla="*/ 576263 w 2171700"/>
                  <a:gd name="connsiteY47" fmla="*/ 202406 h 1828800"/>
                  <a:gd name="connsiteX48" fmla="*/ 452438 w 2171700"/>
                  <a:gd name="connsiteY48" fmla="*/ 185737 h 1828800"/>
                  <a:gd name="connsiteX49" fmla="*/ 423863 w 2171700"/>
                  <a:gd name="connsiteY49" fmla="*/ 288131 h 1828800"/>
                  <a:gd name="connsiteX50" fmla="*/ 385763 w 2171700"/>
                  <a:gd name="connsiteY50" fmla="*/ 271462 h 1828800"/>
                  <a:gd name="connsiteX51" fmla="*/ 145257 w 2171700"/>
                  <a:gd name="connsiteY51" fmla="*/ 519112 h 1828800"/>
                  <a:gd name="connsiteX52" fmla="*/ 71438 w 2171700"/>
                  <a:gd name="connsiteY52" fmla="*/ 516731 h 1828800"/>
                  <a:gd name="connsiteX53" fmla="*/ 40482 w 2171700"/>
                  <a:gd name="connsiteY53" fmla="*/ 566737 h 1828800"/>
                  <a:gd name="connsiteX54" fmla="*/ 28575 w 2171700"/>
                  <a:gd name="connsiteY54" fmla="*/ 602456 h 1828800"/>
                  <a:gd name="connsiteX55" fmla="*/ 0 w 2171700"/>
                  <a:gd name="connsiteY55" fmla="*/ 652462 h 1828800"/>
                  <a:gd name="connsiteX0" fmla="*/ 0 w 2171700"/>
                  <a:gd name="connsiteY0" fmla="*/ 652462 h 1828800"/>
                  <a:gd name="connsiteX1" fmla="*/ 295275 w 2171700"/>
                  <a:gd name="connsiteY1" fmla="*/ 892968 h 1828800"/>
                  <a:gd name="connsiteX2" fmla="*/ 485775 w 2171700"/>
                  <a:gd name="connsiteY2" fmla="*/ 1054893 h 1828800"/>
                  <a:gd name="connsiteX3" fmla="*/ 547688 w 2171700"/>
                  <a:gd name="connsiteY3" fmla="*/ 1097756 h 1828800"/>
                  <a:gd name="connsiteX4" fmla="*/ 566738 w 2171700"/>
                  <a:gd name="connsiteY4" fmla="*/ 1140618 h 1828800"/>
                  <a:gd name="connsiteX5" fmla="*/ 545307 w 2171700"/>
                  <a:gd name="connsiteY5" fmla="*/ 1157287 h 1828800"/>
                  <a:gd name="connsiteX6" fmla="*/ 754857 w 2171700"/>
                  <a:gd name="connsiteY6" fmla="*/ 1423987 h 1828800"/>
                  <a:gd name="connsiteX7" fmla="*/ 909638 w 2171700"/>
                  <a:gd name="connsiteY7" fmla="*/ 1388268 h 1828800"/>
                  <a:gd name="connsiteX8" fmla="*/ 1023938 w 2171700"/>
                  <a:gd name="connsiteY8" fmla="*/ 1378743 h 1828800"/>
                  <a:gd name="connsiteX9" fmla="*/ 1109663 w 2171700"/>
                  <a:gd name="connsiteY9" fmla="*/ 1395412 h 1828800"/>
                  <a:gd name="connsiteX10" fmla="*/ 1228725 w 2171700"/>
                  <a:gd name="connsiteY10" fmla="*/ 1404937 h 1828800"/>
                  <a:gd name="connsiteX11" fmla="*/ 1328738 w 2171700"/>
                  <a:gd name="connsiteY11" fmla="*/ 1416843 h 1828800"/>
                  <a:gd name="connsiteX12" fmla="*/ 1428750 w 2171700"/>
                  <a:gd name="connsiteY12" fmla="*/ 1359693 h 1828800"/>
                  <a:gd name="connsiteX13" fmla="*/ 1500188 w 2171700"/>
                  <a:gd name="connsiteY13" fmla="*/ 1450181 h 1828800"/>
                  <a:gd name="connsiteX14" fmla="*/ 1590675 w 2171700"/>
                  <a:gd name="connsiteY14" fmla="*/ 1502568 h 1828800"/>
                  <a:gd name="connsiteX15" fmla="*/ 1643063 w 2171700"/>
                  <a:gd name="connsiteY15" fmla="*/ 1650206 h 1828800"/>
                  <a:gd name="connsiteX16" fmla="*/ 1728788 w 2171700"/>
                  <a:gd name="connsiteY16" fmla="*/ 1600200 h 1828800"/>
                  <a:gd name="connsiteX17" fmla="*/ 1709738 w 2171700"/>
                  <a:gd name="connsiteY17" fmla="*/ 1828800 h 1828800"/>
                  <a:gd name="connsiteX18" fmla="*/ 1909763 w 2171700"/>
                  <a:gd name="connsiteY18" fmla="*/ 1676400 h 1828800"/>
                  <a:gd name="connsiteX19" fmla="*/ 1985963 w 2171700"/>
                  <a:gd name="connsiteY19" fmla="*/ 1645443 h 1828800"/>
                  <a:gd name="connsiteX20" fmla="*/ 2131219 w 2171700"/>
                  <a:gd name="connsiteY20" fmla="*/ 1545431 h 1828800"/>
                  <a:gd name="connsiteX21" fmla="*/ 2081213 w 2171700"/>
                  <a:gd name="connsiteY21" fmla="*/ 1471612 h 1828800"/>
                  <a:gd name="connsiteX22" fmla="*/ 2169319 w 2171700"/>
                  <a:gd name="connsiteY22" fmla="*/ 1395412 h 1828800"/>
                  <a:gd name="connsiteX23" fmla="*/ 2162175 w 2171700"/>
                  <a:gd name="connsiteY23" fmla="*/ 1345406 h 1828800"/>
                  <a:gd name="connsiteX24" fmla="*/ 2169319 w 2171700"/>
                  <a:gd name="connsiteY24" fmla="*/ 1290637 h 1828800"/>
                  <a:gd name="connsiteX25" fmla="*/ 2171700 w 2171700"/>
                  <a:gd name="connsiteY25" fmla="*/ 1259681 h 1828800"/>
                  <a:gd name="connsiteX26" fmla="*/ 2062163 w 2171700"/>
                  <a:gd name="connsiteY26" fmla="*/ 1171575 h 1828800"/>
                  <a:gd name="connsiteX27" fmla="*/ 2059782 w 2171700"/>
                  <a:gd name="connsiteY27" fmla="*/ 947737 h 1828800"/>
                  <a:gd name="connsiteX28" fmla="*/ 1988344 w 2171700"/>
                  <a:gd name="connsiteY28" fmla="*/ 847725 h 1828800"/>
                  <a:gd name="connsiteX29" fmla="*/ 2019300 w 2171700"/>
                  <a:gd name="connsiteY29" fmla="*/ 657225 h 1828800"/>
                  <a:gd name="connsiteX30" fmla="*/ 1990725 w 2171700"/>
                  <a:gd name="connsiteY30" fmla="*/ 619125 h 1828800"/>
                  <a:gd name="connsiteX31" fmla="*/ 1976438 w 2171700"/>
                  <a:gd name="connsiteY31" fmla="*/ 597693 h 1828800"/>
                  <a:gd name="connsiteX32" fmla="*/ 1916907 w 2171700"/>
                  <a:gd name="connsiteY32" fmla="*/ 597693 h 1828800"/>
                  <a:gd name="connsiteX33" fmla="*/ 1864519 w 2171700"/>
                  <a:gd name="connsiteY33" fmla="*/ 590550 h 1828800"/>
                  <a:gd name="connsiteX34" fmla="*/ 1831182 w 2171700"/>
                  <a:gd name="connsiteY34" fmla="*/ 619125 h 1828800"/>
                  <a:gd name="connsiteX35" fmla="*/ 1621632 w 2171700"/>
                  <a:gd name="connsiteY35" fmla="*/ 609600 h 1828800"/>
                  <a:gd name="connsiteX36" fmla="*/ 1516857 w 2171700"/>
                  <a:gd name="connsiteY36" fmla="*/ 509587 h 1828800"/>
                  <a:gd name="connsiteX37" fmla="*/ 1250157 w 2171700"/>
                  <a:gd name="connsiteY37" fmla="*/ 390525 h 1828800"/>
                  <a:gd name="connsiteX38" fmla="*/ 1135857 w 2171700"/>
                  <a:gd name="connsiteY38" fmla="*/ 335756 h 1828800"/>
                  <a:gd name="connsiteX39" fmla="*/ 1083469 w 2171700"/>
                  <a:gd name="connsiteY39" fmla="*/ 273843 h 1828800"/>
                  <a:gd name="connsiteX40" fmla="*/ 1040607 w 2171700"/>
                  <a:gd name="connsiteY40" fmla="*/ 271462 h 1828800"/>
                  <a:gd name="connsiteX41" fmla="*/ 1014413 w 2171700"/>
                  <a:gd name="connsiteY41" fmla="*/ 247650 h 1828800"/>
                  <a:gd name="connsiteX42" fmla="*/ 947738 w 2171700"/>
                  <a:gd name="connsiteY42" fmla="*/ 190500 h 1828800"/>
                  <a:gd name="connsiteX43" fmla="*/ 950119 w 2171700"/>
                  <a:gd name="connsiteY43" fmla="*/ 159543 h 1828800"/>
                  <a:gd name="connsiteX44" fmla="*/ 878682 w 2171700"/>
                  <a:gd name="connsiteY44" fmla="*/ 76200 h 1828800"/>
                  <a:gd name="connsiteX45" fmla="*/ 797719 w 2171700"/>
                  <a:gd name="connsiteY45" fmla="*/ 0 h 1828800"/>
                  <a:gd name="connsiteX46" fmla="*/ 685800 w 2171700"/>
                  <a:gd name="connsiteY46" fmla="*/ 0 h 1828800"/>
                  <a:gd name="connsiteX47" fmla="*/ 640557 w 2171700"/>
                  <a:gd name="connsiteY47" fmla="*/ 71437 h 1828800"/>
                  <a:gd name="connsiteX48" fmla="*/ 576263 w 2171700"/>
                  <a:gd name="connsiteY48" fmla="*/ 202406 h 1828800"/>
                  <a:gd name="connsiteX49" fmla="*/ 452438 w 2171700"/>
                  <a:gd name="connsiteY49" fmla="*/ 185737 h 1828800"/>
                  <a:gd name="connsiteX50" fmla="*/ 423863 w 2171700"/>
                  <a:gd name="connsiteY50" fmla="*/ 288131 h 1828800"/>
                  <a:gd name="connsiteX51" fmla="*/ 385763 w 2171700"/>
                  <a:gd name="connsiteY51" fmla="*/ 271462 h 1828800"/>
                  <a:gd name="connsiteX52" fmla="*/ 145257 w 2171700"/>
                  <a:gd name="connsiteY52" fmla="*/ 519112 h 1828800"/>
                  <a:gd name="connsiteX53" fmla="*/ 71438 w 2171700"/>
                  <a:gd name="connsiteY53" fmla="*/ 516731 h 1828800"/>
                  <a:gd name="connsiteX54" fmla="*/ 40482 w 2171700"/>
                  <a:gd name="connsiteY54" fmla="*/ 566737 h 1828800"/>
                  <a:gd name="connsiteX55" fmla="*/ 28575 w 2171700"/>
                  <a:gd name="connsiteY55" fmla="*/ 602456 h 1828800"/>
                  <a:gd name="connsiteX56" fmla="*/ 0 w 2171700"/>
                  <a:gd name="connsiteY56" fmla="*/ 652462 h 1828800"/>
                  <a:gd name="connsiteX0" fmla="*/ 0 w 2171700"/>
                  <a:gd name="connsiteY0" fmla="*/ 652462 h 1828800"/>
                  <a:gd name="connsiteX1" fmla="*/ 295275 w 2171700"/>
                  <a:gd name="connsiteY1" fmla="*/ 892968 h 1828800"/>
                  <a:gd name="connsiteX2" fmla="*/ 485775 w 2171700"/>
                  <a:gd name="connsiteY2" fmla="*/ 1054893 h 1828800"/>
                  <a:gd name="connsiteX3" fmla="*/ 547688 w 2171700"/>
                  <a:gd name="connsiteY3" fmla="*/ 1097756 h 1828800"/>
                  <a:gd name="connsiteX4" fmla="*/ 566738 w 2171700"/>
                  <a:gd name="connsiteY4" fmla="*/ 1140618 h 1828800"/>
                  <a:gd name="connsiteX5" fmla="*/ 545307 w 2171700"/>
                  <a:gd name="connsiteY5" fmla="*/ 1157287 h 1828800"/>
                  <a:gd name="connsiteX6" fmla="*/ 754857 w 2171700"/>
                  <a:gd name="connsiteY6" fmla="*/ 1423987 h 1828800"/>
                  <a:gd name="connsiteX7" fmla="*/ 909638 w 2171700"/>
                  <a:gd name="connsiteY7" fmla="*/ 1388268 h 1828800"/>
                  <a:gd name="connsiteX8" fmla="*/ 1023938 w 2171700"/>
                  <a:gd name="connsiteY8" fmla="*/ 1378743 h 1828800"/>
                  <a:gd name="connsiteX9" fmla="*/ 1109663 w 2171700"/>
                  <a:gd name="connsiteY9" fmla="*/ 1395412 h 1828800"/>
                  <a:gd name="connsiteX10" fmla="*/ 1228725 w 2171700"/>
                  <a:gd name="connsiteY10" fmla="*/ 1404937 h 1828800"/>
                  <a:gd name="connsiteX11" fmla="*/ 1328738 w 2171700"/>
                  <a:gd name="connsiteY11" fmla="*/ 1416843 h 1828800"/>
                  <a:gd name="connsiteX12" fmla="*/ 1428750 w 2171700"/>
                  <a:gd name="connsiteY12" fmla="*/ 1359693 h 1828800"/>
                  <a:gd name="connsiteX13" fmla="*/ 1500188 w 2171700"/>
                  <a:gd name="connsiteY13" fmla="*/ 1450181 h 1828800"/>
                  <a:gd name="connsiteX14" fmla="*/ 1590675 w 2171700"/>
                  <a:gd name="connsiteY14" fmla="*/ 1502568 h 1828800"/>
                  <a:gd name="connsiteX15" fmla="*/ 1643063 w 2171700"/>
                  <a:gd name="connsiteY15" fmla="*/ 1650206 h 1828800"/>
                  <a:gd name="connsiteX16" fmla="*/ 1728788 w 2171700"/>
                  <a:gd name="connsiteY16" fmla="*/ 1600200 h 1828800"/>
                  <a:gd name="connsiteX17" fmla="*/ 1709738 w 2171700"/>
                  <a:gd name="connsiteY17" fmla="*/ 1828800 h 1828800"/>
                  <a:gd name="connsiteX18" fmla="*/ 1909763 w 2171700"/>
                  <a:gd name="connsiteY18" fmla="*/ 1676400 h 1828800"/>
                  <a:gd name="connsiteX19" fmla="*/ 1985963 w 2171700"/>
                  <a:gd name="connsiteY19" fmla="*/ 1645443 h 1828800"/>
                  <a:gd name="connsiteX20" fmla="*/ 2131219 w 2171700"/>
                  <a:gd name="connsiteY20" fmla="*/ 1545431 h 1828800"/>
                  <a:gd name="connsiteX21" fmla="*/ 2081213 w 2171700"/>
                  <a:gd name="connsiteY21" fmla="*/ 1471612 h 1828800"/>
                  <a:gd name="connsiteX22" fmla="*/ 2169319 w 2171700"/>
                  <a:gd name="connsiteY22" fmla="*/ 1395412 h 1828800"/>
                  <a:gd name="connsiteX23" fmla="*/ 2162175 w 2171700"/>
                  <a:gd name="connsiteY23" fmla="*/ 1345406 h 1828800"/>
                  <a:gd name="connsiteX24" fmla="*/ 2169319 w 2171700"/>
                  <a:gd name="connsiteY24" fmla="*/ 1290637 h 1828800"/>
                  <a:gd name="connsiteX25" fmla="*/ 2171700 w 2171700"/>
                  <a:gd name="connsiteY25" fmla="*/ 1259681 h 1828800"/>
                  <a:gd name="connsiteX26" fmla="*/ 2062163 w 2171700"/>
                  <a:gd name="connsiteY26" fmla="*/ 1171575 h 1828800"/>
                  <a:gd name="connsiteX27" fmla="*/ 2059782 w 2171700"/>
                  <a:gd name="connsiteY27" fmla="*/ 947737 h 1828800"/>
                  <a:gd name="connsiteX28" fmla="*/ 1988344 w 2171700"/>
                  <a:gd name="connsiteY28" fmla="*/ 847725 h 1828800"/>
                  <a:gd name="connsiteX29" fmla="*/ 2019300 w 2171700"/>
                  <a:gd name="connsiteY29" fmla="*/ 657225 h 1828800"/>
                  <a:gd name="connsiteX30" fmla="*/ 1990725 w 2171700"/>
                  <a:gd name="connsiteY30" fmla="*/ 619125 h 1828800"/>
                  <a:gd name="connsiteX31" fmla="*/ 1976438 w 2171700"/>
                  <a:gd name="connsiteY31" fmla="*/ 597693 h 1828800"/>
                  <a:gd name="connsiteX32" fmla="*/ 1916907 w 2171700"/>
                  <a:gd name="connsiteY32" fmla="*/ 597693 h 1828800"/>
                  <a:gd name="connsiteX33" fmla="*/ 1864519 w 2171700"/>
                  <a:gd name="connsiteY33" fmla="*/ 590550 h 1828800"/>
                  <a:gd name="connsiteX34" fmla="*/ 1831182 w 2171700"/>
                  <a:gd name="connsiteY34" fmla="*/ 619125 h 1828800"/>
                  <a:gd name="connsiteX35" fmla="*/ 1621632 w 2171700"/>
                  <a:gd name="connsiteY35" fmla="*/ 609600 h 1828800"/>
                  <a:gd name="connsiteX36" fmla="*/ 1516857 w 2171700"/>
                  <a:gd name="connsiteY36" fmla="*/ 509587 h 1828800"/>
                  <a:gd name="connsiteX37" fmla="*/ 1250157 w 2171700"/>
                  <a:gd name="connsiteY37" fmla="*/ 390525 h 1828800"/>
                  <a:gd name="connsiteX38" fmla="*/ 1135857 w 2171700"/>
                  <a:gd name="connsiteY38" fmla="*/ 335756 h 1828800"/>
                  <a:gd name="connsiteX39" fmla="*/ 1083469 w 2171700"/>
                  <a:gd name="connsiteY39" fmla="*/ 273843 h 1828800"/>
                  <a:gd name="connsiteX40" fmla="*/ 1040607 w 2171700"/>
                  <a:gd name="connsiteY40" fmla="*/ 271462 h 1828800"/>
                  <a:gd name="connsiteX41" fmla="*/ 1042988 w 2171700"/>
                  <a:gd name="connsiteY41" fmla="*/ 242887 h 1828800"/>
                  <a:gd name="connsiteX42" fmla="*/ 947738 w 2171700"/>
                  <a:gd name="connsiteY42" fmla="*/ 190500 h 1828800"/>
                  <a:gd name="connsiteX43" fmla="*/ 950119 w 2171700"/>
                  <a:gd name="connsiteY43" fmla="*/ 159543 h 1828800"/>
                  <a:gd name="connsiteX44" fmla="*/ 878682 w 2171700"/>
                  <a:gd name="connsiteY44" fmla="*/ 76200 h 1828800"/>
                  <a:gd name="connsiteX45" fmla="*/ 797719 w 2171700"/>
                  <a:gd name="connsiteY45" fmla="*/ 0 h 1828800"/>
                  <a:gd name="connsiteX46" fmla="*/ 685800 w 2171700"/>
                  <a:gd name="connsiteY46" fmla="*/ 0 h 1828800"/>
                  <a:gd name="connsiteX47" fmla="*/ 640557 w 2171700"/>
                  <a:gd name="connsiteY47" fmla="*/ 71437 h 1828800"/>
                  <a:gd name="connsiteX48" fmla="*/ 576263 w 2171700"/>
                  <a:gd name="connsiteY48" fmla="*/ 202406 h 1828800"/>
                  <a:gd name="connsiteX49" fmla="*/ 452438 w 2171700"/>
                  <a:gd name="connsiteY49" fmla="*/ 185737 h 1828800"/>
                  <a:gd name="connsiteX50" fmla="*/ 423863 w 2171700"/>
                  <a:gd name="connsiteY50" fmla="*/ 288131 h 1828800"/>
                  <a:gd name="connsiteX51" fmla="*/ 385763 w 2171700"/>
                  <a:gd name="connsiteY51" fmla="*/ 271462 h 1828800"/>
                  <a:gd name="connsiteX52" fmla="*/ 145257 w 2171700"/>
                  <a:gd name="connsiteY52" fmla="*/ 519112 h 1828800"/>
                  <a:gd name="connsiteX53" fmla="*/ 71438 w 2171700"/>
                  <a:gd name="connsiteY53" fmla="*/ 516731 h 1828800"/>
                  <a:gd name="connsiteX54" fmla="*/ 40482 w 2171700"/>
                  <a:gd name="connsiteY54" fmla="*/ 566737 h 1828800"/>
                  <a:gd name="connsiteX55" fmla="*/ 28575 w 2171700"/>
                  <a:gd name="connsiteY55" fmla="*/ 602456 h 1828800"/>
                  <a:gd name="connsiteX56" fmla="*/ 0 w 2171700"/>
                  <a:gd name="connsiteY56" fmla="*/ 652462 h 1828800"/>
                  <a:gd name="connsiteX0" fmla="*/ 0 w 2171700"/>
                  <a:gd name="connsiteY0" fmla="*/ 652462 h 1828800"/>
                  <a:gd name="connsiteX1" fmla="*/ 295275 w 2171700"/>
                  <a:gd name="connsiteY1" fmla="*/ 892968 h 1828800"/>
                  <a:gd name="connsiteX2" fmla="*/ 485775 w 2171700"/>
                  <a:gd name="connsiteY2" fmla="*/ 1054893 h 1828800"/>
                  <a:gd name="connsiteX3" fmla="*/ 547688 w 2171700"/>
                  <a:gd name="connsiteY3" fmla="*/ 1097756 h 1828800"/>
                  <a:gd name="connsiteX4" fmla="*/ 566738 w 2171700"/>
                  <a:gd name="connsiteY4" fmla="*/ 1140618 h 1828800"/>
                  <a:gd name="connsiteX5" fmla="*/ 545307 w 2171700"/>
                  <a:gd name="connsiteY5" fmla="*/ 1157287 h 1828800"/>
                  <a:gd name="connsiteX6" fmla="*/ 754857 w 2171700"/>
                  <a:gd name="connsiteY6" fmla="*/ 1423987 h 1828800"/>
                  <a:gd name="connsiteX7" fmla="*/ 909638 w 2171700"/>
                  <a:gd name="connsiteY7" fmla="*/ 1388268 h 1828800"/>
                  <a:gd name="connsiteX8" fmla="*/ 1023938 w 2171700"/>
                  <a:gd name="connsiteY8" fmla="*/ 1378743 h 1828800"/>
                  <a:gd name="connsiteX9" fmla="*/ 1109663 w 2171700"/>
                  <a:gd name="connsiteY9" fmla="*/ 1395412 h 1828800"/>
                  <a:gd name="connsiteX10" fmla="*/ 1228725 w 2171700"/>
                  <a:gd name="connsiteY10" fmla="*/ 1404937 h 1828800"/>
                  <a:gd name="connsiteX11" fmla="*/ 1328738 w 2171700"/>
                  <a:gd name="connsiteY11" fmla="*/ 1416843 h 1828800"/>
                  <a:gd name="connsiteX12" fmla="*/ 1428750 w 2171700"/>
                  <a:gd name="connsiteY12" fmla="*/ 1359693 h 1828800"/>
                  <a:gd name="connsiteX13" fmla="*/ 1500188 w 2171700"/>
                  <a:gd name="connsiteY13" fmla="*/ 1450181 h 1828800"/>
                  <a:gd name="connsiteX14" fmla="*/ 1590675 w 2171700"/>
                  <a:gd name="connsiteY14" fmla="*/ 1502568 h 1828800"/>
                  <a:gd name="connsiteX15" fmla="*/ 1643063 w 2171700"/>
                  <a:gd name="connsiteY15" fmla="*/ 1650206 h 1828800"/>
                  <a:gd name="connsiteX16" fmla="*/ 1728788 w 2171700"/>
                  <a:gd name="connsiteY16" fmla="*/ 1600200 h 1828800"/>
                  <a:gd name="connsiteX17" fmla="*/ 1709738 w 2171700"/>
                  <a:gd name="connsiteY17" fmla="*/ 1828800 h 1828800"/>
                  <a:gd name="connsiteX18" fmla="*/ 1909763 w 2171700"/>
                  <a:gd name="connsiteY18" fmla="*/ 1676400 h 1828800"/>
                  <a:gd name="connsiteX19" fmla="*/ 1985963 w 2171700"/>
                  <a:gd name="connsiteY19" fmla="*/ 1645443 h 1828800"/>
                  <a:gd name="connsiteX20" fmla="*/ 2131219 w 2171700"/>
                  <a:gd name="connsiteY20" fmla="*/ 1545431 h 1828800"/>
                  <a:gd name="connsiteX21" fmla="*/ 2081213 w 2171700"/>
                  <a:gd name="connsiteY21" fmla="*/ 1471612 h 1828800"/>
                  <a:gd name="connsiteX22" fmla="*/ 2169319 w 2171700"/>
                  <a:gd name="connsiteY22" fmla="*/ 1395412 h 1828800"/>
                  <a:gd name="connsiteX23" fmla="*/ 2162175 w 2171700"/>
                  <a:gd name="connsiteY23" fmla="*/ 1345406 h 1828800"/>
                  <a:gd name="connsiteX24" fmla="*/ 2169319 w 2171700"/>
                  <a:gd name="connsiteY24" fmla="*/ 1290637 h 1828800"/>
                  <a:gd name="connsiteX25" fmla="*/ 2171700 w 2171700"/>
                  <a:gd name="connsiteY25" fmla="*/ 1259681 h 1828800"/>
                  <a:gd name="connsiteX26" fmla="*/ 2062163 w 2171700"/>
                  <a:gd name="connsiteY26" fmla="*/ 1171575 h 1828800"/>
                  <a:gd name="connsiteX27" fmla="*/ 2059782 w 2171700"/>
                  <a:gd name="connsiteY27" fmla="*/ 947737 h 1828800"/>
                  <a:gd name="connsiteX28" fmla="*/ 1988344 w 2171700"/>
                  <a:gd name="connsiteY28" fmla="*/ 847725 h 1828800"/>
                  <a:gd name="connsiteX29" fmla="*/ 2019300 w 2171700"/>
                  <a:gd name="connsiteY29" fmla="*/ 657225 h 1828800"/>
                  <a:gd name="connsiteX30" fmla="*/ 1990725 w 2171700"/>
                  <a:gd name="connsiteY30" fmla="*/ 619125 h 1828800"/>
                  <a:gd name="connsiteX31" fmla="*/ 1976438 w 2171700"/>
                  <a:gd name="connsiteY31" fmla="*/ 597693 h 1828800"/>
                  <a:gd name="connsiteX32" fmla="*/ 1916907 w 2171700"/>
                  <a:gd name="connsiteY32" fmla="*/ 597693 h 1828800"/>
                  <a:gd name="connsiteX33" fmla="*/ 1864519 w 2171700"/>
                  <a:gd name="connsiteY33" fmla="*/ 590550 h 1828800"/>
                  <a:gd name="connsiteX34" fmla="*/ 1831182 w 2171700"/>
                  <a:gd name="connsiteY34" fmla="*/ 619125 h 1828800"/>
                  <a:gd name="connsiteX35" fmla="*/ 1621632 w 2171700"/>
                  <a:gd name="connsiteY35" fmla="*/ 609600 h 1828800"/>
                  <a:gd name="connsiteX36" fmla="*/ 1516857 w 2171700"/>
                  <a:gd name="connsiteY36" fmla="*/ 509587 h 1828800"/>
                  <a:gd name="connsiteX37" fmla="*/ 1250157 w 2171700"/>
                  <a:gd name="connsiteY37" fmla="*/ 390525 h 1828800"/>
                  <a:gd name="connsiteX38" fmla="*/ 1135857 w 2171700"/>
                  <a:gd name="connsiteY38" fmla="*/ 335756 h 1828800"/>
                  <a:gd name="connsiteX39" fmla="*/ 1083469 w 2171700"/>
                  <a:gd name="connsiteY39" fmla="*/ 273843 h 1828800"/>
                  <a:gd name="connsiteX40" fmla="*/ 1040607 w 2171700"/>
                  <a:gd name="connsiteY40" fmla="*/ 271462 h 1828800"/>
                  <a:gd name="connsiteX41" fmla="*/ 1042988 w 2171700"/>
                  <a:gd name="connsiteY41" fmla="*/ 242887 h 1828800"/>
                  <a:gd name="connsiteX42" fmla="*/ 947738 w 2171700"/>
                  <a:gd name="connsiteY42" fmla="*/ 190500 h 1828800"/>
                  <a:gd name="connsiteX43" fmla="*/ 950119 w 2171700"/>
                  <a:gd name="connsiteY43" fmla="*/ 159543 h 1828800"/>
                  <a:gd name="connsiteX44" fmla="*/ 914400 w 2171700"/>
                  <a:gd name="connsiteY44" fmla="*/ 116681 h 1828800"/>
                  <a:gd name="connsiteX45" fmla="*/ 878682 w 2171700"/>
                  <a:gd name="connsiteY45" fmla="*/ 76200 h 1828800"/>
                  <a:gd name="connsiteX46" fmla="*/ 797719 w 2171700"/>
                  <a:gd name="connsiteY46" fmla="*/ 0 h 1828800"/>
                  <a:gd name="connsiteX47" fmla="*/ 685800 w 2171700"/>
                  <a:gd name="connsiteY47" fmla="*/ 0 h 1828800"/>
                  <a:gd name="connsiteX48" fmla="*/ 640557 w 2171700"/>
                  <a:gd name="connsiteY48" fmla="*/ 71437 h 1828800"/>
                  <a:gd name="connsiteX49" fmla="*/ 576263 w 2171700"/>
                  <a:gd name="connsiteY49" fmla="*/ 202406 h 1828800"/>
                  <a:gd name="connsiteX50" fmla="*/ 452438 w 2171700"/>
                  <a:gd name="connsiteY50" fmla="*/ 185737 h 1828800"/>
                  <a:gd name="connsiteX51" fmla="*/ 423863 w 2171700"/>
                  <a:gd name="connsiteY51" fmla="*/ 288131 h 1828800"/>
                  <a:gd name="connsiteX52" fmla="*/ 385763 w 2171700"/>
                  <a:gd name="connsiteY52" fmla="*/ 271462 h 1828800"/>
                  <a:gd name="connsiteX53" fmla="*/ 145257 w 2171700"/>
                  <a:gd name="connsiteY53" fmla="*/ 519112 h 1828800"/>
                  <a:gd name="connsiteX54" fmla="*/ 71438 w 2171700"/>
                  <a:gd name="connsiteY54" fmla="*/ 516731 h 1828800"/>
                  <a:gd name="connsiteX55" fmla="*/ 40482 w 2171700"/>
                  <a:gd name="connsiteY55" fmla="*/ 566737 h 1828800"/>
                  <a:gd name="connsiteX56" fmla="*/ 28575 w 2171700"/>
                  <a:gd name="connsiteY56" fmla="*/ 602456 h 1828800"/>
                  <a:gd name="connsiteX57" fmla="*/ 0 w 2171700"/>
                  <a:gd name="connsiteY57" fmla="*/ 652462 h 1828800"/>
                  <a:gd name="connsiteX0" fmla="*/ 0 w 2171700"/>
                  <a:gd name="connsiteY0" fmla="*/ 652462 h 1828800"/>
                  <a:gd name="connsiteX1" fmla="*/ 295275 w 2171700"/>
                  <a:gd name="connsiteY1" fmla="*/ 892968 h 1828800"/>
                  <a:gd name="connsiteX2" fmla="*/ 485775 w 2171700"/>
                  <a:gd name="connsiteY2" fmla="*/ 1054893 h 1828800"/>
                  <a:gd name="connsiteX3" fmla="*/ 547688 w 2171700"/>
                  <a:gd name="connsiteY3" fmla="*/ 1097756 h 1828800"/>
                  <a:gd name="connsiteX4" fmla="*/ 566738 w 2171700"/>
                  <a:gd name="connsiteY4" fmla="*/ 1140618 h 1828800"/>
                  <a:gd name="connsiteX5" fmla="*/ 545307 w 2171700"/>
                  <a:gd name="connsiteY5" fmla="*/ 1157287 h 1828800"/>
                  <a:gd name="connsiteX6" fmla="*/ 754857 w 2171700"/>
                  <a:gd name="connsiteY6" fmla="*/ 1423987 h 1828800"/>
                  <a:gd name="connsiteX7" fmla="*/ 909638 w 2171700"/>
                  <a:gd name="connsiteY7" fmla="*/ 1388268 h 1828800"/>
                  <a:gd name="connsiteX8" fmla="*/ 1023938 w 2171700"/>
                  <a:gd name="connsiteY8" fmla="*/ 1378743 h 1828800"/>
                  <a:gd name="connsiteX9" fmla="*/ 1109663 w 2171700"/>
                  <a:gd name="connsiteY9" fmla="*/ 1395412 h 1828800"/>
                  <a:gd name="connsiteX10" fmla="*/ 1228725 w 2171700"/>
                  <a:gd name="connsiteY10" fmla="*/ 1404937 h 1828800"/>
                  <a:gd name="connsiteX11" fmla="*/ 1328738 w 2171700"/>
                  <a:gd name="connsiteY11" fmla="*/ 1416843 h 1828800"/>
                  <a:gd name="connsiteX12" fmla="*/ 1428750 w 2171700"/>
                  <a:gd name="connsiteY12" fmla="*/ 1359693 h 1828800"/>
                  <a:gd name="connsiteX13" fmla="*/ 1500188 w 2171700"/>
                  <a:gd name="connsiteY13" fmla="*/ 1450181 h 1828800"/>
                  <a:gd name="connsiteX14" fmla="*/ 1590675 w 2171700"/>
                  <a:gd name="connsiteY14" fmla="*/ 1502568 h 1828800"/>
                  <a:gd name="connsiteX15" fmla="*/ 1643063 w 2171700"/>
                  <a:gd name="connsiteY15" fmla="*/ 1650206 h 1828800"/>
                  <a:gd name="connsiteX16" fmla="*/ 1728788 w 2171700"/>
                  <a:gd name="connsiteY16" fmla="*/ 1600200 h 1828800"/>
                  <a:gd name="connsiteX17" fmla="*/ 1709738 w 2171700"/>
                  <a:gd name="connsiteY17" fmla="*/ 1828800 h 1828800"/>
                  <a:gd name="connsiteX18" fmla="*/ 1909763 w 2171700"/>
                  <a:gd name="connsiteY18" fmla="*/ 1676400 h 1828800"/>
                  <a:gd name="connsiteX19" fmla="*/ 1985963 w 2171700"/>
                  <a:gd name="connsiteY19" fmla="*/ 1645443 h 1828800"/>
                  <a:gd name="connsiteX20" fmla="*/ 2131219 w 2171700"/>
                  <a:gd name="connsiteY20" fmla="*/ 1545431 h 1828800"/>
                  <a:gd name="connsiteX21" fmla="*/ 2081213 w 2171700"/>
                  <a:gd name="connsiteY21" fmla="*/ 1471612 h 1828800"/>
                  <a:gd name="connsiteX22" fmla="*/ 2169319 w 2171700"/>
                  <a:gd name="connsiteY22" fmla="*/ 1395412 h 1828800"/>
                  <a:gd name="connsiteX23" fmla="*/ 2162175 w 2171700"/>
                  <a:gd name="connsiteY23" fmla="*/ 1345406 h 1828800"/>
                  <a:gd name="connsiteX24" fmla="*/ 2169319 w 2171700"/>
                  <a:gd name="connsiteY24" fmla="*/ 1290637 h 1828800"/>
                  <a:gd name="connsiteX25" fmla="*/ 2171700 w 2171700"/>
                  <a:gd name="connsiteY25" fmla="*/ 1259681 h 1828800"/>
                  <a:gd name="connsiteX26" fmla="*/ 2062163 w 2171700"/>
                  <a:gd name="connsiteY26" fmla="*/ 1171575 h 1828800"/>
                  <a:gd name="connsiteX27" fmla="*/ 2059782 w 2171700"/>
                  <a:gd name="connsiteY27" fmla="*/ 947737 h 1828800"/>
                  <a:gd name="connsiteX28" fmla="*/ 1988344 w 2171700"/>
                  <a:gd name="connsiteY28" fmla="*/ 847725 h 1828800"/>
                  <a:gd name="connsiteX29" fmla="*/ 2019300 w 2171700"/>
                  <a:gd name="connsiteY29" fmla="*/ 657225 h 1828800"/>
                  <a:gd name="connsiteX30" fmla="*/ 1990725 w 2171700"/>
                  <a:gd name="connsiteY30" fmla="*/ 619125 h 1828800"/>
                  <a:gd name="connsiteX31" fmla="*/ 1976438 w 2171700"/>
                  <a:gd name="connsiteY31" fmla="*/ 597693 h 1828800"/>
                  <a:gd name="connsiteX32" fmla="*/ 1916907 w 2171700"/>
                  <a:gd name="connsiteY32" fmla="*/ 597693 h 1828800"/>
                  <a:gd name="connsiteX33" fmla="*/ 1864519 w 2171700"/>
                  <a:gd name="connsiteY33" fmla="*/ 590550 h 1828800"/>
                  <a:gd name="connsiteX34" fmla="*/ 1831182 w 2171700"/>
                  <a:gd name="connsiteY34" fmla="*/ 619125 h 1828800"/>
                  <a:gd name="connsiteX35" fmla="*/ 1621632 w 2171700"/>
                  <a:gd name="connsiteY35" fmla="*/ 609600 h 1828800"/>
                  <a:gd name="connsiteX36" fmla="*/ 1516857 w 2171700"/>
                  <a:gd name="connsiteY36" fmla="*/ 509587 h 1828800"/>
                  <a:gd name="connsiteX37" fmla="*/ 1250157 w 2171700"/>
                  <a:gd name="connsiteY37" fmla="*/ 390525 h 1828800"/>
                  <a:gd name="connsiteX38" fmla="*/ 1135857 w 2171700"/>
                  <a:gd name="connsiteY38" fmla="*/ 335756 h 1828800"/>
                  <a:gd name="connsiteX39" fmla="*/ 1083469 w 2171700"/>
                  <a:gd name="connsiteY39" fmla="*/ 273843 h 1828800"/>
                  <a:gd name="connsiteX40" fmla="*/ 1040607 w 2171700"/>
                  <a:gd name="connsiteY40" fmla="*/ 271462 h 1828800"/>
                  <a:gd name="connsiteX41" fmla="*/ 1042988 w 2171700"/>
                  <a:gd name="connsiteY41" fmla="*/ 242887 h 1828800"/>
                  <a:gd name="connsiteX42" fmla="*/ 947738 w 2171700"/>
                  <a:gd name="connsiteY42" fmla="*/ 190500 h 1828800"/>
                  <a:gd name="connsiteX43" fmla="*/ 950119 w 2171700"/>
                  <a:gd name="connsiteY43" fmla="*/ 159543 h 1828800"/>
                  <a:gd name="connsiteX44" fmla="*/ 923925 w 2171700"/>
                  <a:gd name="connsiteY44" fmla="*/ 114299 h 1828800"/>
                  <a:gd name="connsiteX45" fmla="*/ 878682 w 2171700"/>
                  <a:gd name="connsiteY45" fmla="*/ 76200 h 1828800"/>
                  <a:gd name="connsiteX46" fmla="*/ 797719 w 2171700"/>
                  <a:gd name="connsiteY46" fmla="*/ 0 h 1828800"/>
                  <a:gd name="connsiteX47" fmla="*/ 685800 w 2171700"/>
                  <a:gd name="connsiteY47" fmla="*/ 0 h 1828800"/>
                  <a:gd name="connsiteX48" fmla="*/ 640557 w 2171700"/>
                  <a:gd name="connsiteY48" fmla="*/ 71437 h 1828800"/>
                  <a:gd name="connsiteX49" fmla="*/ 576263 w 2171700"/>
                  <a:gd name="connsiteY49" fmla="*/ 202406 h 1828800"/>
                  <a:gd name="connsiteX50" fmla="*/ 452438 w 2171700"/>
                  <a:gd name="connsiteY50" fmla="*/ 185737 h 1828800"/>
                  <a:gd name="connsiteX51" fmla="*/ 423863 w 2171700"/>
                  <a:gd name="connsiteY51" fmla="*/ 288131 h 1828800"/>
                  <a:gd name="connsiteX52" fmla="*/ 385763 w 2171700"/>
                  <a:gd name="connsiteY52" fmla="*/ 271462 h 1828800"/>
                  <a:gd name="connsiteX53" fmla="*/ 145257 w 2171700"/>
                  <a:gd name="connsiteY53" fmla="*/ 519112 h 1828800"/>
                  <a:gd name="connsiteX54" fmla="*/ 71438 w 2171700"/>
                  <a:gd name="connsiteY54" fmla="*/ 516731 h 1828800"/>
                  <a:gd name="connsiteX55" fmla="*/ 40482 w 2171700"/>
                  <a:gd name="connsiteY55" fmla="*/ 566737 h 1828800"/>
                  <a:gd name="connsiteX56" fmla="*/ 28575 w 2171700"/>
                  <a:gd name="connsiteY56" fmla="*/ 602456 h 1828800"/>
                  <a:gd name="connsiteX57" fmla="*/ 0 w 2171700"/>
                  <a:gd name="connsiteY57" fmla="*/ 652462 h 182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171700" h="1828800">
                    <a:moveTo>
                      <a:pt x="0" y="652462"/>
                    </a:moveTo>
                    <a:lnTo>
                      <a:pt x="295275" y="892968"/>
                    </a:lnTo>
                    <a:lnTo>
                      <a:pt x="485775" y="1054893"/>
                    </a:lnTo>
                    <a:lnTo>
                      <a:pt x="547688" y="1097756"/>
                    </a:lnTo>
                    <a:lnTo>
                      <a:pt x="566738" y="1140618"/>
                    </a:lnTo>
                    <a:lnTo>
                      <a:pt x="545307" y="1157287"/>
                    </a:lnTo>
                    <a:lnTo>
                      <a:pt x="754857" y="1423987"/>
                    </a:lnTo>
                    <a:lnTo>
                      <a:pt x="909638" y="1388268"/>
                    </a:lnTo>
                    <a:lnTo>
                      <a:pt x="1023938" y="1378743"/>
                    </a:lnTo>
                    <a:lnTo>
                      <a:pt x="1109663" y="1395412"/>
                    </a:lnTo>
                    <a:lnTo>
                      <a:pt x="1228725" y="1404937"/>
                    </a:lnTo>
                    <a:lnTo>
                      <a:pt x="1328738" y="1416843"/>
                    </a:lnTo>
                    <a:lnTo>
                      <a:pt x="1428750" y="1359693"/>
                    </a:lnTo>
                    <a:lnTo>
                      <a:pt x="1500188" y="1450181"/>
                    </a:lnTo>
                    <a:lnTo>
                      <a:pt x="1590675" y="1502568"/>
                    </a:lnTo>
                    <a:lnTo>
                      <a:pt x="1643063" y="1650206"/>
                    </a:lnTo>
                    <a:lnTo>
                      <a:pt x="1728788" y="1600200"/>
                    </a:lnTo>
                    <a:lnTo>
                      <a:pt x="1709738" y="1828800"/>
                    </a:lnTo>
                    <a:lnTo>
                      <a:pt x="1909763" y="1676400"/>
                    </a:lnTo>
                    <a:lnTo>
                      <a:pt x="1985963" y="1645443"/>
                    </a:lnTo>
                    <a:lnTo>
                      <a:pt x="2131219" y="1545431"/>
                    </a:lnTo>
                    <a:lnTo>
                      <a:pt x="2081213" y="1471612"/>
                    </a:lnTo>
                    <a:lnTo>
                      <a:pt x="2169319" y="1395412"/>
                    </a:lnTo>
                    <a:lnTo>
                      <a:pt x="2162175" y="1345406"/>
                    </a:lnTo>
                    <a:lnTo>
                      <a:pt x="2169319" y="1290637"/>
                    </a:lnTo>
                    <a:lnTo>
                      <a:pt x="2171700" y="1259681"/>
                    </a:lnTo>
                    <a:lnTo>
                      <a:pt x="2062163" y="1171575"/>
                    </a:lnTo>
                    <a:cubicBezTo>
                      <a:pt x="2061369" y="1096962"/>
                      <a:pt x="2060576" y="1022350"/>
                      <a:pt x="2059782" y="947737"/>
                    </a:cubicBezTo>
                    <a:lnTo>
                      <a:pt x="1988344" y="847725"/>
                    </a:lnTo>
                    <a:lnTo>
                      <a:pt x="2019300" y="657225"/>
                    </a:lnTo>
                    <a:lnTo>
                      <a:pt x="1990725" y="619125"/>
                    </a:lnTo>
                    <a:lnTo>
                      <a:pt x="1976438" y="597693"/>
                    </a:lnTo>
                    <a:lnTo>
                      <a:pt x="1916907" y="597693"/>
                    </a:lnTo>
                    <a:lnTo>
                      <a:pt x="1864519" y="590550"/>
                    </a:lnTo>
                    <a:lnTo>
                      <a:pt x="1831182" y="619125"/>
                    </a:lnTo>
                    <a:lnTo>
                      <a:pt x="1621632" y="609600"/>
                    </a:lnTo>
                    <a:lnTo>
                      <a:pt x="1516857" y="509587"/>
                    </a:lnTo>
                    <a:lnTo>
                      <a:pt x="1250157" y="390525"/>
                    </a:lnTo>
                    <a:lnTo>
                      <a:pt x="1135857" y="335756"/>
                    </a:lnTo>
                    <a:lnTo>
                      <a:pt x="1083469" y="273843"/>
                    </a:lnTo>
                    <a:lnTo>
                      <a:pt x="1040607" y="271462"/>
                    </a:lnTo>
                    <a:lnTo>
                      <a:pt x="1042988" y="242887"/>
                    </a:lnTo>
                    <a:lnTo>
                      <a:pt x="947738" y="190500"/>
                    </a:lnTo>
                    <a:lnTo>
                      <a:pt x="950119" y="159543"/>
                    </a:lnTo>
                    <a:lnTo>
                      <a:pt x="923925" y="114299"/>
                    </a:lnTo>
                    <a:lnTo>
                      <a:pt x="878682" y="76200"/>
                    </a:lnTo>
                    <a:lnTo>
                      <a:pt x="797719" y="0"/>
                    </a:lnTo>
                    <a:lnTo>
                      <a:pt x="685800" y="0"/>
                    </a:lnTo>
                    <a:lnTo>
                      <a:pt x="640557" y="71437"/>
                    </a:lnTo>
                    <a:lnTo>
                      <a:pt x="576263" y="202406"/>
                    </a:lnTo>
                    <a:lnTo>
                      <a:pt x="452438" y="185737"/>
                    </a:lnTo>
                    <a:lnTo>
                      <a:pt x="423863" y="288131"/>
                    </a:lnTo>
                    <a:lnTo>
                      <a:pt x="385763" y="271462"/>
                    </a:lnTo>
                    <a:lnTo>
                      <a:pt x="145257" y="519112"/>
                    </a:lnTo>
                    <a:lnTo>
                      <a:pt x="71438" y="516731"/>
                    </a:lnTo>
                    <a:lnTo>
                      <a:pt x="40482" y="566737"/>
                    </a:lnTo>
                    <a:lnTo>
                      <a:pt x="28575" y="602456"/>
                    </a:lnTo>
                    <a:lnTo>
                      <a:pt x="0" y="652462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8" name="Freeform 18"/>
              <p:cNvSpPr/>
              <p:nvPr/>
            </p:nvSpPr>
            <p:spPr>
              <a:xfrm>
                <a:off x="3517302" y="1773988"/>
                <a:ext cx="2276039" cy="1182921"/>
              </a:xfrm>
              <a:custGeom>
                <a:avLst/>
                <a:gdLst>
                  <a:gd name="connsiteX0" fmla="*/ 1026319 w 3150394"/>
                  <a:gd name="connsiteY0" fmla="*/ 295275 h 1814512"/>
                  <a:gd name="connsiteX1" fmla="*/ 1081088 w 3150394"/>
                  <a:gd name="connsiteY1" fmla="*/ 240506 h 1814512"/>
                  <a:gd name="connsiteX2" fmla="*/ 1104900 w 3150394"/>
                  <a:gd name="connsiteY2" fmla="*/ 195262 h 1814512"/>
                  <a:gd name="connsiteX3" fmla="*/ 1150144 w 3150394"/>
                  <a:gd name="connsiteY3" fmla="*/ 180975 h 1814512"/>
                  <a:gd name="connsiteX4" fmla="*/ 1181100 w 3150394"/>
                  <a:gd name="connsiteY4" fmla="*/ 209550 h 1814512"/>
                  <a:gd name="connsiteX5" fmla="*/ 1197769 w 3150394"/>
                  <a:gd name="connsiteY5" fmla="*/ 250031 h 1814512"/>
                  <a:gd name="connsiteX6" fmla="*/ 1231106 w 3150394"/>
                  <a:gd name="connsiteY6" fmla="*/ 278606 h 1814512"/>
                  <a:gd name="connsiteX7" fmla="*/ 1252538 w 3150394"/>
                  <a:gd name="connsiteY7" fmla="*/ 280987 h 1814512"/>
                  <a:gd name="connsiteX8" fmla="*/ 1307306 w 3150394"/>
                  <a:gd name="connsiteY8" fmla="*/ 280987 h 1814512"/>
                  <a:gd name="connsiteX9" fmla="*/ 1338263 w 3150394"/>
                  <a:gd name="connsiteY9" fmla="*/ 314325 h 1814512"/>
                  <a:gd name="connsiteX10" fmla="*/ 1340644 w 3150394"/>
                  <a:gd name="connsiteY10" fmla="*/ 335756 h 1814512"/>
                  <a:gd name="connsiteX11" fmla="*/ 1352550 w 3150394"/>
                  <a:gd name="connsiteY11" fmla="*/ 373856 h 1814512"/>
                  <a:gd name="connsiteX12" fmla="*/ 1393031 w 3150394"/>
                  <a:gd name="connsiteY12" fmla="*/ 357187 h 1814512"/>
                  <a:gd name="connsiteX13" fmla="*/ 1452563 w 3150394"/>
                  <a:gd name="connsiteY13" fmla="*/ 373856 h 1814512"/>
                  <a:gd name="connsiteX14" fmla="*/ 1524000 w 3150394"/>
                  <a:gd name="connsiteY14" fmla="*/ 385762 h 1814512"/>
                  <a:gd name="connsiteX15" fmla="*/ 1564481 w 3150394"/>
                  <a:gd name="connsiteY15" fmla="*/ 369093 h 1814512"/>
                  <a:gd name="connsiteX16" fmla="*/ 1576388 w 3150394"/>
                  <a:gd name="connsiteY16" fmla="*/ 311943 h 1814512"/>
                  <a:gd name="connsiteX17" fmla="*/ 1581150 w 3150394"/>
                  <a:gd name="connsiteY17" fmla="*/ 285750 h 1814512"/>
                  <a:gd name="connsiteX18" fmla="*/ 1607344 w 3150394"/>
                  <a:gd name="connsiteY18" fmla="*/ 269081 h 1814512"/>
                  <a:gd name="connsiteX19" fmla="*/ 1735931 w 3150394"/>
                  <a:gd name="connsiteY19" fmla="*/ 178593 h 1814512"/>
                  <a:gd name="connsiteX20" fmla="*/ 1764506 w 3150394"/>
                  <a:gd name="connsiteY20" fmla="*/ 176212 h 1814512"/>
                  <a:gd name="connsiteX21" fmla="*/ 1774031 w 3150394"/>
                  <a:gd name="connsiteY21" fmla="*/ 228600 h 1814512"/>
                  <a:gd name="connsiteX22" fmla="*/ 1766888 w 3150394"/>
                  <a:gd name="connsiteY22" fmla="*/ 261937 h 1814512"/>
                  <a:gd name="connsiteX23" fmla="*/ 1843088 w 3150394"/>
                  <a:gd name="connsiteY23" fmla="*/ 280987 h 1814512"/>
                  <a:gd name="connsiteX24" fmla="*/ 1890713 w 3150394"/>
                  <a:gd name="connsiteY24" fmla="*/ 228600 h 1814512"/>
                  <a:gd name="connsiteX25" fmla="*/ 1943100 w 3150394"/>
                  <a:gd name="connsiteY25" fmla="*/ 183356 h 1814512"/>
                  <a:gd name="connsiteX26" fmla="*/ 1964531 w 3150394"/>
                  <a:gd name="connsiteY26" fmla="*/ 133350 h 1814512"/>
                  <a:gd name="connsiteX27" fmla="*/ 2014538 w 3150394"/>
                  <a:gd name="connsiteY27" fmla="*/ 109537 h 1814512"/>
                  <a:gd name="connsiteX28" fmla="*/ 2055019 w 3150394"/>
                  <a:gd name="connsiteY28" fmla="*/ 80962 h 1814512"/>
                  <a:gd name="connsiteX29" fmla="*/ 2100263 w 3150394"/>
                  <a:gd name="connsiteY29" fmla="*/ 33337 h 1814512"/>
                  <a:gd name="connsiteX30" fmla="*/ 2145506 w 3150394"/>
                  <a:gd name="connsiteY30" fmla="*/ 33337 h 1814512"/>
                  <a:gd name="connsiteX31" fmla="*/ 2181225 w 3150394"/>
                  <a:gd name="connsiteY31" fmla="*/ 0 h 1814512"/>
                  <a:gd name="connsiteX32" fmla="*/ 2247900 w 3150394"/>
                  <a:gd name="connsiteY32" fmla="*/ 71437 h 1814512"/>
                  <a:gd name="connsiteX33" fmla="*/ 2224088 w 3150394"/>
                  <a:gd name="connsiteY33" fmla="*/ 102393 h 1814512"/>
                  <a:gd name="connsiteX34" fmla="*/ 2216944 w 3150394"/>
                  <a:gd name="connsiteY34" fmla="*/ 138112 h 1814512"/>
                  <a:gd name="connsiteX35" fmla="*/ 2262188 w 3150394"/>
                  <a:gd name="connsiteY35" fmla="*/ 180975 h 1814512"/>
                  <a:gd name="connsiteX36" fmla="*/ 2326481 w 3150394"/>
                  <a:gd name="connsiteY36" fmla="*/ 178593 h 1814512"/>
                  <a:gd name="connsiteX37" fmla="*/ 2362200 w 3150394"/>
                  <a:gd name="connsiteY37" fmla="*/ 183356 h 1814512"/>
                  <a:gd name="connsiteX38" fmla="*/ 2440781 w 3150394"/>
                  <a:gd name="connsiteY38" fmla="*/ 230981 h 1814512"/>
                  <a:gd name="connsiteX39" fmla="*/ 2476500 w 3150394"/>
                  <a:gd name="connsiteY39" fmla="*/ 245268 h 1814512"/>
                  <a:gd name="connsiteX40" fmla="*/ 2478881 w 3150394"/>
                  <a:gd name="connsiteY40" fmla="*/ 292893 h 1814512"/>
                  <a:gd name="connsiteX41" fmla="*/ 2462213 w 3150394"/>
                  <a:gd name="connsiteY41" fmla="*/ 345281 h 1814512"/>
                  <a:gd name="connsiteX42" fmla="*/ 2507456 w 3150394"/>
                  <a:gd name="connsiteY42" fmla="*/ 359568 h 1814512"/>
                  <a:gd name="connsiteX43" fmla="*/ 2543175 w 3150394"/>
                  <a:gd name="connsiteY43" fmla="*/ 304800 h 1814512"/>
                  <a:gd name="connsiteX44" fmla="*/ 2586038 w 3150394"/>
                  <a:gd name="connsiteY44" fmla="*/ 295275 h 1814512"/>
                  <a:gd name="connsiteX45" fmla="*/ 2643188 w 3150394"/>
                  <a:gd name="connsiteY45" fmla="*/ 257175 h 1814512"/>
                  <a:gd name="connsiteX46" fmla="*/ 2705100 w 3150394"/>
                  <a:gd name="connsiteY46" fmla="*/ 266700 h 1814512"/>
                  <a:gd name="connsiteX47" fmla="*/ 2781300 w 3150394"/>
                  <a:gd name="connsiteY47" fmla="*/ 226218 h 1814512"/>
                  <a:gd name="connsiteX48" fmla="*/ 2809875 w 3150394"/>
                  <a:gd name="connsiteY48" fmla="*/ 166687 h 1814512"/>
                  <a:gd name="connsiteX49" fmla="*/ 2824163 w 3150394"/>
                  <a:gd name="connsiteY49" fmla="*/ 147637 h 1814512"/>
                  <a:gd name="connsiteX50" fmla="*/ 2831306 w 3150394"/>
                  <a:gd name="connsiteY50" fmla="*/ 142875 h 1814512"/>
                  <a:gd name="connsiteX51" fmla="*/ 2840831 w 3150394"/>
                  <a:gd name="connsiteY51" fmla="*/ 130968 h 1814512"/>
                  <a:gd name="connsiteX52" fmla="*/ 2855119 w 3150394"/>
                  <a:gd name="connsiteY52" fmla="*/ 92868 h 1814512"/>
                  <a:gd name="connsiteX53" fmla="*/ 2938463 w 3150394"/>
                  <a:gd name="connsiteY53" fmla="*/ 114300 h 1814512"/>
                  <a:gd name="connsiteX54" fmla="*/ 3009900 w 3150394"/>
                  <a:gd name="connsiteY54" fmla="*/ 130968 h 1814512"/>
                  <a:gd name="connsiteX55" fmla="*/ 3024188 w 3150394"/>
                  <a:gd name="connsiteY55" fmla="*/ 200025 h 1814512"/>
                  <a:gd name="connsiteX56" fmla="*/ 3059906 w 3150394"/>
                  <a:gd name="connsiteY56" fmla="*/ 252412 h 1814512"/>
                  <a:gd name="connsiteX57" fmla="*/ 3045619 w 3150394"/>
                  <a:gd name="connsiteY57" fmla="*/ 259556 h 1814512"/>
                  <a:gd name="connsiteX58" fmla="*/ 3005138 w 3150394"/>
                  <a:gd name="connsiteY58" fmla="*/ 283368 h 1814512"/>
                  <a:gd name="connsiteX59" fmla="*/ 2976563 w 3150394"/>
                  <a:gd name="connsiteY59" fmla="*/ 314325 h 1814512"/>
                  <a:gd name="connsiteX60" fmla="*/ 2947988 w 3150394"/>
                  <a:gd name="connsiteY60" fmla="*/ 354806 h 1814512"/>
                  <a:gd name="connsiteX61" fmla="*/ 2945606 w 3150394"/>
                  <a:gd name="connsiteY61" fmla="*/ 416718 h 1814512"/>
                  <a:gd name="connsiteX62" fmla="*/ 2959894 w 3150394"/>
                  <a:gd name="connsiteY62" fmla="*/ 466725 h 1814512"/>
                  <a:gd name="connsiteX63" fmla="*/ 2986088 w 3150394"/>
                  <a:gd name="connsiteY63" fmla="*/ 511968 h 1814512"/>
                  <a:gd name="connsiteX64" fmla="*/ 3009900 w 3150394"/>
                  <a:gd name="connsiteY64" fmla="*/ 535781 h 1814512"/>
                  <a:gd name="connsiteX65" fmla="*/ 2990850 w 3150394"/>
                  <a:gd name="connsiteY65" fmla="*/ 564356 h 1814512"/>
                  <a:gd name="connsiteX66" fmla="*/ 2969419 w 3150394"/>
                  <a:gd name="connsiteY66" fmla="*/ 590550 h 1814512"/>
                  <a:gd name="connsiteX67" fmla="*/ 2964656 w 3150394"/>
                  <a:gd name="connsiteY67" fmla="*/ 640556 h 1814512"/>
                  <a:gd name="connsiteX68" fmla="*/ 2978944 w 3150394"/>
                  <a:gd name="connsiteY68" fmla="*/ 666750 h 1814512"/>
                  <a:gd name="connsiteX69" fmla="*/ 3005138 w 3150394"/>
                  <a:gd name="connsiteY69" fmla="*/ 716756 h 1814512"/>
                  <a:gd name="connsiteX70" fmla="*/ 3028950 w 3150394"/>
                  <a:gd name="connsiteY70" fmla="*/ 733425 h 1814512"/>
                  <a:gd name="connsiteX71" fmla="*/ 3019425 w 3150394"/>
                  <a:gd name="connsiteY71" fmla="*/ 769143 h 1814512"/>
                  <a:gd name="connsiteX72" fmla="*/ 3012281 w 3150394"/>
                  <a:gd name="connsiteY72" fmla="*/ 790575 h 1814512"/>
                  <a:gd name="connsiteX73" fmla="*/ 2986088 w 3150394"/>
                  <a:gd name="connsiteY73" fmla="*/ 807243 h 1814512"/>
                  <a:gd name="connsiteX74" fmla="*/ 2959894 w 3150394"/>
                  <a:gd name="connsiteY74" fmla="*/ 828675 h 1814512"/>
                  <a:gd name="connsiteX75" fmla="*/ 2971800 w 3150394"/>
                  <a:gd name="connsiteY75" fmla="*/ 859631 h 1814512"/>
                  <a:gd name="connsiteX76" fmla="*/ 2981325 w 3150394"/>
                  <a:gd name="connsiteY76" fmla="*/ 883443 h 1814512"/>
                  <a:gd name="connsiteX77" fmla="*/ 3057525 w 3150394"/>
                  <a:gd name="connsiteY77" fmla="*/ 962025 h 1814512"/>
                  <a:gd name="connsiteX78" fmla="*/ 3009900 w 3150394"/>
                  <a:gd name="connsiteY78" fmla="*/ 1021556 h 1814512"/>
                  <a:gd name="connsiteX79" fmla="*/ 3007519 w 3150394"/>
                  <a:gd name="connsiteY79" fmla="*/ 1181100 h 1814512"/>
                  <a:gd name="connsiteX80" fmla="*/ 2967038 w 3150394"/>
                  <a:gd name="connsiteY80" fmla="*/ 1214437 h 1814512"/>
                  <a:gd name="connsiteX81" fmla="*/ 3028950 w 3150394"/>
                  <a:gd name="connsiteY81" fmla="*/ 1293018 h 1814512"/>
                  <a:gd name="connsiteX82" fmla="*/ 3086100 w 3150394"/>
                  <a:gd name="connsiteY82" fmla="*/ 1238250 h 1814512"/>
                  <a:gd name="connsiteX83" fmla="*/ 3150394 w 3150394"/>
                  <a:gd name="connsiteY83" fmla="*/ 1240631 h 1814512"/>
                  <a:gd name="connsiteX84" fmla="*/ 3143250 w 3150394"/>
                  <a:gd name="connsiteY84" fmla="*/ 1283493 h 1814512"/>
                  <a:gd name="connsiteX85" fmla="*/ 3143250 w 3150394"/>
                  <a:gd name="connsiteY85" fmla="*/ 1419225 h 1814512"/>
                  <a:gd name="connsiteX86" fmla="*/ 3107531 w 3150394"/>
                  <a:gd name="connsiteY86" fmla="*/ 1431131 h 1814512"/>
                  <a:gd name="connsiteX87" fmla="*/ 3021806 w 3150394"/>
                  <a:gd name="connsiteY87" fmla="*/ 1443037 h 1814512"/>
                  <a:gd name="connsiteX88" fmla="*/ 2693194 w 3150394"/>
                  <a:gd name="connsiteY88" fmla="*/ 1459706 h 1814512"/>
                  <a:gd name="connsiteX89" fmla="*/ 2586038 w 3150394"/>
                  <a:gd name="connsiteY89" fmla="*/ 1488281 h 1814512"/>
                  <a:gd name="connsiteX90" fmla="*/ 2347913 w 3150394"/>
                  <a:gd name="connsiteY90" fmla="*/ 1728787 h 1814512"/>
                  <a:gd name="connsiteX91" fmla="*/ 1462088 w 3150394"/>
                  <a:gd name="connsiteY91" fmla="*/ 1781175 h 1814512"/>
                  <a:gd name="connsiteX92" fmla="*/ 1307306 w 3150394"/>
                  <a:gd name="connsiteY92" fmla="*/ 1802606 h 1814512"/>
                  <a:gd name="connsiteX93" fmla="*/ 885825 w 3150394"/>
                  <a:gd name="connsiteY93" fmla="*/ 1814512 h 1814512"/>
                  <a:gd name="connsiteX94" fmla="*/ 847725 w 3150394"/>
                  <a:gd name="connsiteY94" fmla="*/ 1747837 h 1814512"/>
                  <a:gd name="connsiteX95" fmla="*/ 759619 w 3150394"/>
                  <a:gd name="connsiteY95" fmla="*/ 1747837 h 1814512"/>
                  <a:gd name="connsiteX96" fmla="*/ 735806 w 3150394"/>
                  <a:gd name="connsiteY96" fmla="*/ 1738312 h 1814512"/>
                  <a:gd name="connsiteX97" fmla="*/ 681038 w 3150394"/>
                  <a:gd name="connsiteY97" fmla="*/ 1776412 h 1814512"/>
                  <a:gd name="connsiteX98" fmla="*/ 492919 w 3150394"/>
                  <a:gd name="connsiteY98" fmla="*/ 1764506 h 1814512"/>
                  <a:gd name="connsiteX99" fmla="*/ 416719 w 3150394"/>
                  <a:gd name="connsiteY99" fmla="*/ 1690687 h 1814512"/>
                  <a:gd name="connsiteX100" fmla="*/ 242888 w 3150394"/>
                  <a:gd name="connsiteY100" fmla="*/ 1581150 h 1814512"/>
                  <a:gd name="connsiteX101" fmla="*/ 61913 w 3150394"/>
                  <a:gd name="connsiteY101" fmla="*/ 1514475 h 1814512"/>
                  <a:gd name="connsiteX102" fmla="*/ 0 w 3150394"/>
                  <a:gd name="connsiteY102" fmla="*/ 1478756 h 1814512"/>
                  <a:gd name="connsiteX0" fmla="*/ 1026319 w 3150394"/>
                  <a:gd name="connsiteY0" fmla="*/ 295275 h 1814512"/>
                  <a:gd name="connsiteX1" fmla="*/ 1081088 w 3150394"/>
                  <a:gd name="connsiteY1" fmla="*/ 240506 h 1814512"/>
                  <a:gd name="connsiteX2" fmla="*/ 1104900 w 3150394"/>
                  <a:gd name="connsiteY2" fmla="*/ 195262 h 1814512"/>
                  <a:gd name="connsiteX3" fmla="*/ 1150144 w 3150394"/>
                  <a:gd name="connsiteY3" fmla="*/ 180975 h 1814512"/>
                  <a:gd name="connsiteX4" fmla="*/ 1181100 w 3150394"/>
                  <a:gd name="connsiteY4" fmla="*/ 209550 h 1814512"/>
                  <a:gd name="connsiteX5" fmla="*/ 1197769 w 3150394"/>
                  <a:gd name="connsiteY5" fmla="*/ 250031 h 1814512"/>
                  <a:gd name="connsiteX6" fmla="*/ 1231106 w 3150394"/>
                  <a:gd name="connsiteY6" fmla="*/ 278606 h 1814512"/>
                  <a:gd name="connsiteX7" fmla="*/ 1252538 w 3150394"/>
                  <a:gd name="connsiteY7" fmla="*/ 280987 h 1814512"/>
                  <a:gd name="connsiteX8" fmla="*/ 1307306 w 3150394"/>
                  <a:gd name="connsiteY8" fmla="*/ 280987 h 1814512"/>
                  <a:gd name="connsiteX9" fmla="*/ 1338263 w 3150394"/>
                  <a:gd name="connsiteY9" fmla="*/ 314325 h 1814512"/>
                  <a:gd name="connsiteX10" fmla="*/ 1340644 w 3150394"/>
                  <a:gd name="connsiteY10" fmla="*/ 335756 h 1814512"/>
                  <a:gd name="connsiteX11" fmla="*/ 1352550 w 3150394"/>
                  <a:gd name="connsiteY11" fmla="*/ 373856 h 1814512"/>
                  <a:gd name="connsiteX12" fmla="*/ 1393031 w 3150394"/>
                  <a:gd name="connsiteY12" fmla="*/ 357187 h 1814512"/>
                  <a:gd name="connsiteX13" fmla="*/ 1452563 w 3150394"/>
                  <a:gd name="connsiteY13" fmla="*/ 373856 h 1814512"/>
                  <a:gd name="connsiteX14" fmla="*/ 1524000 w 3150394"/>
                  <a:gd name="connsiteY14" fmla="*/ 385762 h 1814512"/>
                  <a:gd name="connsiteX15" fmla="*/ 1564481 w 3150394"/>
                  <a:gd name="connsiteY15" fmla="*/ 369093 h 1814512"/>
                  <a:gd name="connsiteX16" fmla="*/ 1576388 w 3150394"/>
                  <a:gd name="connsiteY16" fmla="*/ 311943 h 1814512"/>
                  <a:gd name="connsiteX17" fmla="*/ 1581150 w 3150394"/>
                  <a:gd name="connsiteY17" fmla="*/ 285750 h 1814512"/>
                  <a:gd name="connsiteX18" fmla="*/ 1607344 w 3150394"/>
                  <a:gd name="connsiteY18" fmla="*/ 269081 h 1814512"/>
                  <a:gd name="connsiteX19" fmla="*/ 1735931 w 3150394"/>
                  <a:gd name="connsiteY19" fmla="*/ 178593 h 1814512"/>
                  <a:gd name="connsiteX20" fmla="*/ 1764506 w 3150394"/>
                  <a:gd name="connsiteY20" fmla="*/ 176212 h 1814512"/>
                  <a:gd name="connsiteX21" fmla="*/ 1774031 w 3150394"/>
                  <a:gd name="connsiteY21" fmla="*/ 228600 h 1814512"/>
                  <a:gd name="connsiteX22" fmla="*/ 1766888 w 3150394"/>
                  <a:gd name="connsiteY22" fmla="*/ 261937 h 1814512"/>
                  <a:gd name="connsiteX23" fmla="*/ 1843088 w 3150394"/>
                  <a:gd name="connsiteY23" fmla="*/ 280987 h 1814512"/>
                  <a:gd name="connsiteX24" fmla="*/ 1890713 w 3150394"/>
                  <a:gd name="connsiteY24" fmla="*/ 228600 h 1814512"/>
                  <a:gd name="connsiteX25" fmla="*/ 1943100 w 3150394"/>
                  <a:gd name="connsiteY25" fmla="*/ 183356 h 1814512"/>
                  <a:gd name="connsiteX26" fmla="*/ 1964531 w 3150394"/>
                  <a:gd name="connsiteY26" fmla="*/ 133350 h 1814512"/>
                  <a:gd name="connsiteX27" fmla="*/ 2014538 w 3150394"/>
                  <a:gd name="connsiteY27" fmla="*/ 109537 h 1814512"/>
                  <a:gd name="connsiteX28" fmla="*/ 2055019 w 3150394"/>
                  <a:gd name="connsiteY28" fmla="*/ 80962 h 1814512"/>
                  <a:gd name="connsiteX29" fmla="*/ 2100263 w 3150394"/>
                  <a:gd name="connsiteY29" fmla="*/ 33337 h 1814512"/>
                  <a:gd name="connsiteX30" fmla="*/ 2145506 w 3150394"/>
                  <a:gd name="connsiteY30" fmla="*/ 33337 h 1814512"/>
                  <a:gd name="connsiteX31" fmla="*/ 2181225 w 3150394"/>
                  <a:gd name="connsiteY31" fmla="*/ 0 h 1814512"/>
                  <a:gd name="connsiteX32" fmla="*/ 2247900 w 3150394"/>
                  <a:gd name="connsiteY32" fmla="*/ 71437 h 1814512"/>
                  <a:gd name="connsiteX33" fmla="*/ 2224088 w 3150394"/>
                  <a:gd name="connsiteY33" fmla="*/ 102393 h 1814512"/>
                  <a:gd name="connsiteX34" fmla="*/ 2216944 w 3150394"/>
                  <a:gd name="connsiteY34" fmla="*/ 138112 h 1814512"/>
                  <a:gd name="connsiteX35" fmla="*/ 2262188 w 3150394"/>
                  <a:gd name="connsiteY35" fmla="*/ 180975 h 1814512"/>
                  <a:gd name="connsiteX36" fmla="*/ 2326481 w 3150394"/>
                  <a:gd name="connsiteY36" fmla="*/ 178593 h 1814512"/>
                  <a:gd name="connsiteX37" fmla="*/ 2362200 w 3150394"/>
                  <a:gd name="connsiteY37" fmla="*/ 183356 h 1814512"/>
                  <a:gd name="connsiteX38" fmla="*/ 2440781 w 3150394"/>
                  <a:gd name="connsiteY38" fmla="*/ 230981 h 1814512"/>
                  <a:gd name="connsiteX39" fmla="*/ 2476500 w 3150394"/>
                  <a:gd name="connsiteY39" fmla="*/ 245268 h 1814512"/>
                  <a:gd name="connsiteX40" fmla="*/ 2478881 w 3150394"/>
                  <a:gd name="connsiteY40" fmla="*/ 292893 h 1814512"/>
                  <a:gd name="connsiteX41" fmla="*/ 2462213 w 3150394"/>
                  <a:gd name="connsiteY41" fmla="*/ 345281 h 1814512"/>
                  <a:gd name="connsiteX42" fmla="*/ 2507456 w 3150394"/>
                  <a:gd name="connsiteY42" fmla="*/ 359568 h 1814512"/>
                  <a:gd name="connsiteX43" fmla="*/ 2543175 w 3150394"/>
                  <a:gd name="connsiteY43" fmla="*/ 304800 h 1814512"/>
                  <a:gd name="connsiteX44" fmla="*/ 2586038 w 3150394"/>
                  <a:gd name="connsiteY44" fmla="*/ 295275 h 1814512"/>
                  <a:gd name="connsiteX45" fmla="*/ 2643188 w 3150394"/>
                  <a:gd name="connsiteY45" fmla="*/ 257175 h 1814512"/>
                  <a:gd name="connsiteX46" fmla="*/ 2705100 w 3150394"/>
                  <a:gd name="connsiteY46" fmla="*/ 266700 h 1814512"/>
                  <a:gd name="connsiteX47" fmla="*/ 2781300 w 3150394"/>
                  <a:gd name="connsiteY47" fmla="*/ 226218 h 1814512"/>
                  <a:gd name="connsiteX48" fmla="*/ 2809875 w 3150394"/>
                  <a:gd name="connsiteY48" fmla="*/ 166687 h 1814512"/>
                  <a:gd name="connsiteX49" fmla="*/ 2824163 w 3150394"/>
                  <a:gd name="connsiteY49" fmla="*/ 147637 h 1814512"/>
                  <a:gd name="connsiteX50" fmla="*/ 2831306 w 3150394"/>
                  <a:gd name="connsiteY50" fmla="*/ 142875 h 1814512"/>
                  <a:gd name="connsiteX51" fmla="*/ 2840831 w 3150394"/>
                  <a:gd name="connsiteY51" fmla="*/ 130968 h 1814512"/>
                  <a:gd name="connsiteX52" fmla="*/ 2855119 w 3150394"/>
                  <a:gd name="connsiteY52" fmla="*/ 92868 h 1814512"/>
                  <a:gd name="connsiteX53" fmla="*/ 2938463 w 3150394"/>
                  <a:gd name="connsiteY53" fmla="*/ 114300 h 1814512"/>
                  <a:gd name="connsiteX54" fmla="*/ 3009900 w 3150394"/>
                  <a:gd name="connsiteY54" fmla="*/ 130968 h 1814512"/>
                  <a:gd name="connsiteX55" fmla="*/ 3024188 w 3150394"/>
                  <a:gd name="connsiteY55" fmla="*/ 200025 h 1814512"/>
                  <a:gd name="connsiteX56" fmla="*/ 3059906 w 3150394"/>
                  <a:gd name="connsiteY56" fmla="*/ 252412 h 1814512"/>
                  <a:gd name="connsiteX57" fmla="*/ 3045619 w 3150394"/>
                  <a:gd name="connsiteY57" fmla="*/ 259556 h 1814512"/>
                  <a:gd name="connsiteX58" fmla="*/ 3005138 w 3150394"/>
                  <a:gd name="connsiteY58" fmla="*/ 283368 h 1814512"/>
                  <a:gd name="connsiteX59" fmla="*/ 2976563 w 3150394"/>
                  <a:gd name="connsiteY59" fmla="*/ 314325 h 1814512"/>
                  <a:gd name="connsiteX60" fmla="*/ 2947988 w 3150394"/>
                  <a:gd name="connsiteY60" fmla="*/ 354806 h 1814512"/>
                  <a:gd name="connsiteX61" fmla="*/ 2945606 w 3150394"/>
                  <a:gd name="connsiteY61" fmla="*/ 416718 h 1814512"/>
                  <a:gd name="connsiteX62" fmla="*/ 2959894 w 3150394"/>
                  <a:gd name="connsiteY62" fmla="*/ 466725 h 1814512"/>
                  <a:gd name="connsiteX63" fmla="*/ 2986088 w 3150394"/>
                  <a:gd name="connsiteY63" fmla="*/ 511968 h 1814512"/>
                  <a:gd name="connsiteX64" fmla="*/ 3009900 w 3150394"/>
                  <a:gd name="connsiteY64" fmla="*/ 535781 h 1814512"/>
                  <a:gd name="connsiteX65" fmla="*/ 2990850 w 3150394"/>
                  <a:gd name="connsiteY65" fmla="*/ 564356 h 1814512"/>
                  <a:gd name="connsiteX66" fmla="*/ 2969419 w 3150394"/>
                  <a:gd name="connsiteY66" fmla="*/ 590550 h 1814512"/>
                  <a:gd name="connsiteX67" fmla="*/ 2964656 w 3150394"/>
                  <a:gd name="connsiteY67" fmla="*/ 640556 h 1814512"/>
                  <a:gd name="connsiteX68" fmla="*/ 2978944 w 3150394"/>
                  <a:gd name="connsiteY68" fmla="*/ 666750 h 1814512"/>
                  <a:gd name="connsiteX69" fmla="*/ 3005138 w 3150394"/>
                  <a:gd name="connsiteY69" fmla="*/ 716756 h 1814512"/>
                  <a:gd name="connsiteX70" fmla="*/ 3028950 w 3150394"/>
                  <a:gd name="connsiteY70" fmla="*/ 733425 h 1814512"/>
                  <a:gd name="connsiteX71" fmla="*/ 3019425 w 3150394"/>
                  <a:gd name="connsiteY71" fmla="*/ 769143 h 1814512"/>
                  <a:gd name="connsiteX72" fmla="*/ 3012281 w 3150394"/>
                  <a:gd name="connsiteY72" fmla="*/ 790575 h 1814512"/>
                  <a:gd name="connsiteX73" fmla="*/ 2986088 w 3150394"/>
                  <a:gd name="connsiteY73" fmla="*/ 807243 h 1814512"/>
                  <a:gd name="connsiteX74" fmla="*/ 2959894 w 3150394"/>
                  <a:gd name="connsiteY74" fmla="*/ 828675 h 1814512"/>
                  <a:gd name="connsiteX75" fmla="*/ 2971800 w 3150394"/>
                  <a:gd name="connsiteY75" fmla="*/ 859631 h 1814512"/>
                  <a:gd name="connsiteX76" fmla="*/ 2981325 w 3150394"/>
                  <a:gd name="connsiteY76" fmla="*/ 883443 h 1814512"/>
                  <a:gd name="connsiteX77" fmla="*/ 3057525 w 3150394"/>
                  <a:gd name="connsiteY77" fmla="*/ 962025 h 1814512"/>
                  <a:gd name="connsiteX78" fmla="*/ 3009900 w 3150394"/>
                  <a:gd name="connsiteY78" fmla="*/ 1021556 h 1814512"/>
                  <a:gd name="connsiteX79" fmla="*/ 3007519 w 3150394"/>
                  <a:gd name="connsiteY79" fmla="*/ 1181100 h 1814512"/>
                  <a:gd name="connsiteX80" fmla="*/ 2967038 w 3150394"/>
                  <a:gd name="connsiteY80" fmla="*/ 1214437 h 1814512"/>
                  <a:gd name="connsiteX81" fmla="*/ 3028950 w 3150394"/>
                  <a:gd name="connsiteY81" fmla="*/ 1293018 h 1814512"/>
                  <a:gd name="connsiteX82" fmla="*/ 3086100 w 3150394"/>
                  <a:gd name="connsiteY82" fmla="*/ 1238250 h 1814512"/>
                  <a:gd name="connsiteX83" fmla="*/ 3150394 w 3150394"/>
                  <a:gd name="connsiteY83" fmla="*/ 1240631 h 1814512"/>
                  <a:gd name="connsiteX84" fmla="*/ 3143250 w 3150394"/>
                  <a:gd name="connsiteY84" fmla="*/ 1283493 h 1814512"/>
                  <a:gd name="connsiteX85" fmla="*/ 3143250 w 3150394"/>
                  <a:gd name="connsiteY85" fmla="*/ 1419225 h 1814512"/>
                  <a:gd name="connsiteX86" fmla="*/ 3107531 w 3150394"/>
                  <a:gd name="connsiteY86" fmla="*/ 1431131 h 1814512"/>
                  <a:gd name="connsiteX87" fmla="*/ 3021806 w 3150394"/>
                  <a:gd name="connsiteY87" fmla="*/ 1443037 h 1814512"/>
                  <a:gd name="connsiteX88" fmla="*/ 2693194 w 3150394"/>
                  <a:gd name="connsiteY88" fmla="*/ 1459706 h 1814512"/>
                  <a:gd name="connsiteX89" fmla="*/ 2586038 w 3150394"/>
                  <a:gd name="connsiteY89" fmla="*/ 1488281 h 1814512"/>
                  <a:gd name="connsiteX90" fmla="*/ 2347913 w 3150394"/>
                  <a:gd name="connsiteY90" fmla="*/ 1728787 h 1814512"/>
                  <a:gd name="connsiteX91" fmla="*/ 1462088 w 3150394"/>
                  <a:gd name="connsiteY91" fmla="*/ 1781175 h 1814512"/>
                  <a:gd name="connsiteX92" fmla="*/ 1307306 w 3150394"/>
                  <a:gd name="connsiteY92" fmla="*/ 1802606 h 1814512"/>
                  <a:gd name="connsiteX93" fmla="*/ 885825 w 3150394"/>
                  <a:gd name="connsiteY93" fmla="*/ 1814512 h 1814512"/>
                  <a:gd name="connsiteX94" fmla="*/ 847725 w 3150394"/>
                  <a:gd name="connsiteY94" fmla="*/ 1747837 h 1814512"/>
                  <a:gd name="connsiteX95" fmla="*/ 759619 w 3150394"/>
                  <a:gd name="connsiteY95" fmla="*/ 1747837 h 1814512"/>
                  <a:gd name="connsiteX96" fmla="*/ 735806 w 3150394"/>
                  <a:gd name="connsiteY96" fmla="*/ 1738312 h 1814512"/>
                  <a:gd name="connsiteX97" fmla="*/ 681038 w 3150394"/>
                  <a:gd name="connsiteY97" fmla="*/ 1776412 h 1814512"/>
                  <a:gd name="connsiteX98" fmla="*/ 492919 w 3150394"/>
                  <a:gd name="connsiteY98" fmla="*/ 1764506 h 1814512"/>
                  <a:gd name="connsiteX99" fmla="*/ 416719 w 3150394"/>
                  <a:gd name="connsiteY99" fmla="*/ 1690687 h 1814512"/>
                  <a:gd name="connsiteX100" fmla="*/ 242888 w 3150394"/>
                  <a:gd name="connsiteY100" fmla="*/ 1581150 h 1814512"/>
                  <a:gd name="connsiteX101" fmla="*/ 61913 w 3150394"/>
                  <a:gd name="connsiteY101" fmla="*/ 1514475 h 1814512"/>
                  <a:gd name="connsiteX102" fmla="*/ 0 w 3150394"/>
                  <a:gd name="connsiteY102" fmla="*/ 1478756 h 1814512"/>
                  <a:gd name="connsiteX103" fmla="*/ 1026319 w 3150394"/>
                  <a:gd name="connsiteY103" fmla="*/ 295275 h 1814512"/>
                  <a:gd name="connsiteX0" fmla="*/ 1026319 w 3150394"/>
                  <a:gd name="connsiteY0" fmla="*/ 295275 h 1814512"/>
                  <a:gd name="connsiteX1" fmla="*/ 1081088 w 3150394"/>
                  <a:gd name="connsiteY1" fmla="*/ 240506 h 1814512"/>
                  <a:gd name="connsiteX2" fmla="*/ 1104900 w 3150394"/>
                  <a:gd name="connsiteY2" fmla="*/ 195262 h 1814512"/>
                  <a:gd name="connsiteX3" fmla="*/ 1150144 w 3150394"/>
                  <a:gd name="connsiteY3" fmla="*/ 180975 h 1814512"/>
                  <a:gd name="connsiteX4" fmla="*/ 1181100 w 3150394"/>
                  <a:gd name="connsiteY4" fmla="*/ 209550 h 1814512"/>
                  <a:gd name="connsiteX5" fmla="*/ 1197769 w 3150394"/>
                  <a:gd name="connsiteY5" fmla="*/ 250031 h 1814512"/>
                  <a:gd name="connsiteX6" fmla="*/ 1231106 w 3150394"/>
                  <a:gd name="connsiteY6" fmla="*/ 278606 h 1814512"/>
                  <a:gd name="connsiteX7" fmla="*/ 1252538 w 3150394"/>
                  <a:gd name="connsiteY7" fmla="*/ 280987 h 1814512"/>
                  <a:gd name="connsiteX8" fmla="*/ 1307306 w 3150394"/>
                  <a:gd name="connsiteY8" fmla="*/ 280987 h 1814512"/>
                  <a:gd name="connsiteX9" fmla="*/ 1338263 w 3150394"/>
                  <a:gd name="connsiteY9" fmla="*/ 314325 h 1814512"/>
                  <a:gd name="connsiteX10" fmla="*/ 1340644 w 3150394"/>
                  <a:gd name="connsiteY10" fmla="*/ 335756 h 1814512"/>
                  <a:gd name="connsiteX11" fmla="*/ 1352550 w 3150394"/>
                  <a:gd name="connsiteY11" fmla="*/ 373856 h 1814512"/>
                  <a:gd name="connsiteX12" fmla="*/ 1393031 w 3150394"/>
                  <a:gd name="connsiteY12" fmla="*/ 357187 h 1814512"/>
                  <a:gd name="connsiteX13" fmla="*/ 1452563 w 3150394"/>
                  <a:gd name="connsiteY13" fmla="*/ 373856 h 1814512"/>
                  <a:gd name="connsiteX14" fmla="*/ 1524000 w 3150394"/>
                  <a:gd name="connsiteY14" fmla="*/ 385762 h 1814512"/>
                  <a:gd name="connsiteX15" fmla="*/ 1564481 w 3150394"/>
                  <a:gd name="connsiteY15" fmla="*/ 369093 h 1814512"/>
                  <a:gd name="connsiteX16" fmla="*/ 1576388 w 3150394"/>
                  <a:gd name="connsiteY16" fmla="*/ 311943 h 1814512"/>
                  <a:gd name="connsiteX17" fmla="*/ 1581150 w 3150394"/>
                  <a:gd name="connsiteY17" fmla="*/ 285750 h 1814512"/>
                  <a:gd name="connsiteX18" fmla="*/ 1607344 w 3150394"/>
                  <a:gd name="connsiteY18" fmla="*/ 269081 h 1814512"/>
                  <a:gd name="connsiteX19" fmla="*/ 1735931 w 3150394"/>
                  <a:gd name="connsiteY19" fmla="*/ 178593 h 1814512"/>
                  <a:gd name="connsiteX20" fmla="*/ 1764506 w 3150394"/>
                  <a:gd name="connsiteY20" fmla="*/ 176212 h 1814512"/>
                  <a:gd name="connsiteX21" fmla="*/ 1774031 w 3150394"/>
                  <a:gd name="connsiteY21" fmla="*/ 228600 h 1814512"/>
                  <a:gd name="connsiteX22" fmla="*/ 1766888 w 3150394"/>
                  <a:gd name="connsiteY22" fmla="*/ 261937 h 1814512"/>
                  <a:gd name="connsiteX23" fmla="*/ 1843088 w 3150394"/>
                  <a:gd name="connsiteY23" fmla="*/ 280987 h 1814512"/>
                  <a:gd name="connsiteX24" fmla="*/ 1890713 w 3150394"/>
                  <a:gd name="connsiteY24" fmla="*/ 228600 h 1814512"/>
                  <a:gd name="connsiteX25" fmla="*/ 1943100 w 3150394"/>
                  <a:gd name="connsiteY25" fmla="*/ 183356 h 1814512"/>
                  <a:gd name="connsiteX26" fmla="*/ 1964531 w 3150394"/>
                  <a:gd name="connsiteY26" fmla="*/ 133350 h 1814512"/>
                  <a:gd name="connsiteX27" fmla="*/ 2014538 w 3150394"/>
                  <a:gd name="connsiteY27" fmla="*/ 109537 h 1814512"/>
                  <a:gd name="connsiteX28" fmla="*/ 2055019 w 3150394"/>
                  <a:gd name="connsiteY28" fmla="*/ 80962 h 1814512"/>
                  <a:gd name="connsiteX29" fmla="*/ 2100263 w 3150394"/>
                  <a:gd name="connsiteY29" fmla="*/ 33337 h 1814512"/>
                  <a:gd name="connsiteX30" fmla="*/ 2145506 w 3150394"/>
                  <a:gd name="connsiteY30" fmla="*/ 33337 h 1814512"/>
                  <a:gd name="connsiteX31" fmla="*/ 2181225 w 3150394"/>
                  <a:gd name="connsiteY31" fmla="*/ 0 h 1814512"/>
                  <a:gd name="connsiteX32" fmla="*/ 2247900 w 3150394"/>
                  <a:gd name="connsiteY32" fmla="*/ 71437 h 1814512"/>
                  <a:gd name="connsiteX33" fmla="*/ 2224088 w 3150394"/>
                  <a:gd name="connsiteY33" fmla="*/ 102393 h 1814512"/>
                  <a:gd name="connsiteX34" fmla="*/ 2216944 w 3150394"/>
                  <a:gd name="connsiteY34" fmla="*/ 138112 h 1814512"/>
                  <a:gd name="connsiteX35" fmla="*/ 2262188 w 3150394"/>
                  <a:gd name="connsiteY35" fmla="*/ 180975 h 1814512"/>
                  <a:gd name="connsiteX36" fmla="*/ 2326481 w 3150394"/>
                  <a:gd name="connsiteY36" fmla="*/ 178593 h 1814512"/>
                  <a:gd name="connsiteX37" fmla="*/ 2362200 w 3150394"/>
                  <a:gd name="connsiteY37" fmla="*/ 183356 h 1814512"/>
                  <a:gd name="connsiteX38" fmla="*/ 2440781 w 3150394"/>
                  <a:gd name="connsiteY38" fmla="*/ 230981 h 1814512"/>
                  <a:gd name="connsiteX39" fmla="*/ 2476500 w 3150394"/>
                  <a:gd name="connsiteY39" fmla="*/ 245268 h 1814512"/>
                  <a:gd name="connsiteX40" fmla="*/ 2478881 w 3150394"/>
                  <a:gd name="connsiteY40" fmla="*/ 292893 h 1814512"/>
                  <a:gd name="connsiteX41" fmla="*/ 2462213 w 3150394"/>
                  <a:gd name="connsiteY41" fmla="*/ 345281 h 1814512"/>
                  <a:gd name="connsiteX42" fmla="*/ 2507456 w 3150394"/>
                  <a:gd name="connsiteY42" fmla="*/ 359568 h 1814512"/>
                  <a:gd name="connsiteX43" fmla="*/ 2543175 w 3150394"/>
                  <a:gd name="connsiteY43" fmla="*/ 304800 h 1814512"/>
                  <a:gd name="connsiteX44" fmla="*/ 2586038 w 3150394"/>
                  <a:gd name="connsiteY44" fmla="*/ 295275 h 1814512"/>
                  <a:gd name="connsiteX45" fmla="*/ 2643188 w 3150394"/>
                  <a:gd name="connsiteY45" fmla="*/ 257175 h 1814512"/>
                  <a:gd name="connsiteX46" fmla="*/ 2705100 w 3150394"/>
                  <a:gd name="connsiteY46" fmla="*/ 266700 h 1814512"/>
                  <a:gd name="connsiteX47" fmla="*/ 2781300 w 3150394"/>
                  <a:gd name="connsiteY47" fmla="*/ 226218 h 1814512"/>
                  <a:gd name="connsiteX48" fmla="*/ 2809875 w 3150394"/>
                  <a:gd name="connsiteY48" fmla="*/ 166687 h 1814512"/>
                  <a:gd name="connsiteX49" fmla="*/ 2824163 w 3150394"/>
                  <a:gd name="connsiteY49" fmla="*/ 147637 h 1814512"/>
                  <a:gd name="connsiteX50" fmla="*/ 2831306 w 3150394"/>
                  <a:gd name="connsiteY50" fmla="*/ 142875 h 1814512"/>
                  <a:gd name="connsiteX51" fmla="*/ 2840831 w 3150394"/>
                  <a:gd name="connsiteY51" fmla="*/ 130968 h 1814512"/>
                  <a:gd name="connsiteX52" fmla="*/ 2855119 w 3150394"/>
                  <a:gd name="connsiteY52" fmla="*/ 92868 h 1814512"/>
                  <a:gd name="connsiteX53" fmla="*/ 2938463 w 3150394"/>
                  <a:gd name="connsiteY53" fmla="*/ 114300 h 1814512"/>
                  <a:gd name="connsiteX54" fmla="*/ 3009900 w 3150394"/>
                  <a:gd name="connsiteY54" fmla="*/ 130968 h 1814512"/>
                  <a:gd name="connsiteX55" fmla="*/ 3024188 w 3150394"/>
                  <a:gd name="connsiteY55" fmla="*/ 200025 h 1814512"/>
                  <a:gd name="connsiteX56" fmla="*/ 3059906 w 3150394"/>
                  <a:gd name="connsiteY56" fmla="*/ 252412 h 1814512"/>
                  <a:gd name="connsiteX57" fmla="*/ 3045619 w 3150394"/>
                  <a:gd name="connsiteY57" fmla="*/ 259556 h 1814512"/>
                  <a:gd name="connsiteX58" fmla="*/ 3005138 w 3150394"/>
                  <a:gd name="connsiteY58" fmla="*/ 283368 h 1814512"/>
                  <a:gd name="connsiteX59" fmla="*/ 2976563 w 3150394"/>
                  <a:gd name="connsiteY59" fmla="*/ 314325 h 1814512"/>
                  <a:gd name="connsiteX60" fmla="*/ 2947988 w 3150394"/>
                  <a:gd name="connsiteY60" fmla="*/ 354806 h 1814512"/>
                  <a:gd name="connsiteX61" fmla="*/ 2945606 w 3150394"/>
                  <a:gd name="connsiteY61" fmla="*/ 416718 h 1814512"/>
                  <a:gd name="connsiteX62" fmla="*/ 2959894 w 3150394"/>
                  <a:gd name="connsiteY62" fmla="*/ 466725 h 1814512"/>
                  <a:gd name="connsiteX63" fmla="*/ 2986088 w 3150394"/>
                  <a:gd name="connsiteY63" fmla="*/ 511968 h 1814512"/>
                  <a:gd name="connsiteX64" fmla="*/ 3009900 w 3150394"/>
                  <a:gd name="connsiteY64" fmla="*/ 535781 h 1814512"/>
                  <a:gd name="connsiteX65" fmla="*/ 2990850 w 3150394"/>
                  <a:gd name="connsiteY65" fmla="*/ 564356 h 1814512"/>
                  <a:gd name="connsiteX66" fmla="*/ 2969419 w 3150394"/>
                  <a:gd name="connsiteY66" fmla="*/ 590550 h 1814512"/>
                  <a:gd name="connsiteX67" fmla="*/ 2964656 w 3150394"/>
                  <a:gd name="connsiteY67" fmla="*/ 640556 h 1814512"/>
                  <a:gd name="connsiteX68" fmla="*/ 2978944 w 3150394"/>
                  <a:gd name="connsiteY68" fmla="*/ 666750 h 1814512"/>
                  <a:gd name="connsiteX69" fmla="*/ 3005138 w 3150394"/>
                  <a:gd name="connsiteY69" fmla="*/ 716756 h 1814512"/>
                  <a:gd name="connsiteX70" fmla="*/ 3028950 w 3150394"/>
                  <a:gd name="connsiteY70" fmla="*/ 733425 h 1814512"/>
                  <a:gd name="connsiteX71" fmla="*/ 3019425 w 3150394"/>
                  <a:gd name="connsiteY71" fmla="*/ 769143 h 1814512"/>
                  <a:gd name="connsiteX72" fmla="*/ 3012281 w 3150394"/>
                  <a:gd name="connsiteY72" fmla="*/ 790575 h 1814512"/>
                  <a:gd name="connsiteX73" fmla="*/ 2986088 w 3150394"/>
                  <a:gd name="connsiteY73" fmla="*/ 807243 h 1814512"/>
                  <a:gd name="connsiteX74" fmla="*/ 2959894 w 3150394"/>
                  <a:gd name="connsiteY74" fmla="*/ 828675 h 1814512"/>
                  <a:gd name="connsiteX75" fmla="*/ 2971800 w 3150394"/>
                  <a:gd name="connsiteY75" fmla="*/ 859631 h 1814512"/>
                  <a:gd name="connsiteX76" fmla="*/ 2981325 w 3150394"/>
                  <a:gd name="connsiteY76" fmla="*/ 883443 h 1814512"/>
                  <a:gd name="connsiteX77" fmla="*/ 3057525 w 3150394"/>
                  <a:gd name="connsiteY77" fmla="*/ 962025 h 1814512"/>
                  <a:gd name="connsiteX78" fmla="*/ 3009900 w 3150394"/>
                  <a:gd name="connsiteY78" fmla="*/ 1021556 h 1814512"/>
                  <a:gd name="connsiteX79" fmla="*/ 3007519 w 3150394"/>
                  <a:gd name="connsiteY79" fmla="*/ 1181100 h 1814512"/>
                  <a:gd name="connsiteX80" fmla="*/ 2967038 w 3150394"/>
                  <a:gd name="connsiteY80" fmla="*/ 1214437 h 1814512"/>
                  <a:gd name="connsiteX81" fmla="*/ 3028950 w 3150394"/>
                  <a:gd name="connsiteY81" fmla="*/ 1293018 h 1814512"/>
                  <a:gd name="connsiteX82" fmla="*/ 3086100 w 3150394"/>
                  <a:gd name="connsiteY82" fmla="*/ 1238250 h 1814512"/>
                  <a:gd name="connsiteX83" fmla="*/ 3150394 w 3150394"/>
                  <a:gd name="connsiteY83" fmla="*/ 1240631 h 1814512"/>
                  <a:gd name="connsiteX84" fmla="*/ 3143250 w 3150394"/>
                  <a:gd name="connsiteY84" fmla="*/ 1283493 h 1814512"/>
                  <a:gd name="connsiteX85" fmla="*/ 3143250 w 3150394"/>
                  <a:gd name="connsiteY85" fmla="*/ 1419225 h 1814512"/>
                  <a:gd name="connsiteX86" fmla="*/ 3107531 w 3150394"/>
                  <a:gd name="connsiteY86" fmla="*/ 1431131 h 1814512"/>
                  <a:gd name="connsiteX87" fmla="*/ 3021806 w 3150394"/>
                  <a:gd name="connsiteY87" fmla="*/ 1443037 h 1814512"/>
                  <a:gd name="connsiteX88" fmla="*/ 2693194 w 3150394"/>
                  <a:gd name="connsiteY88" fmla="*/ 1459706 h 1814512"/>
                  <a:gd name="connsiteX89" fmla="*/ 2586038 w 3150394"/>
                  <a:gd name="connsiteY89" fmla="*/ 1488281 h 1814512"/>
                  <a:gd name="connsiteX90" fmla="*/ 2347913 w 3150394"/>
                  <a:gd name="connsiteY90" fmla="*/ 1728787 h 1814512"/>
                  <a:gd name="connsiteX91" fmla="*/ 1462088 w 3150394"/>
                  <a:gd name="connsiteY91" fmla="*/ 1781175 h 1814512"/>
                  <a:gd name="connsiteX92" fmla="*/ 1307306 w 3150394"/>
                  <a:gd name="connsiteY92" fmla="*/ 1802606 h 1814512"/>
                  <a:gd name="connsiteX93" fmla="*/ 885825 w 3150394"/>
                  <a:gd name="connsiteY93" fmla="*/ 1814512 h 1814512"/>
                  <a:gd name="connsiteX94" fmla="*/ 847725 w 3150394"/>
                  <a:gd name="connsiteY94" fmla="*/ 1747837 h 1814512"/>
                  <a:gd name="connsiteX95" fmla="*/ 759619 w 3150394"/>
                  <a:gd name="connsiteY95" fmla="*/ 1747837 h 1814512"/>
                  <a:gd name="connsiteX96" fmla="*/ 735806 w 3150394"/>
                  <a:gd name="connsiteY96" fmla="*/ 1738312 h 1814512"/>
                  <a:gd name="connsiteX97" fmla="*/ 681038 w 3150394"/>
                  <a:gd name="connsiteY97" fmla="*/ 1776412 h 1814512"/>
                  <a:gd name="connsiteX98" fmla="*/ 492919 w 3150394"/>
                  <a:gd name="connsiteY98" fmla="*/ 1764506 h 1814512"/>
                  <a:gd name="connsiteX99" fmla="*/ 416719 w 3150394"/>
                  <a:gd name="connsiteY99" fmla="*/ 1690687 h 1814512"/>
                  <a:gd name="connsiteX100" fmla="*/ 242888 w 3150394"/>
                  <a:gd name="connsiteY100" fmla="*/ 1581150 h 1814512"/>
                  <a:gd name="connsiteX101" fmla="*/ 61913 w 3150394"/>
                  <a:gd name="connsiteY101" fmla="*/ 1514475 h 1814512"/>
                  <a:gd name="connsiteX102" fmla="*/ 0 w 3150394"/>
                  <a:gd name="connsiteY102" fmla="*/ 1478756 h 1814512"/>
                  <a:gd name="connsiteX103" fmla="*/ 64294 w 3150394"/>
                  <a:gd name="connsiteY103" fmla="*/ 1402556 h 1814512"/>
                  <a:gd name="connsiteX104" fmla="*/ 1026319 w 3150394"/>
                  <a:gd name="connsiteY104" fmla="*/ 295275 h 1814512"/>
                  <a:gd name="connsiteX0" fmla="*/ 1071753 w 3195828"/>
                  <a:gd name="connsiteY0" fmla="*/ 295275 h 1814512"/>
                  <a:gd name="connsiteX1" fmla="*/ 1126522 w 3195828"/>
                  <a:gd name="connsiteY1" fmla="*/ 240506 h 1814512"/>
                  <a:gd name="connsiteX2" fmla="*/ 1150334 w 3195828"/>
                  <a:gd name="connsiteY2" fmla="*/ 195262 h 1814512"/>
                  <a:gd name="connsiteX3" fmla="*/ 1195578 w 3195828"/>
                  <a:gd name="connsiteY3" fmla="*/ 180975 h 1814512"/>
                  <a:gd name="connsiteX4" fmla="*/ 1226534 w 3195828"/>
                  <a:gd name="connsiteY4" fmla="*/ 209550 h 1814512"/>
                  <a:gd name="connsiteX5" fmla="*/ 1243203 w 3195828"/>
                  <a:gd name="connsiteY5" fmla="*/ 250031 h 1814512"/>
                  <a:gd name="connsiteX6" fmla="*/ 1276540 w 3195828"/>
                  <a:gd name="connsiteY6" fmla="*/ 278606 h 1814512"/>
                  <a:gd name="connsiteX7" fmla="*/ 1297972 w 3195828"/>
                  <a:gd name="connsiteY7" fmla="*/ 280987 h 1814512"/>
                  <a:gd name="connsiteX8" fmla="*/ 1352740 w 3195828"/>
                  <a:gd name="connsiteY8" fmla="*/ 280987 h 1814512"/>
                  <a:gd name="connsiteX9" fmla="*/ 1383697 w 3195828"/>
                  <a:gd name="connsiteY9" fmla="*/ 314325 h 1814512"/>
                  <a:gd name="connsiteX10" fmla="*/ 1386078 w 3195828"/>
                  <a:gd name="connsiteY10" fmla="*/ 335756 h 1814512"/>
                  <a:gd name="connsiteX11" fmla="*/ 1397984 w 3195828"/>
                  <a:gd name="connsiteY11" fmla="*/ 373856 h 1814512"/>
                  <a:gd name="connsiteX12" fmla="*/ 1438465 w 3195828"/>
                  <a:gd name="connsiteY12" fmla="*/ 357187 h 1814512"/>
                  <a:gd name="connsiteX13" fmla="*/ 1497997 w 3195828"/>
                  <a:gd name="connsiteY13" fmla="*/ 373856 h 1814512"/>
                  <a:gd name="connsiteX14" fmla="*/ 1569434 w 3195828"/>
                  <a:gd name="connsiteY14" fmla="*/ 385762 h 1814512"/>
                  <a:gd name="connsiteX15" fmla="*/ 1609915 w 3195828"/>
                  <a:gd name="connsiteY15" fmla="*/ 369093 h 1814512"/>
                  <a:gd name="connsiteX16" fmla="*/ 1621822 w 3195828"/>
                  <a:gd name="connsiteY16" fmla="*/ 311943 h 1814512"/>
                  <a:gd name="connsiteX17" fmla="*/ 1626584 w 3195828"/>
                  <a:gd name="connsiteY17" fmla="*/ 285750 h 1814512"/>
                  <a:gd name="connsiteX18" fmla="*/ 1652778 w 3195828"/>
                  <a:gd name="connsiteY18" fmla="*/ 269081 h 1814512"/>
                  <a:gd name="connsiteX19" fmla="*/ 1781365 w 3195828"/>
                  <a:gd name="connsiteY19" fmla="*/ 178593 h 1814512"/>
                  <a:gd name="connsiteX20" fmla="*/ 1809940 w 3195828"/>
                  <a:gd name="connsiteY20" fmla="*/ 176212 h 1814512"/>
                  <a:gd name="connsiteX21" fmla="*/ 1819465 w 3195828"/>
                  <a:gd name="connsiteY21" fmla="*/ 228600 h 1814512"/>
                  <a:gd name="connsiteX22" fmla="*/ 1812322 w 3195828"/>
                  <a:gd name="connsiteY22" fmla="*/ 261937 h 1814512"/>
                  <a:gd name="connsiteX23" fmla="*/ 1888522 w 3195828"/>
                  <a:gd name="connsiteY23" fmla="*/ 280987 h 1814512"/>
                  <a:gd name="connsiteX24" fmla="*/ 1936147 w 3195828"/>
                  <a:gd name="connsiteY24" fmla="*/ 228600 h 1814512"/>
                  <a:gd name="connsiteX25" fmla="*/ 1988534 w 3195828"/>
                  <a:gd name="connsiteY25" fmla="*/ 183356 h 1814512"/>
                  <a:gd name="connsiteX26" fmla="*/ 2009965 w 3195828"/>
                  <a:gd name="connsiteY26" fmla="*/ 133350 h 1814512"/>
                  <a:gd name="connsiteX27" fmla="*/ 2059972 w 3195828"/>
                  <a:gd name="connsiteY27" fmla="*/ 109537 h 1814512"/>
                  <a:gd name="connsiteX28" fmla="*/ 2100453 w 3195828"/>
                  <a:gd name="connsiteY28" fmla="*/ 80962 h 1814512"/>
                  <a:gd name="connsiteX29" fmla="*/ 2145697 w 3195828"/>
                  <a:gd name="connsiteY29" fmla="*/ 33337 h 1814512"/>
                  <a:gd name="connsiteX30" fmla="*/ 2190940 w 3195828"/>
                  <a:gd name="connsiteY30" fmla="*/ 33337 h 1814512"/>
                  <a:gd name="connsiteX31" fmla="*/ 2226659 w 3195828"/>
                  <a:gd name="connsiteY31" fmla="*/ 0 h 1814512"/>
                  <a:gd name="connsiteX32" fmla="*/ 2293334 w 3195828"/>
                  <a:gd name="connsiteY32" fmla="*/ 71437 h 1814512"/>
                  <a:gd name="connsiteX33" fmla="*/ 2269522 w 3195828"/>
                  <a:gd name="connsiteY33" fmla="*/ 102393 h 1814512"/>
                  <a:gd name="connsiteX34" fmla="*/ 2262378 w 3195828"/>
                  <a:gd name="connsiteY34" fmla="*/ 138112 h 1814512"/>
                  <a:gd name="connsiteX35" fmla="*/ 2307622 w 3195828"/>
                  <a:gd name="connsiteY35" fmla="*/ 180975 h 1814512"/>
                  <a:gd name="connsiteX36" fmla="*/ 2371915 w 3195828"/>
                  <a:gd name="connsiteY36" fmla="*/ 178593 h 1814512"/>
                  <a:gd name="connsiteX37" fmla="*/ 2407634 w 3195828"/>
                  <a:gd name="connsiteY37" fmla="*/ 183356 h 1814512"/>
                  <a:gd name="connsiteX38" fmla="*/ 2486215 w 3195828"/>
                  <a:gd name="connsiteY38" fmla="*/ 230981 h 1814512"/>
                  <a:gd name="connsiteX39" fmla="*/ 2521934 w 3195828"/>
                  <a:gd name="connsiteY39" fmla="*/ 245268 h 1814512"/>
                  <a:gd name="connsiteX40" fmla="*/ 2524315 w 3195828"/>
                  <a:gd name="connsiteY40" fmla="*/ 292893 h 1814512"/>
                  <a:gd name="connsiteX41" fmla="*/ 2507647 w 3195828"/>
                  <a:gd name="connsiteY41" fmla="*/ 345281 h 1814512"/>
                  <a:gd name="connsiteX42" fmla="*/ 2552890 w 3195828"/>
                  <a:gd name="connsiteY42" fmla="*/ 359568 h 1814512"/>
                  <a:gd name="connsiteX43" fmla="*/ 2588609 w 3195828"/>
                  <a:gd name="connsiteY43" fmla="*/ 304800 h 1814512"/>
                  <a:gd name="connsiteX44" fmla="*/ 2631472 w 3195828"/>
                  <a:gd name="connsiteY44" fmla="*/ 295275 h 1814512"/>
                  <a:gd name="connsiteX45" fmla="*/ 2688622 w 3195828"/>
                  <a:gd name="connsiteY45" fmla="*/ 257175 h 1814512"/>
                  <a:gd name="connsiteX46" fmla="*/ 2750534 w 3195828"/>
                  <a:gd name="connsiteY46" fmla="*/ 266700 h 1814512"/>
                  <a:gd name="connsiteX47" fmla="*/ 2826734 w 3195828"/>
                  <a:gd name="connsiteY47" fmla="*/ 226218 h 1814512"/>
                  <a:gd name="connsiteX48" fmla="*/ 2855309 w 3195828"/>
                  <a:gd name="connsiteY48" fmla="*/ 166687 h 1814512"/>
                  <a:gd name="connsiteX49" fmla="*/ 2869597 w 3195828"/>
                  <a:gd name="connsiteY49" fmla="*/ 147637 h 1814512"/>
                  <a:gd name="connsiteX50" fmla="*/ 2876740 w 3195828"/>
                  <a:gd name="connsiteY50" fmla="*/ 142875 h 1814512"/>
                  <a:gd name="connsiteX51" fmla="*/ 2886265 w 3195828"/>
                  <a:gd name="connsiteY51" fmla="*/ 130968 h 1814512"/>
                  <a:gd name="connsiteX52" fmla="*/ 2900553 w 3195828"/>
                  <a:gd name="connsiteY52" fmla="*/ 92868 h 1814512"/>
                  <a:gd name="connsiteX53" fmla="*/ 2983897 w 3195828"/>
                  <a:gd name="connsiteY53" fmla="*/ 114300 h 1814512"/>
                  <a:gd name="connsiteX54" fmla="*/ 3055334 w 3195828"/>
                  <a:gd name="connsiteY54" fmla="*/ 130968 h 1814512"/>
                  <a:gd name="connsiteX55" fmla="*/ 3069622 w 3195828"/>
                  <a:gd name="connsiteY55" fmla="*/ 200025 h 1814512"/>
                  <a:gd name="connsiteX56" fmla="*/ 3105340 w 3195828"/>
                  <a:gd name="connsiteY56" fmla="*/ 252412 h 1814512"/>
                  <a:gd name="connsiteX57" fmla="*/ 3091053 w 3195828"/>
                  <a:gd name="connsiteY57" fmla="*/ 259556 h 1814512"/>
                  <a:gd name="connsiteX58" fmla="*/ 3050572 w 3195828"/>
                  <a:gd name="connsiteY58" fmla="*/ 283368 h 1814512"/>
                  <a:gd name="connsiteX59" fmla="*/ 3021997 w 3195828"/>
                  <a:gd name="connsiteY59" fmla="*/ 314325 h 1814512"/>
                  <a:gd name="connsiteX60" fmla="*/ 2993422 w 3195828"/>
                  <a:gd name="connsiteY60" fmla="*/ 354806 h 1814512"/>
                  <a:gd name="connsiteX61" fmla="*/ 2991040 w 3195828"/>
                  <a:gd name="connsiteY61" fmla="*/ 416718 h 1814512"/>
                  <a:gd name="connsiteX62" fmla="*/ 3005328 w 3195828"/>
                  <a:gd name="connsiteY62" fmla="*/ 466725 h 1814512"/>
                  <a:gd name="connsiteX63" fmla="*/ 3031522 w 3195828"/>
                  <a:gd name="connsiteY63" fmla="*/ 511968 h 1814512"/>
                  <a:gd name="connsiteX64" fmla="*/ 3055334 w 3195828"/>
                  <a:gd name="connsiteY64" fmla="*/ 535781 h 1814512"/>
                  <a:gd name="connsiteX65" fmla="*/ 3036284 w 3195828"/>
                  <a:gd name="connsiteY65" fmla="*/ 564356 h 1814512"/>
                  <a:gd name="connsiteX66" fmla="*/ 3014853 w 3195828"/>
                  <a:gd name="connsiteY66" fmla="*/ 590550 h 1814512"/>
                  <a:gd name="connsiteX67" fmla="*/ 3010090 w 3195828"/>
                  <a:gd name="connsiteY67" fmla="*/ 640556 h 1814512"/>
                  <a:gd name="connsiteX68" fmla="*/ 3024378 w 3195828"/>
                  <a:gd name="connsiteY68" fmla="*/ 666750 h 1814512"/>
                  <a:gd name="connsiteX69" fmla="*/ 3050572 w 3195828"/>
                  <a:gd name="connsiteY69" fmla="*/ 716756 h 1814512"/>
                  <a:gd name="connsiteX70" fmla="*/ 3074384 w 3195828"/>
                  <a:gd name="connsiteY70" fmla="*/ 733425 h 1814512"/>
                  <a:gd name="connsiteX71" fmla="*/ 3064859 w 3195828"/>
                  <a:gd name="connsiteY71" fmla="*/ 769143 h 1814512"/>
                  <a:gd name="connsiteX72" fmla="*/ 3057715 w 3195828"/>
                  <a:gd name="connsiteY72" fmla="*/ 790575 h 1814512"/>
                  <a:gd name="connsiteX73" fmla="*/ 3031522 w 3195828"/>
                  <a:gd name="connsiteY73" fmla="*/ 807243 h 1814512"/>
                  <a:gd name="connsiteX74" fmla="*/ 3005328 w 3195828"/>
                  <a:gd name="connsiteY74" fmla="*/ 828675 h 1814512"/>
                  <a:gd name="connsiteX75" fmla="*/ 3017234 w 3195828"/>
                  <a:gd name="connsiteY75" fmla="*/ 859631 h 1814512"/>
                  <a:gd name="connsiteX76" fmla="*/ 3026759 w 3195828"/>
                  <a:gd name="connsiteY76" fmla="*/ 883443 h 1814512"/>
                  <a:gd name="connsiteX77" fmla="*/ 3102959 w 3195828"/>
                  <a:gd name="connsiteY77" fmla="*/ 962025 h 1814512"/>
                  <a:gd name="connsiteX78" fmla="*/ 3055334 w 3195828"/>
                  <a:gd name="connsiteY78" fmla="*/ 1021556 h 1814512"/>
                  <a:gd name="connsiteX79" fmla="*/ 3052953 w 3195828"/>
                  <a:gd name="connsiteY79" fmla="*/ 1181100 h 1814512"/>
                  <a:gd name="connsiteX80" fmla="*/ 3012472 w 3195828"/>
                  <a:gd name="connsiteY80" fmla="*/ 1214437 h 1814512"/>
                  <a:gd name="connsiteX81" fmla="*/ 3074384 w 3195828"/>
                  <a:gd name="connsiteY81" fmla="*/ 1293018 h 1814512"/>
                  <a:gd name="connsiteX82" fmla="*/ 3131534 w 3195828"/>
                  <a:gd name="connsiteY82" fmla="*/ 1238250 h 1814512"/>
                  <a:gd name="connsiteX83" fmla="*/ 3195828 w 3195828"/>
                  <a:gd name="connsiteY83" fmla="*/ 1240631 h 1814512"/>
                  <a:gd name="connsiteX84" fmla="*/ 3188684 w 3195828"/>
                  <a:gd name="connsiteY84" fmla="*/ 1283493 h 1814512"/>
                  <a:gd name="connsiteX85" fmla="*/ 3188684 w 3195828"/>
                  <a:gd name="connsiteY85" fmla="*/ 1419225 h 1814512"/>
                  <a:gd name="connsiteX86" fmla="*/ 3152965 w 3195828"/>
                  <a:gd name="connsiteY86" fmla="*/ 1431131 h 1814512"/>
                  <a:gd name="connsiteX87" fmla="*/ 3067240 w 3195828"/>
                  <a:gd name="connsiteY87" fmla="*/ 1443037 h 1814512"/>
                  <a:gd name="connsiteX88" fmla="*/ 2738628 w 3195828"/>
                  <a:gd name="connsiteY88" fmla="*/ 1459706 h 1814512"/>
                  <a:gd name="connsiteX89" fmla="*/ 2631472 w 3195828"/>
                  <a:gd name="connsiteY89" fmla="*/ 1488281 h 1814512"/>
                  <a:gd name="connsiteX90" fmla="*/ 2393347 w 3195828"/>
                  <a:gd name="connsiteY90" fmla="*/ 1728787 h 1814512"/>
                  <a:gd name="connsiteX91" fmla="*/ 1507522 w 3195828"/>
                  <a:gd name="connsiteY91" fmla="*/ 1781175 h 1814512"/>
                  <a:gd name="connsiteX92" fmla="*/ 1352740 w 3195828"/>
                  <a:gd name="connsiteY92" fmla="*/ 1802606 h 1814512"/>
                  <a:gd name="connsiteX93" fmla="*/ 931259 w 3195828"/>
                  <a:gd name="connsiteY93" fmla="*/ 1814512 h 1814512"/>
                  <a:gd name="connsiteX94" fmla="*/ 893159 w 3195828"/>
                  <a:gd name="connsiteY94" fmla="*/ 1747837 h 1814512"/>
                  <a:gd name="connsiteX95" fmla="*/ 805053 w 3195828"/>
                  <a:gd name="connsiteY95" fmla="*/ 1747837 h 1814512"/>
                  <a:gd name="connsiteX96" fmla="*/ 781240 w 3195828"/>
                  <a:gd name="connsiteY96" fmla="*/ 1738312 h 1814512"/>
                  <a:gd name="connsiteX97" fmla="*/ 726472 w 3195828"/>
                  <a:gd name="connsiteY97" fmla="*/ 1776412 h 1814512"/>
                  <a:gd name="connsiteX98" fmla="*/ 538353 w 3195828"/>
                  <a:gd name="connsiteY98" fmla="*/ 1764506 h 1814512"/>
                  <a:gd name="connsiteX99" fmla="*/ 462153 w 3195828"/>
                  <a:gd name="connsiteY99" fmla="*/ 1690687 h 1814512"/>
                  <a:gd name="connsiteX100" fmla="*/ 288322 w 3195828"/>
                  <a:gd name="connsiteY100" fmla="*/ 1581150 h 1814512"/>
                  <a:gd name="connsiteX101" fmla="*/ 107347 w 3195828"/>
                  <a:gd name="connsiteY101" fmla="*/ 1514475 h 1814512"/>
                  <a:gd name="connsiteX102" fmla="*/ 45434 w 3195828"/>
                  <a:gd name="connsiteY102" fmla="*/ 1478756 h 1814512"/>
                  <a:gd name="connsiteX103" fmla="*/ 2572 w 3195828"/>
                  <a:gd name="connsiteY103" fmla="*/ 1426368 h 1814512"/>
                  <a:gd name="connsiteX104" fmla="*/ 109728 w 3195828"/>
                  <a:gd name="connsiteY104" fmla="*/ 1402556 h 1814512"/>
                  <a:gd name="connsiteX105" fmla="*/ 1071753 w 3195828"/>
                  <a:gd name="connsiteY105" fmla="*/ 295275 h 1814512"/>
                  <a:gd name="connsiteX0" fmla="*/ 1112043 w 3236118"/>
                  <a:gd name="connsiteY0" fmla="*/ 295275 h 1814512"/>
                  <a:gd name="connsiteX1" fmla="*/ 1166812 w 3236118"/>
                  <a:gd name="connsiteY1" fmla="*/ 240506 h 1814512"/>
                  <a:gd name="connsiteX2" fmla="*/ 1190624 w 3236118"/>
                  <a:gd name="connsiteY2" fmla="*/ 195262 h 1814512"/>
                  <a:gd name="connsiteX3" fmla="*/ 1235868 w 3236118"/>
                  <a:gd name="connsiteY3" fmla="*/ 180975 h 1814512"/>
                  <a:gd name="connsiteX4" fmla="*/ 1266824 w 3236118"/>
                  <a:gd name="connsiteY4" fmla="*/ 209550 h 1814512"/>
                  <a:gd name="connsiteX5" fmla="*/ 1283493 w 3236118"/>
                  <a:gd name="connsiteY5" fmla="*/ 250031 h 1814512"/>
                  <a:gd name="connsiteX6" fmla="*/ 1316830 w 3236118"/>
                  <a:gd name="connsiteY6" fmla="*/ 278606 h 1814512"/>
                  <a:gd name="connsiteX7" fmla="*/ 1338262 w 3236118"/>
                  <a:gd name="connsiteY7" fmla="*/ 280987 h 1814512"/>
                  <a:gd name="connsiteX8" fmla="*/ 1393030 w 3236118"/>
                  <a:gd name="connsiteY8" fmla="*/ 280987 h 1814512"/>
                  <a:gd name="connsiteX9" fmla="*/ 1423987 w 3236118"/>
                  <a:gd name="connsiteY9" fmla="*/ 314325 h 1814512"/>
                  <a:gd name="connsiteX10" fmla="*/ 1426368 w 3236118"/>
                  <a:gd name="connsiteY10" fmla="*/ 335756 h 1814512"/>
                  <a:gd name="connsiteX11" fmla="*/ 1438274 w 3236118"/>
                  <a:gd name="connsiteY11" fmla="*/ 373856 h 1814512"/>
                  <a:gd name="connsiteX12" fmla="*/ 1478755 w 3236118"/>
                  <a:gd name="connsiteY12" fmla="*/ 357187 h 1814512"/>
                  <a:gd name="connsiteX13" fmla="*/ 1538287 w 3236118"/>
                  <a:gd name="connsiteY13" fmla="*/ 373856 h 1814512"/>
                  <a:gd name="connsiteX14" fmla="*/ 1609724 w 3236118"/>
                  <a:gd name="connsiteY14" fmla="*/ 385762 h 1814512"/>
                  <a:gd name="connsiteX15" fmla="*/ 1650205 w 3236118"/>
                  <a:gd name="connsiteY15" fmla="*/ 369093 h 1814512"/>
                  <a:gd name="connsiteX16" fmla="*/ 1662112 w 3236118"/>
                  <a:gd name="connsiteY16" fmla="*/ 311943 h 1814512"/>
                  <a:gd name="connsiteX17" fmla="*/ 1666874 w 3236118"/>
                  <a:gd name="connsiteY17" fmla="*/ 285750 h 1814512"/>
                  <a:gd name="connsiteX18" fmla="*/ 1693068 w 3236118"/>
                  <a:gd name="connsiteY18" fmla="*/ 269081 h 1814512"/>
                  <a:gd name="connsiteX19" fmla="*/ 1821655 w 3236118"/>
                  <a:gd name="connsiteY19" fmla="*/ 178593 h 1814512"/>
                  <a:gd name="connsiteX20" fmla="*/ 1850230 w 3236118"/>
                  <a:gd name="connsiteY20" fmla="*/ 176212 h 1814512"/>
                  <a:gd name="connsiteX21" fmla="*/ 1859755 w 3236118"/>
                  <a:gd name="connsiteY21" fmla="*/ 228600 h 1814512"/>
                  <a:gd name="connsiteX22" fmla="*/ 1852612 w 3236118"/>
                  <a:gd name="connsiteY22" fmla="*/ 261937 h 1814512"/>
                  <a:gd name="connsiteX23" fmla="*/ 1928812 w 3236118"/>
                  <a:gd name="connsiteY23" fmla="*/ 280987 h 1814512"/>
                  <a:gd name="connsiteX24" fmla="*/ 1976437 w 3236118"/>
                  <a:gd name="connsiteY24" fmla="*/ 228600 h 1814512"/>
                  <a:gd name="connsiteX25" fmla="*/ 2028824 w 3236118"/>
                  <a:gd name="connsiteY25" fmla="*/ 183356 h 1814512"/>
                  <a:gd name="connsiteX26" fmla="*/ 2050255 w 3236118"/>
                  <a:gd name="connsiteY26" fmla="*/ 133350 h 1814512"/>
                  <a:gd name="connsiteX27" fmla="*/ 2100262 w 3236118"/>
                  <a:gd name="connsiteY27" fmla="*/ 109537 h 1814512"/>
                  <a:gd name="connsiteX28" fmla="*/ 2140743 w 3236118"/>
                  <a:gd name="connsiteY28" fmla="*/ 80962 h 1814512"/>
                  <a:gd name="connsiteX29" fmla="*/ 2185987 w 3236118"/>
                  <a:gd name="connsiteY29" fmla="*/ 33337 h 1814512"/>
                  <a:gd name="connsiteX30" fmla="*/ 2231230 w 3236118"/>
                  <a:gd name="connsiteY30" fmla="*/ 33337 h 1814512"/>
                  <a:gd name="connsiteX31" fmla="*/ 2266949 w 3236118"/>
                  <a:gd name="connsiteY31" fmla="*/ 0 h 1814512"/>
                  <a:gd name="connsiteX32" fmla="*/ 2333624 w 3236118"/>
                  <a:gd name="connsiteY32" fmla="*/ 71437 h 1814512"/>
                  <a:gd name="connsiteX33" fmla="*/ 2309812 w 3236118"/>
                  <a:gd name="connsiteY33" fmla="*/ 102393 h 1814512"/>
                  <a:gd name="connsiteX34" fmla="*/ 2302668 w 3236118"/>
                  <a:gd name="connsiteY34" fmla="*/ 138112 h 1814512"/>
                  <a:gd name="connsiteX35" fmla="*/ 2347912 w 3236118"/>
                  <a:gd name="connsiteY35" fmla="*/ 180975 h 1814512"/>
                  <a:gd name="connsiteX36" fmla="*/ 2412205 w 3236118"/>
                  <a:gd name="connsiteY36" fmla="*/ 178593 h 1814512"/>
                  <a:gd name="connsiteX37" fmla="*/ 2447924 w 3236118"/>
                  <a:gd name="connsiteY37" fmla="*/ 183356 h 1814512"/>
                  <a:gd name="connsiteX38" fmla="*/ 2526505 w 3236118"/>
                  <a:gd name="connsiteY38" fmla="*/ 230981 h 1814512"/>
                  <a:gd name="connsiteX39" fmla="*/ 2562224 w 3236118"/>
                  <a:gd name="connsiteY39" fmla="*/ 245268 h 1814512"/>
                  <a:gd name="connsiteX40" fmla="*/ 2564605 w 3236118"/>
                  <a:gd name="connsiteY40" fmla="*/ 292893 h 1814512"/>
                  <a:gd name="connsiteX41" fmla="*/ 2547937 w 3236118"/>
                  <a:gd name="connsiteY41" fmla="*/ 345281 h 1814512"/>
                  <a:gd name="connsiteX42" fmla="*/ 2593180 w 3236118"/>
                  <a:gd name="connsiteY42" fmla="*/ 359568 h 1814512"/>
                  <a:gd name="connsiteX43" fmla="*/ 2628899 w 3236118"/>
                  <a:gd name="connsiteY43" fmla="*/ 304800 h 1814512"/>
                  <a:gd name="connsiteX44" fmla="*/ 2671762 w 3236118"/>
                  <a:gd name="connsiteY44" fmla="*/ 295275 h 1814512"/>
                  <a:gd name="connsiteX45" fmla="*/ 2728912 w 3236118"/>
                  <a:gd name="connsiteY45" fmla="*/ 257175 h 1814512"/>
                  <a:gd name="connsiteX46" fmla="*/ 2790824 w 3236118"/>
                  <a:gd name="connsiteY46" fmla="*/ 266700 h 1814512"/>
                  <a:gd name="connsiteX47" fmla="*/ 2867024 w 3236118"/>
                  <a:gd name="connsiteY47" fmla="*/ 226218 h 1814512"/>
                  <a:gd name="connsiteX48" fmla="*/ 2895599 w 3236118"/>
                  <a:gd name="connsiteY48" fmla="*/ 166687 h 1814512"/>
                  <a:gd name="connsiteX49" fmla="*/ 2909887 w 3236118"/>
                  <a:gd name="connsiteY49" fmla="*/ 147637 h 1814512"/>
                  <a:gd name="connsiteX50" fmla="*/ 2917030 w 3236118"/>
                  <a:gd name="connsiteY50" fmla="*/ 142875 h 1814512"/>
                  <a:gd name="connsiteX51" fmla="*/ 2926555 w 3236118"/>
                  <a:gd name="connsiteY51" fmla="*/ 130968 h 1814512"/>
                  <a:gd name="connsiteX52" fmla="*/ 2940843 w 3236118"/>
                  <a:gd name="connsiteY52" fmla="*/ 92868 h 1814512"/>
                  <a:gd name="connsiteX53" fmla="*/ 3024187 w 3236118"/>
                  <a:gd name="connsiteY53" fmla="*/ 114300 h 1814512"/>
                  <a:gd name="connsiteX54" fmla="*/ 3095624 w 3236118"/>
                  <a:gd name="connsiteY54" fmla="*/ 130968 h 1814512"/>
                  <a:gd name="connsiteX55" fmla="*/ 3109912 w 3236118"/>
                  <a:gd name="connsiteY55" fmla="*/ 200025 h 1814512"/>
                  <a:gd name="connsiteX56" fmla="*/ 3145630 w 3236118"/>
                  <a:gd name="connsiteY56" fmla="*/ 252412 h 1814512"/>
                  <a:gd name="connsiteX57" fmla="*/ 3131343 w 3236118"/>
                  <a:gd name="connsiteY57" fmla="*/ 259556 h 1814512"/>
                  <a:gd name="connsiteX58" fmla="*/ 3090862 w 3236118"/>
                  <a:gd name="connsiteY58" fmla="*/ 283368 h 1814512"/>
                  <a:gd name="connsiteX59" fmla="*/ 3062287 w 3236118"/>
                  <a:gd name="connsiteY59" fmla="*/ 314325 h 1814512"/>
                  <a:gd name="connsiteX60" fmla="*/ 3033712 w 3236118"/>
                  <a:gd name="connsiteY60" fmla="*/ 354806 h 1814512"/>
                  <a:gd name="connsiteX61" fmla="*/ 3031330 w 3236118"/>
                  <a:gd name="connsiteY61" fmla="*/ 416718 h 1814512"/>
                  <a:gd name="connsiteX62" fmla="*/ 3045618 w 3236118"/>
                  <a:gd name="connsiteY62" fmla="*/ 466725 h 1814512"/>
                  <a:gd name="connsiteX63" fmla="*/ 3071812 w 3236118"/>
                  <a:gd name="connsiteY63" fmla="*/ 511968 h 1814512"/>
                  <a:gd name="connsiteX64" fmla="*/ 3095624 w 3236118"/>
                  <a:gd name="connsiteY64" fmla="*/ 535781 h 1814512"/>
                  <a:gd name="connsiteX65" fmla="*/ 3076574 w 3236118"/>
                  <a:gd name="connsiteY65" fmla="*/ 564356 h 1814512"/>
                  <a:gd name="connsiteX66" fmla="*/ 3055143 w 3236118"/>
                  <a:gd name="connsiteY66" fmla="*/ 590550 h 1814512"/>
                  <a:gd name="connsiteX67" fmla="*/ 3050380 w 3236118"/>
                  <a:gd name="connsiteY67" fmla="*/ 640556 h 1814512"/>
                  <a:gd name="connsiteX68" fmla="*/ 3064668 w 3236118"/>
                  <a:gd name="connsiteY68" fmla="*/ 666750 h 1814512"/>
                  <a:gd name="connsiteX69" fmla="*/ 3090862 w 3236118"/>
                  <a:gd name="connsiteY69" fmla="*/ 716756 h 1814512"/>
                  <a:gd name="connsiteX70" fmla="*/ 3114674 w 3236118"/>
                  <a:gd name="connsiteY70" fmla="*/ 733425 h 1814512"/>
                  <a:gd name="connsiteX71" fmla="*/ 3105149 w 3236118"/>
                  <a:gd name="connsiteY71" fmla="*/ 769143 h 1814512"/>
                  <a:gd name="connsiteX72" fmla="*/ 3098005 w 3236118"/>
                  <a:gd name="connsiteY72" fmla="*/ 790575 h 1814512"/>
                  <a:gd name="connsiteX73" fmla="*/ 3071812 w 3236118"/>
                  <a:gd name="connsiteY73" fmla="*/ 807243 h 1814512"/>
                  <a:gd name="connsiteX74" fmla="*/ 3045618 w 3236118"/>
                  <a:gd name="connsiteY74" fmla="*/ 828675 h 1814512"/>
                  <a:gd name="connsiteX75" fmla="*/ 3057524 w 3236118"/>
                  <a:gd name="connsiteY75" fmla="*/ 859631 h 1814512"/>
                  <a:gd name="connsiteX76" fmla="*/ 3067049 w 3236118"/>
                  <a:gd name="connsiteY76" fmla="*/ 883443 h 1814512"/>
                  <a:gd name="connsiteX77" fmla="*/ 3143249 w 3236118"/>
                  <a:gd name="connsiteY77" fmla="*/ 962025 h 1814512"/>
                  <a:gd name="connsiteX78" fmla="*/ 3095624 w 3236118"/>
                  <a:gd name="connsiteY78" fmla="*/ 1021556 h 1814512"/>
                  <a:gd name="connsiteX79" fmla="*/ 3093243 w 3236118"/>
                  <a:gd name="connsiteY79" fmla="*/ 1181100 h 1814512"/>
                  <a:gd name="connsiteX80" fmla="*/ 3052762 w 3236118"/>
                  <a:gd name="connsiteY80" fmla="*/ 1214437 h 1814512"/>
                  <a:gd name="connsiteX81" fmla="*/ 3114674 w 3236118"/>
                  <a:gd name="connsiteY81" fmla="*/ 1293018 h 1814512"/>
                  <a:gd name="connsiteX82" fmla="*/ 3171824 w 3236118"/>
                  <a:gd name="connsiteY82" fmla="*/ 1238250 h 1814512"/>
                  <a:gd name="connsiteX83" fmla="*/ 3236118 w 3236118"/>
                  <a:gd name="connsiteY83" fmla="*/ 1240631 h 1814512"/>
                  <a:gd name="connsiteX84" fmla="*/ 3228974 w 3236118"/>
                  <a:gd name="connsiteY84" fmla="*/ 1283493 h 1814512"/>
                  <a:gd name="connsiteX85" fmla="*/ 3228974 w 3236118"/>
                  <a:gd name="connsiteY85" fmla="*/ 1419225 h 1814512"/>
                  <a:gd name="connsiteX86" fmla="*/ 3193255 w 3236118"/>
                  <a:gd name="connsiteY86" fmla="*/ 1431131 h 1814512"/>
                  <a:gd name="connsiteX87" fmla="*/ 3107530 w 3236118"/>
                  <a:gd name="connsiteY87" fmla="*/ 1443037 h 1814512"/>
                  <a:gd name="connsiteX88" fmla="*/ 2778918 w 3236118"/>
                  <a:gd name="connsiteY88" fmla="*/ 1459706 h 1814512"/>
                  <a:gd name="connsiteX89" fmla="*/ 2671762 w 3236118"/>
                  <a:gd name="connsiteY89" fmla="*/ 1488281 h 1814512"/>
                  <a:gd name="connsiteX90" fmla="*/ 2433637 w 3236118"/>
                  <a:gd name="connsiteY90" fmla="*/ 1728787 h 1814512"/>
                  <a:gd name="connsiteX91" fmla="*/ 1547812 w 3236118"/>
                  <a:gd name="connsiteY91" fmla="*/ 1781175 h 1814512"/>
                  <a:gd name="connsiteX92" fmla="*/ 1393030 w 3236118"/>
                  <a:gd name="connsiteY92" fmla="*/ 1802606 h 1814512"/>
                  <a:gd name="connsiteX93" fmla="*/ 971549 w 3236118"/>
                  <a:gd name="connsiteY93" fmla="*/ 1814512 h 1814512"/>
                  <a:gd name="connsiteX94" fmla="*/ 933449 w 3236118"/>
                  <a:gd name="connsiteY94" fmla="*/ 1747837 h 1814512"/>
                  <a:gd name="connsiteX95" fmla="*/ 845343 w 3236118"/>
                  <a:gd name="connsiteY95" fmla="*/ 1747837 h 1814512"/>
                  <a:gd name="connsiteX96" fmla="*/ 821530 w 3236118"/>
                  <a:gd name="connsiteY96" fmla="*/ 1738312 h 1814512"/>
                  <a:gd name="connsiteX97" fmla="*/ 766762 w 3236118"/>
                  <a:gd name="connsiteY97" fmla="*/ 1776412 h 1814512"/>
                  <a:gd name="connsiteX98" fmla="*/ 578643 w 3236118"/>
                  <a:gd name="connsiteY98" fmla="*/ 1764506 h 1814512"/>
                  <a:gd name="connsiteX99" fmla="*/ 502443 w 3236118"/>
                  <a:gd name="connsiteY99" fmla="*/ 1690687 h 1814512"/>
                  <a:gd name="connsiteX100" fmla="*/ 328612 w 3236118"/>
                  <a:gd name="connsiteY100" fmla="*/ 1581150 h 1814512"/>
                  <a:gd name="connsiteX101" fmla="*/ 147637 w 3236118"/>
                  <a:gd name="connsiteY101" fmla="*/ 1514475 h 1814512"/>
                  <a:gd name="connsiteX102" fmla="*/ 85724 w 3236118"/>
                  <a:gd name="connsiteY102" fmla="*/ 1478756 h 1814512"/>
                  <a:gd name="connsiteX103" fmla="*/ 42862 w 3236118"/>
                  <a:gd name="connsiteY103" fmla="*/ 1426368 h 1814512"/>
                  <a:gd name="connsiteX104" fmla="*/ 0 w 3236118"/>
                  <a:gd name="connsiteY104" fmla="*/ 1428749 h 1814512"/>
                  <a:gd name="connsiteX105" fmla="*/ 1112043 w 3236118"/>
                  <a:gd name="connsiteY105" fmla="*/ 295275 h 1814512"/>
                  <a:gd name="connsiteX0" fmla="*/ 1112043 w 3236118"/>
                  <a:gd name="connsiteY0" fmla="*/ 295275 h 1814512"/>
                  <a:gd name="connsiteX1" fmla="*/ 1166812 w 3236118"/>
                  <a:gd name="connsiteY1" fmla="*/ 240506 h 1814512"/>
                  <a:gd name="connsiteX2" fmla="*/ 1190624 w 3236118"/>
                  <a:gd name="connsiteY2" fmla="*/ 195262 h 1814512"/>
                  <a:gd name="connsiteX3" fmla="*/ 1235868 w 3236118"/>
                  <a:gd name="connsiteY3" fmla="*/ 180975 h 1814512"/>
                  <a:gd name="connsiteX4" fmla="*/ 1266824 w 3236118"/>
                  <a:gd name="connsiteY4" fmla="*/ 209550 h 1814512"/>
                  <a:gd name="connsiteX5" fmla="*/ 1283493 w 3236118"/>
                  <a:gd name="connsiteY5" fmla="*/ 250031 h 1814512"/>
                  <a:gd name="connsiteX6" fmla="*/ 1316830 w 3236118"/>
                  <a:gd name="connsiteY6" fmla="*/ 278606 h 1814512"/>
                  <a:gd name="connsiteX7" fmla="*/ 1338262 w 3236118"/>
                  <a:gd name="connsiteY7" fmla="*/ 280987 h 1814512"/>
                  <a:gd name="connsiteX8" fmla="*/ 1393030 w 3236118"/>
                  <a:gd name="connsiteY8" fmla="*/ 280987 h 1814512"/>
                  <a:gd name="connsiteX9" fmla="*/ 1423987 w 3236118"/>
                  <a:gd name="connsiteY9" fmla="*/ 314325 h 1814512"/>
                  <a:gd name="connsiteX10" fmla="*/ 1426368 w 3236118"/>
                  <a:gd name="connsiteY10" fmla="*/ 335756 h 1814512"/>
                  <a:gd name="connsiteX11" fmla="*/ 1438274 w 3236118"/>
                  <a:gd name="connsiteY11" fmla="*/ 373856 h 1814512"/>
                  <a:gd name="connsiteX12" fmla="*/ 1478755 w 3236118"/>
                  <a:gd name="connsiteY12" fmla="*/ 357187 h 1814512"/>
                  <a:gd name="connsiteX13" fmla="*/ 1538287 w 3236118"/>
                  <a:gd name="connsiteY13" fmla="*/ 373856 h 1814512"/>
                  <a:gd name="connsiteX14" fmla="*/ 1609724 w 3236118"/>
                  <a:gd name="connsiteY14" fmla="*/ 385762 h 1814512"/>
                  <a:gd name="connsiteX15" fmla="*/ 1650205 w 3236118"/>
                  <a:gd name="connsiteY15" fmla="*/ 369093 h 1814512"/>
                  <a:gd name="connsiteX16" fmla="*/ 1662112 w 3236118"/>
                  <a:gd name="connsiteY16" fmla="*/ 311943 h 1814512"/>
                  <a:gd name="connsiteX17" fmla="*/ 1666874 w 3236118"/>
                  <a:gd name="connsiteY17" fmla="*/ 285750 h 1814512"/>
                  <a:gd name="connsiteX18" fmla="*/ 1693068 w 3236118"/>
                  <a:gd name="connsiteY18" fmla="*/ 269081 h 1814512"/>
                  <a:gd name="connsiteX19" fmla="*/ 1821655 w 3236118"/>
                  <a:gd name="connsiteY19" fmla="*/ 178593 h 1814512"/>
                  <a:gd name="connsiteX20" fmla="*/ 1850230 w 3236118"/>
                  <a:gd name="connsiteY20" fmla="*/ 176212 h 1814512"/>
                  <a:gd name="connsiteX21" fmla="*/ 1859755 w 3236118"/>
                  <a:gd name="connsiteY21" fmla="*/ 228600 h 1814512"/>
                  <a:gd name="connsiteX22" fmla="*/ 1852612 w 3236118"/>
                  <a:gd name="connsiteY22" fmla="*/ 261937 h 1814512"/>
                  <a:gd name="connsiteX23" fmla="*/ 1928812 w 3236118"/>
                  <a:gd name="connsiteY23" fmla="*/ 280987 h 1814512"/>
                  <a:gd name="connsiteX24" fmla="*/ 1976437 w 3236118"/>
                  <a:gd name="connsiteY24" fmla="*/ 228600 h 1814512"/>
                  <a:gd name="connsiteX25" fmla="*/ 2028824 w 3236118"/>
                  <a:gd name="connsiteY25" fmla="*/ 183356 h 1814512"/>
                  <a:gd name="connsiteX26" fmla="*/ 2050255 w 3236118"/>
                  <a:gd name="connsiteY26" fmla="*/ 133350 h 1814512"/>
                  <a:gd name="connsiteX27" fmla="*/ 2100262 w 3236118"/>
                  <a:gd name="connsiteY27" fmla="*/ 109537 h 1814512"/>
                  <a:gd name="connsiteX28" fmla="*/ 2140743 w 3236118"/>
                  <a:gd name="connsiteY28" fmla="*/ 80962 h 1814512"/>
                  <a:gd name="connsiteX29" fmla="*/ 2185987 w 3236118"/>
                  <a:gd name="connsiteY29" fmla="*/ 33337 h 1814512"/>
                  <a:gd name="connsiteX30" fmla="*/ 2231230 w 3236118"/>
                  <a:gd name="connsiteY30" fmla="*/ 33337 h 1814512"/>
                  <a:gd name="connsiteX31" fmla="*/ 2266949 w 3236118"/>
                  <a:gd name="connsiteY31" fmla="*/ 0 h 1814512"/>
                  <a:gd name="connsiteX32" fmla="*/ 2333624 w 3236118"/>
                  <a:gd name="connsiteY32" fmla="*/ 71437 h 1814512"/>
                  <a:gd name="connsiteX33" fmla="*/ 2309812 w 3236118"/>
                  <a:gd name="connsiteY33" fmla="*/ 102393 h 1814512"/>
                  <a:gd name="connsiteX34" fmla="*/ 2302668 w 3236118"/>
                  <a:gd name="connsiteY34" fmla="*/ 138112 h 1814512"/>
                  <a:gd name="connsiteX35" fmla="*/ 2347912 w 3236118"/>
                  <a:gd name="connsiteY35" fmla="*/ 180975 h 1814512"/>
                  <a:gd name="connsiteX36" fmla="*/ 2412205 w 3236118"/>
                  <a:gd name="connsiteY36" fmla="*/ 178593 h 1814512"/>
                  <a:gd name="connsiteX37" fmla="*/ 2447924 w 3236118"/>
                  <a:gd name="connsiteY37" fmla="*/ 183356 h 1814512"/>
                  <a:gd name="connsiteX38" fmla="*/ 2526505 w 3236118"/>
                  <a:gd name="connsiteY38" fmla="*/ 230981 h 1814512"/>
                  <a:gd name="connsiteX39" fmla="*/ 2562224 w 3236118"/>
                  <a:gd name="connsiteY39" fmla="*/ 245268 h 1814512"/>
                  <a:gd name="connsiteX40" fmla="*/ 2564605 w 3236118"/>
                  <a:gd name="connsiteY40" fmla="*/ 292893 h 1814512"/>
                  <a:gd name="connsiteX41" fmla="*/ 2547937 w 3236118"/>
                  <a:gd name="connsiteY41" fmla="*/ 345281 h 1814512"/>
                  <a:gd name="connsiteX42" fmla="*/ 2593180 w 3236118"/>
                  <a:gd name="connsiteY42" fmla="*/ 359568 h 1814512"/>
                  <a:gd name="connsiteX43" fmla="*/ 2628899 w 3236118"/>
                  <a:gd name="connsiteY43" fmla="*/ 304800 h 1814512"/>
                  <a:gd name="connsiteX44" fmla="*/ 2671762 w 3236118"/>
                  <a:gd name="connsiteY44" fmla="*/ 295275 h 1814512"/>
                  <a:gd name="connsiteX45" fmla="*/ 2728912 w 3236118"/>
                  <a:gd name="connsiteY45" fmla="*/ 257175 h 1814512"/>
                  <a:gd name="connsiteX46" fmla="*/ 2790824 w 3236118"/>
                  <a:gd name="connsiteY46" fmla="*/ 266700 h 1814512"/>
                  <a:gd name="connsiteX47" fmla="*/ 2867024 w 3236118"/>
                  <a:gd name="connsiteY47" fmla="*/ 226218 h 1814512"/>
                  <a:gd name="connsiteX48" fmla="*/ 2895599 w 3236118"/>
                  <a:gd name="connsiteY48" fmla="*/ 166687 h 1814512"/>
                  <a:gd name="connsiteX49" fmla="*/ 2909887 w 3236118"/>
                  <a:gd name="connsiteY49" fmla="*/ 147637 h 1814512"/>
                  <a:gd name="connsiteX50" fmla="*/ 2917030 w 3236118"/>
                  <a:gd name="connsiteY50" fmla="*/ 142875 h 1814512"/>
                  <a:gd name="connsiteX51" fmla="*/ 2926555 w 3236118"/>
                  <a:gd name="connsiteY51" fmla="*/ 130968 h 1814512"/>
                  <a:gd name="connsiteX52" fmla="*/ 2940843 w 3236118"/>
                  <a:gd name="connsiteY52" fmla="*/ 92868 h 1814512"/>
                  <a:gd name="connsiteX53" fmla="*/ 3024187 w 3236118"/>
                  <a:gd name="connsiteY53" fmla="*/ 114300 h 1814512"/>
                  <a:gd name="connsiteX54" fmla="*/ 3095624 w 3236118"/>
                  <a:gd name="connsiteY54" fmla="*/ 130968 h 1814512"/>
                  <a:gd name="connsiteX55" fmla="*/ 3109912 w 3236118"/>
                  <a:gd name="connsiteY55" fmla="*/ 200025 h 1814512"/>
                  <a:gd name="connsiteX56" fmla="*/ 3145630 w 3236118"/>
                  <a:gd name="connsiteY56" fmla="*/ 252412 h 1814512"/>
                  <a:gd name="connsiteX57" fmla="*/ 3131343 w 3236118"/>
                  <a:gd name="connsiteY57" fmla="*/ 259556 h 1814512"/>
                  <a:gd name="connsiteX58" fmla="*/ 3090862 w 3236118"/>
                  <a:gd name="connsiteY58" fmla="*/ 283368 h 1814512"/>
                  <a:gd name="connsiteX59" fmla="*/ 3062287 w 3236118"/>
                  <a:gd name="connsiteY59" fmla="*/ 314325 h 1814512"/>
                  <a:gd name="connsiteX60" fmla="*/ 3033712 w 3236118"/>
                  <a:gd name="connsiteY60" fmla="*/ 354806 h 1814512"/>
                  <a:gd name="connsiteX61" fmla="*/ 3031330 w 3236118"/>
                  <a:gd name="connsiteY61" fmla="*/ 416718 h 1814512"/>
                  <a:gd name="connsiteX62" fmla="*/ 3045618 w 3236118"/>
                  <a:gd name="connsiteY62" fmla="*/ 466725 h 1814512"/>
                  <a:gd name="connsiteX63" fmla="*/ 3071812 w 3236118"/>
                  <a:gd name="connsiteY63" fmla="*/ 511968 h 1814512"/>
                  <a:gd name="connsiteX64" fmla="*/ 3095624 w 3236118"/>
                  <a:gd name="connsiteY64" fmla="*/ 535781 h 1814512"/>
                  <a:gd name="connsiteX65" fmla="*/ 3076574 w 3236118"/>
                  <a:gd name="connsiteY65" fmla="*/ 564356 h 1814512"/>
                  <a:gd name="connsiteX66" fmla="*/ 3055143 w 3236118"/>
                  <a:gd name="connsiteY66" fmla="*/ 590550 h 1814512"/>
                  <a:gd name="connsiteX67" fmla="*/ 3050380 w 3236118"/>
                  <a:gd name="connsiteY67" fmla="*/ 640556 h 1814512"/>
                  <a:gd name="connsiteX68" fmla="*/ 3064668 w 3236118"/>
                  <a:gd name="connsiteY68" fmla="*/ 666750 h 1814512"/>
                  <a:gd name="connsiteX69" fmla="*/ 3090862 w 3236118"/>
                  <a:gd name="connsiteY69" fmla="*/ 716756 h 1814512"/>
                  <a:gd name="connsiteX70" fmla="*/ 3114674 w 3236118"/>
                  <a:gd name="connsiteY70" fmla="*/ 733425 h 1814512"/>
                  <a:gd name="connsiteX71" fmla="*/ 3105149 w 3236118"/>
                  <a:gd name="connsiteY71" fmla="*/ 769143 h 1814512"/>
                  <a:gd name="connsiteX72" fmla="*/ 3098005 w 3236118"/>
                  <a:gd name="connsiteY72" fmla="*/ 790575 h 1814512"/>
                  <a:gd name="connsiteX73" fmla="*/ 3071812 w 3236118"/>
                  <a:gd name="connsiteY73" fmla="*/ 807243 h 1814512"/>
                  <a:gd name="connsiteX74" fmla="*/ 3045618 w 3236118"/>
                  <a:gd name="connsiteY74" fmla="*/ 828675 h 1814512"/>
                  <a:gd name="connsiteX75" fmla="*/ 3057524 w 3236118"/>
                  <a:gd name="connsiteY75" fmla="*/ 859631 h 1814512"/>
                  <a:gd name="connsiteX76" fmla="*/ 3067049 w 3236118"/>
                  <a:gd name="connsiteY76" fmla="*/ 883443 h 1814512"/>
                  <a:gd name="connsiteX77" fmla="*/ 3143249 w 3236118"/>
                  <a:gd name="connsiteY77" fmla="*/ 962025 h 1814512"/>
                  <a:gd name="connsiteX78" fmla="*/ 3095624 w 3236118"/>
                  <a:gd name="connsiteY78" fmla="*/ 1021556 h 1814512"/>
                  <a:gd name="connsiteX79" fmla="*/ 3093243 w 3236118"/>
                  <a:gd name="connsiteY79" fmla="*/ 1181100 h 1814512"/>
                  <a:gd name="connsiteX80" fmla="*/ 3052762 w 3236118"/>
                  <a:gd name="connsiteY80" fmla="*/ 1214437 h 1814512"/>
                  <a:gd name="connsiteX81" fmla="*/ 3114674 w 3236118"/>
                  <a:gd name="connsiteY81" fmla="*/ 1293018 h 1814512"/>
                  <a:gd name="connsiteX82" fmla="*/ 3171824 w 3236118"/>
                  <a:gd name="connsiteY82" fmla="*/ 1238250 h 1814512"/>
                  <a:gd name="connsiteX83" fmla="*/ 3236118 w 3236118"/>
                  <a:gd name="connsiteY83" fmla="*/ 1240631 h 1814512"/>
                  <a:gd name="connsiteX84" fmla="*/ 3228974 w 3236118"/>
                  <a:gd name="connsiteY84" fmla="*/ 1283493 h 1814512"/>
                  <a:gd name="connsiteX85" fmla="*/ 3228974 w 3236118"/>
                  <a:gd name="connsiteY85" fmla="*/ 1419225 h 1814512"/>
                  <a:gd name="connsiteX86" fmla="*/ 3193255 w 3236118"/>
                  <a:gd name="connsiteY86" fmla="*/ 1431131 h 1814512"/>
                  <a:gd name="connsiteX87" fmla="*/ 3107530 w 3236118"/>
                  <a:gd name="connsiteY87" fmla="*/ 1443037 h 1814512"/>
                  <a:gd name="connsiteX88" fmla="*/ 2778918 w 3236118"/>
                  <a:gd name="connsiteY88" fmla="*/ 1459706 h 1814512"/>
                  <a:gd name="connsiteX89" fmla="*/ 2671762 w 3236118"/>
                  <a:gd name="connsiteY89" fmla="*/ 1488281 h 1814512"/>
                  <a:gd name="connsiteX90" fmla="*/ 2433637 w 3236118"/>
                  <a:gd name="connsiteY90" fmla="*/ 1728787 h 1814512"/>
                  <a:gd name="connsiteX91" fmla="*/ 1547812 w 3236118"/>
                  <a:gd name="connsiteY91" fmla="*/ 1781175 h 1814512"/>
                  <a:gd name="connsiteX92" fmla="*/ 1393030 w 3236118"/>
                  <a:gd name="connsiteY92" fmla="*/ 1802606 h 1814512"/>
                  <a:gd name="connsiteX93" fmla="*/ 971549 w 3236118"/>
                  <a:gd name="connsiteY93" fmla="*/ 1814512 h 1814512"/>
                  <a:gd name="connsiteX94" fmla="*/ 933449 w 3236118"/>
                  <a:gd name="connsiteY94" fmla="*/ 1747837 h 1814512"/>
                  <a:gd name="connsiteX95" fmla="*/ 845343 w 3236118"/>
                  <a:gd name="connsiteY95" fmla="*/ 1747837 h 1814512"/>
                  <a:gd name="connsiteX96" fmla="*/ 821530 w 3236118"/>
                  <a:gd name="connsiteY96" fmla="*/ 1738312 h 1814512"/>
                  <a:gd name="connsiteX97" fmla="*/ 766762 w 3236118"/>
                  <a:gd name="connsiteY97" fmla="*/ 1776412 h 1814512"/>
                  <a:gd name="connsiteX98" fmla="*/ 578643 w 3236118"/>
                  <a:gd name="connsiteY98" fmla="*/ 1764506 h 1814512"/>
                  <a:gd name="connsiteX99" fmla="*/ 502443 w 3236118"/>
                  <a:gd name="connsiteY99" fmla="*/ 1690687 h 1814512"/>
                  <a:gd name="connsiteX100" fmla="*/ 328612 w 3236118"/>
                  <a:gd name="connsiteY100" fmla="*/ 1581150 h 1814512"/>
                  <a:gd name="connsiteX101" fmla="*/ 147637 w 3236118"/>
                  <a:gd name="connsiteY101" fmla="*/ 1514475 h 1814512"/>
                  <a:gd name="connsiteX102" fmla="*/ 85724 w 3236118"/>
                  <a:gd name="connsiteY102" fmla="*/ 1478756 h 1814512"/>
                  <a:gd name="connsiteX103" fmla="*/ 42862 w 3236118"/>
                  <a:gd name="connsiteY103" fmla="*/ 1426368 h 1814512"/>
                  <a:gd name="connsiteX104" fmla="*/ 0 w 3236118"/>
                  <a:gd name="connsiteY104" fmla="*/ 1428749 h 1814512"/>
                  <a:gd name="connsiteX105" fmla="*/ 78580 w 3236118"/>
                  <a:gd name="connsiteY105" fmla="*/ 1352550 h 1814512"/>
                  <a:gd name="connsiteX106" fmla="*/ 1112043 w 3236118"/>
                  <a:gd name="connsiteY10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1112044 w 3236119"/>
                  <a:gd name="connsiteY10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147639 w 3236119"/>
                  <a:gd name="connsiteY106" fmla="*/ 1245393 h 1814512"/>
                  <a:gd name="connsiteX107" fmla="*/ 1112044 w 3236119"/>
                  <a:gd name="connsiteY107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1112044 w 3236119"/>
                  <a:gd name="connsiteY107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73857 w 3236119"/>
                  <a:gd name="connsiteY107" fmla="*/ 1092993 h 1814512"/>
                  <a:gd name="connsiteX108" fmla="*/ 1112044 w 3236119"/>
                  <a:gd name="connsiteY10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261939 w 3236119"/>
                  <a:gd name="connsiteY107" fmla="*/ 1112043 h 1814512"/>
                  <a:gd name="connsiteX108" fmla="*/ 1112044 w 3236119"/>
                  <a:gd name="connsiteY10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288132 w 3236119"/>
                  <a:gd name="connsiteY107" fmla="*/ 1152525 h 1814512"/>
                  <a:gd name="connsiteX108" fmla="*/ 261939 w 3236119"/>
                  <a:gd name="connsiteY108" fmla="*/ 1112043 h 1814512"/>
                  <a:gd name="connsiteX109" fmla="*/ 1112044 w 3236119"/>
                  <a:gd name="connsiteY109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61939 w 3236119"/>
                  <a:gd name="connsiteY108" fmla="*/ 1112043 h 1814512"/>
                  <a:gd name="connsiteX109" fmla="*/ 1112044 w 3236119"/>
                  <a:gd name="connsiteY109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61939 w 3236119"/>
                  <a:gd name="connsiteY108" fmla="*/ 1112043 h 1814512"/>
                  <a:gd name="connsiteX109" fmla="*/ 316707 w 3236119"/>
                  <a:gd name="connsiteY109" fmla="*/ 1064418 h 1814512"/>
                  <a:gd name="connsiteX110" fmla="*/ 1112044 w 3236119"/>
                  <a:gd name="connsiteY11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61939 w 3236119"/>
                  <a:gd name="connsiteY108" fmla="*/ 1112043 h 1814512"/>
                  <a:gd name="connsiteX109" fmla="*/ 259557 w 3236119"/>
                  <a:gd name="connsiteY109" fmla="*/ 1057275 h 1814512"/>
                  <a:gd name="connsiteX110" fmla="*/ 1112044 w 3236119"/>
                  <a:gd name="connsiteY11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1112044 w 3236119"/>
                  <a:gd name="connsiteY11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14326 w 3236119"/>
                  <a:gd name="connsiteY110" fmla="*/ 1009650 h 1814512"/>
                  <a:gd name="connsiteX111" fmla="*/ 1112044 w 3236119"/>
                  <a:gd name="connsiteY111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1112044 w 3236119"/>
                  <a:gd name="connsiteY111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71476 w 3236119"/>
                  <a:gd name="connsiteY111" fmla="*/ 976312 h 1814512"/>
                  <a:gd name="connsiteX112" fmla="*/ 1112044 w 3236119"/>
                  <a:gd name="connsiteY112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1112044 w 3236119"/>
                  <a:gd name="connsiteY112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402432 w 3236119"/>
                  <a:gd name="connsiteY112" fmla="*/ 907256 h 1814512"/>
                  <a:gd name="connsiteX113" fmla="*/ 1112044 w 3236119"/>
                  <a:gd name="connsiteY113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1112044 w 3236119"/>
                  <a:gd name="connsiteY113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47676 w 3236119"/>
                  <a:gd name="connsiteY113" fmla="*/ 847725 h 1814512"/>
                  <a:gd name="connsiteX114" fmla="*/ 1112044 w 3236119"/>
                  <a:gd name="connsiteY114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1112044 w 3236119"/>
                  <a:gd name="connsiteY114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447676 w 3236119"/>
                  <a:gd name="connsiteY114" fmla="*/ 790575 h 1814512"/>
                  <a:gd name="connsiteX115" fmla="*/ 1112044 w 3236119"/>
                  <a:gd name="connsiteY115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445295 w 3236119"/>
                  <a:gd name="connsiteY114" fmla="*/ 812006 h 1814512"/>
                  <a:gd name="connsiteX115" fmla="*/ 1112044 w 3236119"/>
                  <a:gd name="connsiteY115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445295 w 3236119"/>
                  <a:gd name="connsiteY114" fmla="*/ 812006 h 1814512"/>
                  <a:gd name="connsiteX115" fmla="*/ 490539 w 3236119"/>
                  <a:gd name="connsiteY115" fmla="*/ 778668 h 1814512"/>
                  <a:gd name="connsiteX116" fmla="*/ 1112044 w 3236119"/>
                  <a:gd name="connsiteY11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445295 w 3236119"/>
                  <a:gd name="connsiteY114" fmla="*/ 812006 h 1814512"/>
                  <a:gd name="connsiteX115" fmla="*/ 471489 w 3236119"/>
                  <a:gd name="connsiteY115" fmla="*/ 850106 h 1814512"/>
                  <a:gd name="connsiteX116" fmla="*/ 1112044 w 3236119"/>
                  <a:gd name="connsiteY11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445295 w 3236119"/>
                  <a:gd name="connsiteY114" fmla="*/ 812006 h 1814512"/>
                  <a:gd name="connsiteX115" fmla="*/ 471489 w 3236119"/>
                  <a:gd name="connsiteY115" fmla="*/ 850106 h 1814512"/>
                  <a:gd name="connsiteX116" fmla="*/ 521495 w 3236119"/>
                  <a:gd name="connsiteY116" fmla="*/ 804862 h 1814512"/>
                  <a:gd name="connsiteX117" fmla="*/ 1112044 w 3236119"/>
                  <a:gd name="connsiteY117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4814 w 3236119"/>
                  <a:gd name="connsiteY113" fmla="*/ 823912 h 1814512"/>
                  <a:gd name="connsiteX114" fmla="*/ 445295 w 3236119"/>
                  <a:gd name="connsiteY114" fmla="*/ 812006 h 1814512"/>
                  <a:gd name="connsiteX115" fmla="*/ 471489 w 3236119"/>
                  <a:gd name="connsiteY115" fmla="*/ 850106 h 1814512"/>
                  <a:gd name="connsiteX116" fmla="*/ 600076 w 3236119"/>
                  <a:gd name="connsiteY116" fmla="*/ 866775 h 1814512"/>
                  <a:gd name="connsiteX117" fmla="*/ 1112044 w 3236119"/>
                  <a:gd name="connsiteY117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397670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1112044 w 3236119"/>
                  <a:gd name="connsiteY11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1112044 w 3236119"/>
                  <a:gd name="connsiteY11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719139 w 3236119"/>
                  <a:gd name="connsiteY118" fmla="*/ 731043 h 1814512"/>
                  <a:gd name="connsiteX119" fmla="*/ 1112044 w 3236119"/>
                  <a:gd name="connsiteY119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1112044 w 3236119"/>
                  <a:gd name="connsiteY119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57226 w 3236119"/>
                  <a:gd name="connsiteY119" fmla="*/ 781050 h 1814512"/>
                  <a:gd name="connsiteX120" fmla="*/ 1112044 w 3236119"/>
                  <a:gd name="connsiteY12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1112044 w 3236119"/>
                  <a:gd name="connsiteY12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33426 w 3236119"/>
                  <a:gd name="connsiteY120" fmla="*/ 773906 h 1814512"/>
                  <a:gd name="connsiteX121" fmla="*/ 1112044 w 3236119"/>
                  <a:gd name="connsiteY121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1112044 w 3236119"/>
                  <a:gd name="connsiteY121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66764 w 3236119"/>
                  <a:gd name="connsiteY121" fmla="*/ 702468 h 1814512"/>
                  <a:gd name="connsiteX122" fmla="*/ 1112044 w 3236119"/>
                  <a:gd name="connsiteY122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1112044 w 3236119"/>
                  <a:gd name="connsiteY122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819151 w 3236119"/>
                  <a:gd name="connsiteY122" fmla="*/ 671512 h 1814512"/>
                  <a:gd name="connsiteX123" fmla="*/ 1112044 w 3236119"/>
                  <a:gd name="connsiteY123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1112044 w 3236119"/>
                  <a:gd name="connsiteY123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847726 w 3236119"/>
                  <a:gd name="connsiteY123" fmla="*/ 588168 h 1814512"/>
                  <a:gd name="connsiteX124" fmla="*/ 1112044 w 3236119"/>
                  <a:gd name="connsiteY124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16782 w 3236119"/>
                  <a:gd name="connsiteY123" fmla="*/ 540543 h 1814512"/>
                  <a:gd name="connsiteX124" fmla="*/ 1112044 w 3236119"/>
                  <a:gd name="connsiteY124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16782 w 3236119"/>
                  <a:gd name="connsiteY123" fmla="*/ 540543 h 1814512"/>
                  <a:gd name="connsiteX124" fmla="*/ 1007270 w 3236119"/>
                  <a:gd name="connsiteY124" fmla="*/ 419100 h 1814512"/>
                  <a:gd name="connsiteX125" fmla="*/ 1112044 w 3236119"/>
                  <a:gd name="connsiteY125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16782 w 3236119"/>
                  <a:gd name="connsiteY123" fmla="*/ 540543 h 1814512"/>
                  <a:gd name="connsiteX124" fmla="*/ 1000126 w 3236119"/>
                  <a:gd name="connsiteY124" fmla="*/ 397668 h 1814512"/>
                  <a:gd name="connsiteX125" fmla="*/ 1112044 w 3236119"/>
                  <a:gd name="connsiteY125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112044 w 3236119"/>
                  <a:gd name="connsiteY125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064420 w 3236119"/>
                  <a:gd name="connsiteY125" fmla="*/ 333375 h 1814512"/>
                  <a:gd name="connsiteX126" fmla="*/ 1112044 w 3236119"/>
                  <a:gd name="connsiteY12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088232 w 3236119"/>
                  <a:gd name="connsiteY125" fmla="*/ 342900 h 1814512"/>
                  <a:gd name="connsiteX126" fmla="*/ 1112044 w 3236119"/>
                  <a:gd name="connsiteY12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11957 w 3236119"/>
                  <a:gd name="connsiteY113" fmla="*/ 862012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073944 w 3236119"/>
                  <a:gd name="connsiteY125" fmla="*/ 342900 h 1814512"/>
                  <a:gd name="connsiteX126" fmla="*/ 1112044 w 3236119"/>
                  <a:gd name="connsiteY12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9557 w 3236119"/>
                  <a:gd name="connsiteY109" fmla="*/ 1057275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2432 w 3236119"/>
                  <a:gd name="connsiteY113" fmla="*/ 864393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073944 w 3236119"/>
                  <a:gd name="connsiteY125" fmla="*/ 342900 h 1814512"/>
                  <a:gd name="connsiteX126" fmla="*/ 1112044 w 3236119"/>
                  <a:gd name="connsiteY12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28613 w 3236119"/>
                  <a:gd name="connsiteY100" fmla="*/ 1581150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7176 w 3236119"/>
                  <a:gd name="connsiteY109" fmla="*/ 1052513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2432 w 3236119"/>
                  <a:gd name="connsiteY113" fmla="*/ 864393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073944 w 3236119"/>
                  <a:gd name="connsiteY125" fmla="*/ 342900 h 1814512"/>
                  <a:gd name="connsiteX126" fmla="*/ 1112044 w 3236119"/>
                  <a:gd name="connsiteY12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30995 w 3236119"/>
                  <a:gd name="connsiteY100" fmla="*/ 1578769 h 1814512"/>
                  <a:gd name="connsiteX101" fmla="*/ 147638 w 3236119"/>
                  <a:gd name="connsiteY101" fmla="*/ 1514475 h 1814512"/>
                  <a:gd name="connsiteX102" fmla="*/ 85725 w 3236119"/>
                  <a:gd name="connsiteY102" fmla="*/ 1478756 h 1814512"/>
                  <a:gd name="connsiteX103" fmla="*/ 42863 w 3236119"/>
                  <a:gd name="connsiteY103" fmla="*/ 1426368 h 1814512"/>
                  <a:gd name="connsiteX104" fmla="*/ 1 w 3236119"/>
                  <a:gd name="connsiteY104" fmla="*/ 1428749 h 1814512"/>
                  <a:gd name="connsiteX105" fmla="*/ 0 w 3236119"/>
                  <a:gd name="connsiteY105" fmla="*/ 1397793 h 1814512"/>
                  <a:gd name="connsiteX106" fmla="*/ 307182 w 3236119"/>
                  <a:gd name="connsiteY106" fmla="*/ 1171575 h 1814512"/>
                  <a:gd name="connsiteX107" fmla="*/ 300039 w 3236119"/>
                  <a:gd name="connsiteY107" fmla="*/ 1143000 h 1814512"/>
                  <a:gd name="connsiteX108" fmla="*/ 252414 w 3236119"/>
                  <a:gd name="connsiteY108" fmla="*/ 1100137 h 1814512"/>
                  <a:gd name="connsiteX109" fmla="*/ 257176 w 3236119"/>
                  <a:gd name="connsiteY109" fmla="*/ 1052513 h 1814512"/>
                  <a:gd name="connsiteX110" fmla="*/ 307182 w 3236119"/>
                  <a:gd name="connsiteY110" fmla="*/ 1038225 h 1814512"/>
                  <a:gd name="connsiteX111" fmla="*/ 314326 w 3236119"/>
                  <a:gd name="connsiteY111" fmla="*/ 985837 h 1814512"/>
                  <a:gd name="connsiteX112" fmla="*/ 390526 w 3236119"/>
                  <a:gd name="connsiteY112" fmla="*/ 900112 h 1814512"/>
                  <a:gd name="connsiteX113" fmla="*/ 402432 w 3236119"/>
                  <a:gd name="connsiteY113" fmla="*/ 864393 h 1814512"/>
                  <a:gd name="connsiteX114" fmla="*/ 404814 w 3236119"/>
                  <a:gd name="connsiteY114" fmla="*/ 823912 h 1814512"/>
                  <a:gd name="connsiteX115" fmla="*/ 445295 w 3236119"/>
                  <a:gd name="connsiteY115" fmla="*/ 812006 h 1814512"/>
                  <a:gd name="connsiteX116" fmla="*/ 471489 w 3236119"/>
                  <a:gd name="connsiteY116" fmla="*/ 850106 h 1814512"/>
                  <a:gd name="connsiteX117" fmla="*/ 600076 w 3236119"/>
                  <a:gd name="connsiteY117" fmla="*/ 866775 h 1814512"/>
                  <a:gd name="connsiteX118" fmla="*/ 638176 w 3236119"/>
                  <a:gd name="connsiteY118" fmla="*/ 804862 h 1814512"/>
                  <a:gd name="connsiteX119" fmla="*/ 692945 w 3236119"/>
                  <a:gd name="connsiteY119" fmla="*/ 828675 h 1814512"/>
                  <a:gd name="connsiteX120" fmla="*/ 709614 w 3236119"/>
                  <a:gd name="connsiteY120" fmla="*/ 769143 h 1814512"/>
                  <a:gd name="connsiteX121" fmla="*/ 778670 w 3236119"/>
                  <a:gd name="connsiteY121" fmla="*/ 723900 h 1814512"/>
                  <a:gd name="connsiteX122" fmla="*/ 783432 w 3236119"/>
                  <a:gd name="connsiteY122" fmla="*/ 661987 h 1814512"/>
                  <a:gd name="connsiteX123" fmla="*/ 933450 w 3236119"/>
                  <a:gd name="connsiteY123" fmla="*/ 533399 h 1814512"/>
                  <a:gd name="connsiteX124" fmla="*/ 1000126 w 3236119"/>
                  <a:gd name="connsiteY124" fmla="*/ 397668 h 1814512"/>
                  <a:gd name="connsiteX125" fmla="*/ 1073944 w 3236119"/>
                  <a:gd name="connsiteY125" fmla="*/ 342900 h 1814512"/>
                  <a:gd name="connsiteX126" fmla="*/ 1112044 w 3236119"/>
                  <a:gd name="connsiteY126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61951 w 3236119"/>
                  <a:gd name="connsiteY100" fmla="*/ 1597818 h 1814512"/>
                  <a:gd name="connsiteX101" fmla="*/ 330995 w 3236119"/>
                  <a:gd name="connsiteY101" fmla="*/ 1578769 h 1814512"/>
                  <a:gd name="connsiteX102" fmla="*/ 147638 w 3236119"/>
                  <a:gd name="connsiteY102" fmla="*/ 1514475 h 1814512"/>
                  <a:gd name="connsiteX103" fmla="*/ 85725 w 3236119"/>
                  <a:gd name="connsiteY103" fmla="*/ 1478756 h 1814512"/>
                  <a:gd name="connsiteX104" fmla="*/ 42863 w 3236119"/>
                  <a:gd name="connsiteY104" fmla="*/ 1426368 h 1814512"/>
                  <a:gd name="connsiteX105" fmla="*/ 1 w 3236119"/>
                  <a:gd name="connsiteY105" fmla="*/ 1428749 h 1814512"/>
                  <a:gd name="connsiteX106" fmla="*/ 0 w 3236119"/>
                  <a:gd name="connsiteY106" fmla="*/ 1397793 h 1814512"/>
                  <a:gd name="connsiteX107" fmla="*/ 307182 w 3236119"/>
                  <a:gd name="connsiteY107" fmla="*/ 1171575 h 1814512"/>
                  <a:gd name="connsiteX108" fmla="*/ 300039 w 3236119"/>
                  <a:gd name="connsiteY108" fmla="*/ 1143000 h 1814512"/>
                  <a:gd name="connsiteX109" fmla="*/ 252414 w 3236119"/>
                  <a:gd name="connsiteY109" fmla="*/ 1100137 h 1814512"/>
                  <a:gd name="connsiteX110" fmla="*/ 257176 w 3236119"/>
                  <a:gd name="connsiteY110" fmla="*/ 1052513 h 1814512"/>
                  <a:gd name="connsiteX111" fmla="*/ 307182 w 3236119"/>
                  <a:gd name="connsiteY111" fmla="*/ 1038225 h 1814512"/>
                  <a:gd name="connsiteX112" fmla="*/ 314326 w 3236119"/>
                  <a:gd name="connsiteY112" fmla="*/ 985837 h 1814512"/>
                  <a:gd name="connsiteX113" fmla="*/ 390526 w 3236119"/>
                  <a:gd name="connsiteY113" fmla="*/ 900112 h 1814512"/>
                  <a:gd name="connsiteX114" fmla="*/ 402432 w 3236119"/>
                  <a:gd name="connsiteY114" fmla="*/ 864393 h 1814512"/>
                  <a:gd name="connsiteX115" fmla="*/ 404814 w 3236119"/>
                  <a:gd name="connsiteY115" fmla="*/ 823912 h 1814512"/>
                  <a:gd name="connsiteX116" fmla="*/ 445295 w 3236119"/>
                  <a:gd name="connsiteY116" fmla="*/ 812006 h 1814512"/>
                  <a:gd name="connsiteX117" fmla="*/ 471489 w 3236119"/>
                  <a:gd name="connsiteY117" fmla="*/ 850106 h 1814512"/>
                  <a:gd name="connsiteX118" fmla="*/ 600076 w 3236119"/>
                  <a:gd name="connsiteY118" fmla="*/ 866775 h 1814512"/>
                  <a:gd name="connsiteX119" fmla="*/ 638176 w 3236119"/>
                  <a:gd name="connsiteY119" fmla="*/ 804862 h 1814512"/>
                  <a:gd name="connsiteX120" fmla="*/ 692945 w 3236119"/>
                  <a:gd name="connsiteY120" fmla="*/ 828675 h 1814512"/>
                  <a:gd name="connsiteX121" fmla="*/ 709614 w 3236119"/>
                  <a:gd name="connsiteY121" fmla="*/ 769143 h 1814512"/>
                  <a:gd name="connsiteX122" fmla="*/ 778670 w 3236119"/>
                  <a:gd name="connsiteY122" fmla="*/ 723900 h 1814512"/>
                  <a:gd name="connsiteX123" fmla="*/ 783432 w 3236119"/>
                  <a:gd name="connsiteY123" fmla="*/ 661987 h 1814512"/>
                  <a:gd name="connsiteX124" fmla="*/ 933450 w 3236119"/>
                  <a:gd name="connsiteY124" fmla="*/ 533399 h 1814512"/>
                  <a:gd name="connsiteX125" fmla="*/ 1000126 w 3236119"/>
                  <a:gd name="connsiteY125" fmla="*/ 397668 h 1814512"/>
                  <a:gd name="connsiteX126" fmla="*/ 1073944 w 3236119"/>
                  <a:gd name="connsiteY126" fmla="*/ 342900 h 1814512"/>
                  <a:gd name="connsiteX127" fmla="*/ 1112044 w 3236119"/>
                  <a:gd name="connsiteY127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30995 w 3236119"/>
                  <a:gd name="connsiteY101" fmla="*/ 1578769 h 1814512"/>
                  <a:gd name="connsiteX102" fmla="*/ 147638 w 3236119"/>
                  <a:gd name="connsiteY102" fmla="*/ 1514475 h 1814512"/>
                  <a:gd name="connsiteX103" fmla="*/ 85725 w 3236119"/>
                  <a:gd name="connsiteY103" fmla="*/ 1478756 h 1814512"/>
                  <a:gd name="connsiteX104" fmla="*/ 42863 w 3236119"/>
                  <a:gd name="connsiteY104" fmla="*/ 1426368 h 1814512"/>
                  <a:gd name="connsiteX105" fmla="*/ 1 w 3236119"/>
                  <a:gd name="connsiteY105" fmla="*/ 1428749 h 1814512"/>
                  <a:gd name="connsiteX106" fmla="*/ 0 w 3236119"/>
                  <a:gd name="connsiteY106" fmla="*/ 1397793 h 1814512"/>
                  <a:gd name="connsiteX107" fmla="*/ 307182 w 3236119"/>
                  <a:gd name="connsiteY107" fmla="*/ 1171575 h 1814512"/>
                  <a:gd name="connsiteX108" fmla="*/ 300039 w 3236119"/>
                  <a:gd name="connsiteY108" fmla="*/ 1143000 h 1814512"/>
                  <a:gd name="connsiteX109" fmla="*/ 252414 w 3236119"/>
                  <a:gd name="connsiteY109" fmla="*/ 1100137 h 1814512"/>
                  <a:gd name="connsiteX110" fmla="*/ 257176 w 3236119"/>
                  <a:gd name="connsiteY110" fmla="*/ 1052513 h 1814512"/>
                  <a:gd name="connsiteX111" fmla="*/ 307182 w 3236119"/>
                  <a:gd name="connsiteY111" fmla="*/ 1038225 h 1814512"/>
                  <a:gd name="connsiteX112" fmla="*/ 314326 w 3236119"/>
                  <a:gd name="connsiteY112" fmla="*/ 985837 h 1814512"/>
                  <a:gd name="connsiteX113" fmla="*/ 390526 w 3236119"/>
                  <a:gd name="connsiteY113" fmla="*/ 900112 h 1814512"/>
                  <a:gd name="connsiteX114" fmla="*/ 402432 w 3236119"/>
                  <a:gd name="connsiteY114" fmla="*/ 864393 h 1814512"/>
                  <a:gd name="connsiteX115" fmla="*/ 404814 w 3236119"/>
                  <a:gd name="connsiteY115" fmla="*/ 823912 h 1814512"/>
                  <a:gd name="connsiteX116" fmla="*/ 445295 w 3236119"/>
                  <a:gd name="connsiteY116" fmla="*/ 812006 h 1814512"/>
                  <a:gd name="connsiteX117" fmla="*/ 471489 w 3236119"/>
                  <a:gd name="connsiteY117" fmla="*/ 850106 h 1814512"/>
                  <a:gd name="connsiteX118" fmla="*/ 600076 w 3236119"/>
                  <a:gd name="connsiteY118" fmla="*/ 866775 h 1814512"/>
                  <a:gd name="connsiteX119" fmla="*/ 638176 w 3236119"/>
                  <a:gd name="connsiteY119" fmla="*/ 804862 h 1814512"/>
                  <a:gd name="connsiteX120" fmla="*/ 692945 w 3236119"/>
                  <a:gd name="connsiteY120" fmla="*/ 828675 h 1814512"/>
                  <a:gd name="connsiteX121" fmla="*/ 709614 w 3236119"/>
                  <a:gd name="connsiteY121" fmla="*/ 769143 h 1814512"/>
                  <a:gd name="connsiteX122" fmla="*/ 778670 w 3236119"/>
                  <a:gd name="connsiteY122" fmla="*/ 723900 h 1814512"/>
                  <a:gd name="connsiteX123" fmla="*/ 783432 w 3236119"/>
                  <a:gd name="connsiteY123" fmla="*/ 661987 h 1814512"/>
                  <a:gd name="connsiteX124" fmla="*/ 933450 w 3236119"/>
                  <a:gd name="connsiteY124" fmla="*/ 533399 h 1814512"/>
                  <a:gd name="connsiteX125" fmla="*/ 1000126 w 3236119"/>
                  <a:gd name="connsiteY125" fmla="*/ 397668 h 1814512"/>
                  <a:gd name="connsiteX126" fmla="*/ 1073944 w 3236119"/>
                  <a:gd name="connsiteY126" fmla="*/ 342900 h 1814512"/>
                  <a:gd name="connsiteX127" fmla="*/ 1112044 w 3236119"/>
                  <a:gd name="connsiteY127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30995 w 3236119"/>
                  <a:gd name="connsiteY101" fmla="*/ 1578769 h 1814512"/>
                  <a:gd name="connsiteX102" fmla="*/ 283370 w 3236119"/>
                  <a:gd name="connsiteY102" fmla="*/ 1559718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42863 w 3236119"/>
                  <a:gd name="connsiteY105" fmla="*/ 1426368 h 1814512"/>
                  <a:gd name="connsiteX106" fmla="*/ 1 w 3236119"/>
                  <a:gd name="connsiteY106" fmla="*/ 1428749 h 1814512"/>
                  <a:gd name="connsiteX107" fmla="*/ 0 w 3236119"/>
                  <a:gd name="connsiteY107" fmla="*/ 1397793 h 1814512"/>
                  <a:gd name="connsiteX108" fmla="*/ 307182 w 3236119"/>
                  <a:gd name="connsiteY108" fmla="*/ 1171575 h 1814512"/>
                  <a:gd name="connsiteX109" fmla="*/ 300039 w 3236119"/>
                  <a:gd name="connsiteY109" fmla="*/ 1143000 h 1814512"/>
                  <a:gd name="connsiteX110" fmla="*/ 252414 w 3236119"/>
                  <a:gd name="connsiteY110" fmla="*/ 1100137 h 1814512"/>
                  <a:gd name="connsiteX111" fmla="*/ 257176 w 3236119"/>
                  <a:gd name="connsiteY111" fmla="*/ 1052513 h 1814512"/>
                  <a:gd name="connsiteX112" fmla="*/ 307182 w 3236119"/>
                  <a:gd name="connsiteY112" fmla="*/ 1038225 h 1814512"/>
                  <a:gd name="connsiteX113" fmla="*/ 314326 w 3236119"/>
                  <a:gd name="connsiteY113" fmla="*/ 985837 h 1814512"/>
                  <a:gd name="connsiteX114" fmla="*/ 390526 w 3236119"/>
                  <a:gd name="connsiteY114" fmla="*/ 900112 h 1814512"/>
                  <a:gd name="connsiteX115" fmla="*/ 402432 w 3236119"/>
                  <a:gd name="connsiteY115" fmla="*/ 864393 h 1814512"/>
                  <a:gd name="connsiteX116" fmla="*/ 404814 w 3236119"/>
                  <a:gd name="connsiteY116" fmla="*/ 823912 h 1814512"/>
                  <a:gd name="connsiteX117" fmla="*/ 445295 w 3236119"/>
                  <a:gd name="connsiteY117" fmla="*/ 812006 h 1814512"/>
                  <a:gd name="connsiteX118" fmla="*/ 471489 w 3236119"/>
                  <a:gd name="connsiteY118" fmla="*/ 850106 h 1814512"/>
                  <a:gd name="connsiteX119" fmla="*/ 600076 w 3236119"/>
                  <a:gd name="connsiteY119" fmla="*/ 866775 h 1814512"/>
                  <a:gd name="connsiteX120" fmla="*/ 638176 w 3236119"/>
                  <a:gd name="connsiteY120" fmla="*/ 804862 h 1814512"/>
                  <a:gd name="connsiteX121" fmla="*/ 692945 w 3236119"/>
                  <a:gd name="connsiteY121" fmla="*/ 828675 h 1814512"/>
                  <a:gd name="connsiteX122" fmla="*/ 709614 w 3236119"/>
                  <a:gd name="connsiteY122" fmla="*/ 769143 h 1814512"/>
                  <a:gd name="connsiteX123" fmla="*/ 778670 w 3236119"/>
                  <a:gd name="connsiteY123" fmla="*/ 723900 h 1814512"/>
                  <a:gd name="connsiteX124" fmla="*/ 783432 w 3236119"/>
                  <a:gd name="connsiteY124" fmla="*/ 661987 h 1814512"/>
                  <a:gd name="connsiteX125" fmla="*/ 933450 w 3236119"/>
                  <a:gd name="connsiteY125" fmla="*/ 533399 h 1814512"/>
                  <a:gd name="connsiteX126" fmla="*/ 1000126 w 3236119"/>
                  <a:gd name="connsiteY126" fmla="*/ 397668 h 1814512"/>
                  <a:gd name="connsiteX127" fmla="*/ 1073944 w 3236119"/>
                  <a:gd name="connsiteY127" fmla="*/ 342900 h 1814512"/>
                  <a:gd name="connsiteX128" fmla="*/ 1112044 w 3236119"/>
                  <a:gd name="connsiteY12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30995 w 3236119"/>
                  <a:gd name="connsiteY101" fmla="*/ 1578769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42863 w 3236119"/>
                  <a:gd name="connsiteY105" fmla="*/ 1426368 h 1814512"/>
                  <a:gd name="connsiteX106" fmla="*/ 1 w 3236119"/>
                  <a:gd name="connsiteY106" fmla="*/ 1428749 h 1814512"/>
                  <a:gd name="connsiteX107" fmla="*/ 0 w 3236119"/>
                  <a:gd name="connsiteY107" fmla="*/ 1397793 h 1814512"/>
                  <a:gd name="connsiteX108" fmla="*/ 307182 w 3236119"/>
                  <a:gd name="connsiteY108" fmla="*/ 1171575 h 1814512"/>
                  <a:gd name="connsiteX109" fmla="*/ 300039 w 3236119"/>
                  <a:gd name="connsiteY109" fmla="*/ 1143000 h 1814512"/>
                  <a:gd name="connsiteX110" fmla="*/ 252414 w 3236119"/>
                  <a:gd name="connsiteY110" fmla="*/ 1100137 h 1814512"/>
                  <a:gd name="connsiteX111" fmla="*/ 257176 w 3236119"/>
                  <a:gd name="connsiteY111" fmla="*/ 1052513 h 1814512"/>
                  <a:gd name="connsiteX112" fmla="*/ 307182 w 3236119"/>
                  <a:gd name="connsiteY112" fmla="*/ 1038225 h 1814512"/>
                  <a:gd name="connsiteX113" fmla="*/ 314326 w 3236119"/>
                  <a:gd name="connsiteY113" fmla="*/ 985837 h 1814512"/>
                  <a:gd name="connsiteX114" fmla="*/ 390526 w 3236119"/>
                  <a:gd name="connsiteY114" fmla="*/ 900112 h 1814512"/>
                  <a:gd name="connsiteX115" fmla="*/ 402432 w 3236119"/>
                  <a:gd name="connsiteY115" fmla="*/ 864393 h 1814512"/>
                  <a:gd name="connsiteX116" fmla="*/ 404814 w 3236119"/>
                  <a:gd name="connsiteY116" fmla="*/ 823912 h 1814512"/>
                  <a:gd name="connsiteX117" fmla="*/ 445295 w 3236119"/>
                  <a:gd name="connsiteY117" fmla="*/ 812006 h 1814512"/>
                  <a:gd name="connsiteX118" fmla="*/ 471489 w 3236119"/>
                  <a:gd name="connsiteY118" fmla="*/ 850106 h 1814512"/>
                  <a:gd name="connsiteX119" fmla="*/ 600076 w 3236119"/>
                  <a:gd name="connsiteY119" fmla="*/ 866775 h 1814512"/>
                  <a:gd name="connsiteX120" fmla="*/ 638176 w 3236119"/>
                  <a:gd name="connsiteY120" fmla="*/ 804862 h 1814512"/>
                  <a:gd name="connsiteX121" fmla="*/ 692945 w 3236119"/>
                  <a:gd name="connsiteY121" fmla="*/ 828675 h 1814512"/>
                  <a:gd name="connsiteX122" fmla="*/ 709614 w 3236119"/>
                  <a:gd name="connsiteY122" fmla="*/ 769143 h 1814512"/>
                  <a:gd name="connsiteX123" fmla="*/ 778670 w 3236119"/>
                  <a:gd name="connsiteY123" fmla="*/ 723900 h 1814512"/>
                  <a:gd name="connsiteX124" fmla="*/ 783432 w 3236119"/>
                  <a:gd name="connsiteY124" fmla="*/ 661987 h 1814512"/>
                  <a:gd name="connsiteX125" fmla="*/ 933450 w 3236119"/>
                  <a:gd name="connsiteY125" fmla="*/ 533399 h 1814512"/>
                  <a:gd name="connsiteX126" fmla="*/ 1000126 w 3236119"/>
                  <a:gd name="connsiteY126" fmla="*/ 397668 h 1814512"/>
                  <a:gd name="connsiteX127" fmla="*/ 1073944 w 3236119"/>
                  <a:gd name="connsiteY127" fmla="*/ 342900 h 1814512"/>
                  <a:gd name="connsiteX128" fmla="*/ 1112044 w 3236119"/>
                  <a:gd name="connsiteY12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42863 w 3236119"/>
                  <a:gd name="connsiteY105" fmla="*/ 1426368 h 1814512"/>
                  <a:gd name="connsiteX106" fmla="*/ 1 w 3236119"/>
                  <a:gd name="connsiteY106" fmla="*/ 1428749 h 1814512"/>
                  <a:gd name="connsiteX107" fmla="*/ 0 w 3236119"/>
                  <a:gd name="connsiteY107" fmla="*/ 1397793 h 1814512"/>
                  <a:gd name="connsiteX108" fmla="*/ 307182 w 3236119"/>
                  <a:gd name="connsiteY108" fmla="*/ 1171575 h 1814512"/>
                  <a:gd name="connsiteX109" fmla="*/ 300039 w 3236119"/>
                  <a:gd name="connsiteY109" fmla="*/ 1143000 h 1814512"/>
                  <a:gd name="connsiteX110" fmla="*/ 252414 w 3236119"/>
                  <a:gd name="connsiteY110" fmla="*/ 1100137 h 1814512"/>
                  <a:gd name="connsiteX111" fmla="*/ 257176 w 3236119"/>
                  <a:gd name="connsiteY111" fmla="*/ 1052513 h 1814512"/>
                  <a:gd name="connsiteX112" fmla="*/ 307182 w 3236119"/>
                  <a:gd name="connsiteY112" fmla="*/ 1038225 h 1814512"/>
                  <a:gd name="connsiteX113" fmla="*/ 314326 w 3236119"/>
                  <a:gd name="connsiteY113" fmla="*/ 985837 h 1814512"/>
                  <a:gd name="connsiteX114" fmla="*/ 390526 w 3236119"/>
                  <a:gd name="connsiteY114" fmla="*/ 900112 h 1814512"/>
                  <a:gd name="connsiteX115" fmla="*/ 402432 w 3236119"/>
                  <a:gd name="connsiteY115" fmla="*/ 864393 h 1814512"/>
                  <a:gd name="connsiteX116" fmla="*/ 404814 w 3236119"/>
                  <a:gd name="connsiteY116" fmla="*/ 823912 h 1814512"/>
                  <a:gd name="connsiteX117" fmla="*/ 445295 w 3236119"/>
                  <a:gd name="connsiteY117" fmla="*/ 812006 h 1814512"/>
                  <a:gd name="connsiteX118" fmla="*/ 471489 w 3236119"/>
                  <a:gd name="connsiteY118" fmla="*/ 850106 h 1814512"/>
                  <a:gd name="connsiteX119" fmla="*/ 600076 w 3236119"/>
                  <a:gd name="connsiteY119" fmla="*/ 866775 h 1814512"/>
                  <a:gd name="connsiteX120" fmla="*/ 638176 w 3236119"/>
                  <a:gd name="connsiteY120" fmla="*/ 804862 h 1814512"/>
                  <a:gd name="connsiteX121" fmla="*/ 692945 w 3236119"/>
                  <a:gd name="connsiteY121" fmla="*/ 828675 h 1814512"/>
                  <a:gd name="connsiteX122" fmla="*/ 709614 w 3236119"/>
                  <a:gd name="connsiteY122" fmla="*/ 769143 h 1814512"/>
                  <a:gd name="connsiteX123" fmla="*/ 778670 w 3236119"/>
                  <a:gd name="connsiteY123" fmla="*/ 723900 h 1814512"/>
                  <a:gd name="connsiteX124" fmla="*/ 783432 w 3236119"/>
                  <a:gd name="connsiteY124" fmla="*/ 661987 h 1814512"/>
                  <a:gd name="connsiteX125" fmla="*/ 933450 w 3236119"/>
                  <a:gd name="connsiteY125" fmla="*/ 533399 h 1814512"/>
                  <a:gd name="connsiteX126" fmla="*/ 1000126 w 3236119"/>
                  <a:gd name="connsiteY126" fmla="*/ 397668 h 1814512"/>
                  <a:gd name="connsiteX127" fmla="*/ 1073944 w 3236119"/>
                  <a:gd name="connsiteY127" fmla="*/ 342900 h 1814512"/>
                  <a:gd name="connsiteX128" fmla="*/ 1112044 w 3236119"/>
                  <a:gd name="connsiteY128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71439 w 3236119"/>
                  <a:gd name="connsiteY105" fmla="*/ 1450181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8670 w 3236119"/>
                  <a:gd name="connsiteY124" fmla="*/ 723900 h 1814512"/>
                  <a:gd name="connsiteX125" fmla="*/ 783432 w 3236119"/>
                  <a:gd name="connsiteY125" fmla="*/ 661987 h 1814512"/>
                  <a:gd name="connsiteX126" fmla="*/ 933450 w 3236119"/>
                  <a:gd name="connsiteY126" fmla="*/ 533399 h 1814512"/>
                  <a:gd name="connsiteX127" fmla="*/ 1000126 w 3236119"/>
                  <a:gd name="connsiteY127" fmla="*/ 397668 h 1814512"/>
                  <a:gd name="connsiteX128" fmla="*/ 1073944 w 3236119"/>
                  <a:gd name="connsiteY128" fmla="*/ 342900 h 1814512"/>
                  <a:gd name="connsiteX129" fmla="*/ 1112044 w 3236119"/>
                  <a:gd name="connsiteY129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8670 w 3236119"/>
                  <a:gd name="connsiteY124" fmla="*/ 723900 h 1814512"/>
                  <a:gd name="connsiteX125" fmla="*/ 783432 w 3236119"/>
                  <a:gd name="connsiteY125" fmla="*/ 661987 h 1814512"/>
                  <a:gd name="connsiteX126" fmla="*/ 933450 w 3236119"/>
                  <a:gd name="connsiteY126" fmla="*/ 533399 h 1814512"/>
                  <a:gd name="connsiteX127" fmla="*/ 1000126 w 3236119"/>
                  <a:gd name="connsiteY127" fmla="*/ 397668 h 1814512"/>
                  <a:gd name="connsiteX128" fmla="*/ 1073944 w 3236119"/>
                  <a:gd name="connsiteY128" fmla="*/ 342900 h 1814512"/>
                  <a:gd name="connsiteX129" fmla="*/ 1112044 w 3236119"/>
                  <a:gd name="connsiteY129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8670 w 3236119"/>
                  <a:gd name="connsiteY124" fmla="*/ 723900 h 1814512"/>
                  <a:gd name="connsiteX125" fmla="*/ 783432 w 3236119"/>
                  <a:gd name="connsiteY125" fmla="*/ 661987 h 1814512"/>
                  <a:gd name="connsiteX126" fmla="*/ 845345 w 3236119"/>
                  <a:gd name="connsiteY126" fmla="*/ 604837 h 1814512"/>
                  <a:gd name="connsiteX127" fmla="*/ 933450 w 3236119"/>
                  <a:gd name="connsiteY127" fmla="*/ 533399 h 1814512"/>
                  <a:gd name="connsiteX128" fmla="*/ 1000126 w 3236119"/>
                  <a:gd name="connsiteY128" fmla="*/ 397668 h 1814512"/>
                  <a:gd name="connsiteX129" fmla="*/ 1073944 w 3236119"/>
                  <a:gd name="connsiteY129" fmla="*/ 342900 h 1814512"/>
                  <a:gd name="connsiteX130" fmla="*/ 1112044 w 3236119"/>
                  <a:gd name="connsiteY13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8670 w 3236119"/>
                  <a:gd name="connsiteY124" fmla="*/ 723900 h 1814512"/>
                  <a:gd name="connsiteX125" fmla="*/ 783432 w 3236119"/>
                  <a:gd name="connsiteY125" fmla="*/ 661987 h 1814512"/>
                  <a:gd name="connsiteX126" fmla="*/ 831057 w 3236119"/>
                  <a:gd name="connsiteY126" fmla="*/ 602456 h 1814512"/>
                  <a:gd name="connsiteX127" fmla="*/ 933450 w 3236119"/>
                  <a:gd name="connsiteY127" fmla="*/ 533399 h 1814512"/>
                  <a:gd name="connsiteX128" fmla="*/ 1000126 w 3236119"/>
                  <a:gd name="connsiteY128" fmla="*/ 397668 h 1814512"/>
                  <a:gd name="connsiteX129" fmla="*/ 1073944 w 3236119"/>
                  <a:gd name="connsiteY129" fmla="*/ 342900 h 1814512"/>
                  <a:gd name="connsiteX130" fmla="*/ 1112044 w 3236119"/>
                  <a:gd name="connsiteY13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8670 w 3236119"/>
                  <a:gd name="connsiteY124" fmla="*/ 723900 h 1814512"/>
                  <a:gd name="connsiteX125" fmla="*/ 771526 w 3236119"/>
                  <a:gd name="connsiteY125" fmla="*/ 661987 h 1814512"/>
                  <a:gd name="connsiteX126" fmla="*/ 831057 w 3236119"/>
                  <a:gd name="connsiteY126" fmla="*/ 602456 h 1814512"/>
                  <a:gd name="connsiteX127" fmla="*/ 933450 w 3236119"/>
                  <a:gd name="connsiteY127" fmla="*/ 533399 h 1814512"/>
                  <a:gd name="connsiteX128" fmla="*/ 1000126 w 3236119"/>
                  <a:gd name="connsiteY128" fmla="*/ 397668 h 1814512"/>
                  <a:gd name="connsiteX129" fmla="*/ 1073944 w 3236119"/>
                  <a:gd name="connsiteY129" fmla="*/ 342900 h 1814512"/>
                  <a:gd name="connsiteX130" fmla="*/ 1112044 w 3236119"/>
                  <a:gd name="connsiteY13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1527 w 3236119"/>
                  <a:gd name="connsiteY124" fmla="*/ 721519 h 1814512"/>
                  <a:gd name="connsiteX125" fmla="*/ 771526 w 3236119"/>
                  <a:gd name="connsiteY125" fmla="*/ 661987 h 1814512"/>
                  <a:gd name="connsiteX126" fmla="*/ 831057 w 3236119"/>
                  <a:gd name="connsiteY126" fmla="*/ 602456 h 1814512"/>
                  <a:gd name="connsiteX127" fmla="*/ 933450 w 3236119"/>
                  <a:gd name="connsiteY127" fmla="*/ 533399 h 1814512"/>
                  <a:gd name="connsiteX128" fmla="*/ 1000126 w 3236119"/>
                  <a:gd name="connsiteY128" fmla="*/ 397668 h 1814512"/>
                  <a:gd name="connsiteX129" fmla="*/ 1073944 w 3236119"/>
                  <a:gd name="connsiteY129" fmla="*/ 342900 h 1814512"/>
                  <a:gd name="connsiteX130" fmla="*/ 1112044 w 3236119"/>
                  <a:gd name="connsiteY130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1527 w 3236119"/>
                  <a:gd name="connsiteY124" fmla="*/ 721519 h 1814512"/>
                  <a:gd name="connsiteX125" fmla="*/ 771526 w 3236119"/>
                  <a:gd name="connsiteY125" fmla="*/ 661987 h 1814512"/>
                  <a:gd name="connsiteX126" fmla="*/ 831057 w 3236119"/>
                  <a:gd name="connsiteY126" fmla="*/ 602456 h 1814512"/>
                  <a:gd name="connsiteX127" fmla="*/ 933450 w 3236119"/>
                  <a:gd name="connsiteY127" fmla="*/ 533399 h 1814512"/>
                  <a:gd name="connsiteX128" fmla="*/ 962026 w 3236119"/>
                  <a:gd name="connsiteY128" fmla="*/ 476250 h 1814512"/>
                  <a:gd name="connsiteX129" fmla="*/ 1000126 w 3236119"/>
                  <a:gd name="connsiteY129" fmla="*/ 397668 h 1814512"/>
                  <a:gd name="connsiteX130" fmla="*/ 1073944 w 3236119"/>
                  <a:gd name="connsiteY130" fmla="*/ 342900 h 1814512"/>
                  <a:gd name="connsiteX131" fmla="*/ 1112044 w 3236119"/>
                  <a:gd name="connsiteY131" fmla="*/ 295275 h 1814512"/>
                  <a:gd name="connsiteX0" fmla="*/ 1112044 w 3236119"/>
                  <a:gd name="connsiteY0" fmla="*/ 295275 h 1814512"/>
                  <a:gd name="connsiteX1" fmla="*/ 1166813 w 3236119"/>
                  <a:gd name="connsiteY1" fmla="*/ 240506 h 1814512"/>
                  <a:gd name="connsiteX2" fmla="*/ 1190625 w 3236119"/>
                  <a:gd name="connsiteY2" fmla="*/ 195262 h 1814512"/>
                  <a:gd name="connsiteX3" fmla="*/ 1235869 w 3236119"/>
                  <a:gd name="connsiteY3" fmla="*/ 180975 h 1814512"/>
                  <a:gd name="connsiteX4" fmla="*/ 1266825 w 3236119"/>
                  <a:gd name="connsiteY4" fmla="*/ 209550 h 1814512"/>
                  <a:gd name="connsiteX5" fmla="*/ 1283494 w 3236119"/>
                  <a:gd name="connsiteY5" fmla="*/ 250031 h 1814512"/>
                  <a:gd name="connsiteX6" fmla="*/ 1316831 w 3236119"/>
                  <a:gd name="connsiteY6" fmla="*/ 278606 h 1814512"/>
                  <a:gd name="connsiteX7" fmla="*/ 1338263 w 3236119"/>
                  <a:gd name="connsiteY7" fmla="*/ 280987 h 1814512"/>
                  <a:gd name="connsiteX8" fmla="*/ 1393031 w 3236119"/>
                  <a:gd name="connsiteY8" fmla="*/ 280987 h 1814512"/>
                  <a:gd name="connsiteX9" fmla="*/ 1423988 w 3236119"/>
                  <a:gd name="connsiteY9" fmla="*/ 314325 h 1814512"/>
                  <a:gd name="connsiteX10" fmla="*/ 1426369 w 3236119"/>
                  <a:gd name="connsiteY10" fmla="*/ 335756 h 1814512"/>
                  <a:gd name="connsiteX11" fmla="*/ 1438275 w 3236119"/>
                  <a:gd name="connsiteY11" fmla="*/ 373856 h 1814512"/>
                  <a:gd name="connsiteX12" fmla="*/ 1478756 w 3236119"/>
                  <a:gd name="connsiteY12" fmla="*/ 357187 h 1814512"/>
                  <a:gd name="connsiteX13" fmla="*/ 1538288 w 3236119"/>
                  <a:gd name="connsiteY13" fmla="*/ 373856 h 1814512"/>
                  <a:gd name="connsiteX14" fmla="*/ 1609725 w 3236119"/>
                  <a:gd name="connsiteY14" fmla="*/ 385762 h 1814512"/>
                  <a:gd name="connsiteX15" fmla="*/ 1650206 w 3236119"/>
                  <a:gd name="connsiteY15" fmla="*/ 369093 h 1814512"/>
                  <a:gd name="connsiteX16" fmla="*/ 1662113 w 3236119"/>
                  <a:gd name="connsiteY16" fmla="*/ 311943 h 1814512"/>
                  <a:gd name="connsiteX17" fmla="*/ 1666875 w 3236119"/>
                  <a:gd name="connsiteY17" fmla="*/ 285750 h 1814512"/>
                  <a:gd name="connsiteX18" fmla="*/ 1693069 w 3236119"/>
                  <a:gd name="connsiteY18" fmla="*/ 269081 h 1814512"/>
                  <a:gd name="connsiteX19" fmla="*/ 1821656 w 3236119"/>
                  <a:gd name="connsiteY19" fmla="*/ 178593 h 1814512"/>
                  <a:gd name="connsiteX20" fmla="*/ 1850231 w 3236119"/>
                  <a:gd name="connsiteY20" fmla="*/ 176212 h 1814512"/>
                  <a:gd name="connsiteX21" fmla="*/ 1859756 w 3236119"/>
                  <a:gd name="connsiteY21" fmla="*/ 228600 h 1814512"/>
                  <a:gd name="connsiteX22" fmla="*/ 1852613 w 3236119"/>
                  <a:gd name="connsiteY22" fmla="*/ 261937 h 1814512"/>
                  <a:gd name="connsiteX23" fmla="*/ 1928813 w 3236119"/>
                  <a:gd name="connsiteY23" fmla="*/ 280987 h 1814512"/>
                  <a:gd name="connsiteX24" fmla="*/ 1976438 w 3236119"/>
                  <a:gd name="connsiteY24" fmla="*/ 228600 h 1814512"/>
                  <a:gd name="connsiteX25" fmla="*/ 2028825 w 3236119"/>
                  <a:gd name="connsiteY25" fmla="*/ 183356 h 1814512"/>
                  <a:gd name="connsiteX26" fmla="*/ 2050256 w 3236119"/>
                  <a:gd name="connsiteY26" fmla="*/ 133350 h 1814512"/>
                  <a:gd name="connsiteX27" fmla="*/ 2100263 w 3236119"/>
                  <a:gd name="connsiteY27" fmla="*/ 109537 h 1814512"/>
                  <a:gd name="connsiteX28" fmla="*/ 2140744 w 3236119"/>
                  <a:gd name="connsiteY28" fmla="*/ 80962 h 1814512"/>
                  <a:gd name="connsiteX29" fmla="*/ 2185988 w 3236119"/>
                  <a:gd name="connsiteY29" fmla="*/ 33337 h 1814512"/>
                  <a:gd name="connsiteX30" fmla="*/ 2231231 w 3236119"/>
                  <a:gd name="connsiteY30" fmla="*/ 33337 h 1814512"/>
                  <a:gd name="connsiteX31" fmla="*/ 2266950 w 3236119"/>
                  <a:gd name="connsiteY31" fmla="*/ 0 h 1814512"/>
                  <a:gd name="connsiteX32" fmla="*/ 2333625 w 3236119"/>
                  <a:gd name="connsiteY32" fmla="*/ 71437 h 1814512"/>
                  <a:gd name="connsiteX33" fmla="*/ 2309813 w 3236119"/>
                  <a:gd name="connsiteY33" fmla="*/ 102393 h 1814512"/>
                  <a:gd name="connsiteX34" fmla="*/ 2302669 w 3236119"/>
                  <a:gd name="connsiteY34" fmla="*/ 138112 h 1814512"/>
                  <a:gd name="connsiteX35" fmla="*/ 2347913 w 3236119"/>
                  <a:gd name="connsiteY35" fmla="*/ 180975 h 1814512"/>
                  <a:gd name="connsiteX36" fmla="*/ 2412206 w 3236119"/>
                  <a:gd name="connsiteY36" fmla="*/ 178593 h 1814512"/>
                  <a:gd name="connsiteX37" fmla="*/ 2447925 w 3236119"/>
                  <a:gd name="connsiteY37" fmla="*/ 183356 h 1814512"/>
                  <a:gd name="connsiteX38" fmla="*/ 2526506 w 3236119"/>
                  <a:gd name="connsiteY38" fmla="*/ 230981 h 1814512"/>
                  <a:gd name="connsiteX39" fmla="*/ 2562225 w 3236119"/>
                  <a:gd name="connsiteY39" fmla="*/ 245268 h 1814512"/>
                  <a:gd name="connsiteX40" fmla="*/ 2564606 w 3236119"/>
                  <a:gd name="connsiteY40" fmla="*/ 292893 h 1814512"/>
                  <a:gd name="connsiteX41" fmla="*/ 2547938 w 3236119"/>
                  <a:gd name="connsiteY41" fmla="*/ 345281 h 1814512"/>
                  <a:gd name="connsiteX42" fmla="*/ 2593181 w 3236119"/>
                  <a:gd name="connsiteY42" fmla="*/ 359568 h 1814512"/>
                  <a:gd name="connsiteX43" fmla="*/ 2628900 w 3236119"/>
                  <a:gd name="connsiteY43" fmla="*/ 304800 h 1814512"/>
                  <a:gd name="connsiteX44" fmla="*/ 2671763 w 3236119"/>
                  <a:gd name="connsiteY44" fmla="*/ 295275 h 1814512"/>
                  <a:gd name="connsiteX45" fmla="*/ 2728913 w 3236119"/>
                  <a:gd name="connsiteY45" fmla="*/ 257175 h 1814512"/>
                  <a:gd name="connsiteX46" fmla="*/ 2790825 w 3236119"/>
                  <a:gd name="connsiteY46" fmla="*/ 266700 h 1814512"/>
                  <a:gd name="connsiteX47" fmla="*/ 2867025 w 3236119"/>
                  <a:gd name="connsiteY47" fmla="*/ 226218 h 1814512"/>
                  <a:gd name="connsiteX48" fmla="*/ 2895600 w 3236119"/>
                  <a:gd name="connsiteY48" fmla="*/ 166687 h 1814512"/>
                  <a:gd name="connsiteX49" fmla="*/ 2909888 w 3236119"/>
                  <a:gd name="connsiteY49" fmla="*/ 147637 h 1814512"/>
                  <a:gd name="connsiteX50" fmla="*/ 2917031 w 3236119"/>
                  <a:gd name="connsiteY50" fmla="*/ 142875 h 1814512"/>
                  <a:gd name="connsiteX51" fmla="*/ 2926556 w 3236119"/>
                  <a:gd name="connsiteY51" fmla="*/ 130968 h 1814512"/>
                  <a:gd name="connsiteX52" fmla="*/ 2940844 w 3236119"/>
                  <a:gd name="connsiteY52" fmla="*/ 92868 h 1814512"/>
                  <a:gd name="connsiteX53" fmla="*/ 3024188 w 3236119"/>
                  <a:gd name="connsiteY53" fmla="*/ 114300 h 1814512"/>
                  <a:gd name="connsiteX54" fmla="*/ 3095625 w 3236119"/>
                  <a:gd name="connsiteY54" fmla="*/ 130968 h 1814512"/>
                  <a:gd name="connsiteX55" fmla="*/ 3109913 w 3236119"/>
                  <a:gd name="connsiteY55" fmla="*/ 200025 h 1814512"/>
                  <a:gd name="connsiteX56" fmla="*/ 3145631 w 3236119"/>
                  <a:gd name="connsiteY56" fmla="*/ 252412 h 1814512"/>
                  <a:gd name="connsiteX57" fmla="*/ 3131344 w 3236119"/>
                  <a:gd name="connsiteY57" fmla="*/ 259556 h 1814512"/>
                  <a:gd name="connsiteX58" fmla="*/ 3090863 w 3236119"/>
                  <a:gd name="connsiteY58" fmla="*/ 283368 h 1814512"/>
                  <a:gd name="connsiteX59" fmla="*/ 3062288 w 3236119"/>
                  <a:gd name="connsiteY59" fmla="*/ 314325 h 1814512"/>
                  <a:gd name="connsiteX60" fmla="*/ 3033713 w 3236119"/>
                  <a:gd name="connsiteY60" fmla="*/ 354806 h 1814512"/>
                  <a:gd name="connsiteX61" fmla="*/ 3031331 w 3236119"/>
                  <a:gd name="connsiteY61" fmla="*/ 416718 h 1814512"/>
                  <a:gd name="connsiteX62" fmla="*/ 3045619 w 3236119"/>
                  <a:gd name="connsiteY62" fmla="*/ 466725 h 1814512"/>
                  <a:gd name="connsiteX63" fmla="*/ 3071813 w 3236119"/>
                  <a:gd name="connsiteY63" fmla="*/ 511968 h 1814512"/>
                  <a:gd name="connsiteX64" fmla="*/ 3095625 w 3236119"/>
                  <a:gd name="connsiteY64" fmla="*/ 535781 h 1814512"/>
                  <a:gd name="connsiteX65" fmla="*/ 3076575 w 3236119"/>
                  <a:gd name="connsiteY65" fmla="*/ 564356 h 1814512"/>
                  <a:gd name="connsiteX66" fmla="*/ 3055144 w 3236119"/>
                  <a:gd name="connsiteY66" fmla="*/ 590550 h 1814512"/>
                  <a:gd name="connsiteX67" fmla="*/ 3050381 w 3236119"/>
                  <a:gd name="connsiteY67" fmla="*/ 640556 h 1814512"/>
                  <a:gd name="connsiteX68" fmla="*/ 3064669 w 3236119"/>
                  <a:gd name="connsiteY68" fmla="*/ 666750 h 1814512"/>
                  <a:gd name="connsiteX69" fmla="*/ 3090863 w 3236119"/>
                  <a:gd name="connsiteY69" fmla="*/ 716756 h 1814512"/>
                  <a:gd name="connsiteX70" fmla="*/ 3114675 w 3236119"/>
                  <a:gd name="connsiteY70" fmla="*/ 733425 h 1814512"/>
                  <a:gd name="connsiteX71" fmla="*/ 3105150 w 3236119"/>
                  <a:gd name="connsiteY71" fmla="*/ 769143 h 1814512"/>
                  <a:gd name="connsiteX72" fmla="*/ 3098006 w 3236119"/>
                  <a:gd name="connsiteY72" fmla="*/ 790575 h 1814512"/>
                  <a:gd name="connsiteX73" fmla="*/ 3071813 w 3236119"/>
                  <a:gd name="connsiteY73" fmla="*/ 807243 h 1814512"/>
                  <a:gd name="connsiteX74" fmla="*/ 3045619 w 3236119"/>
                  <a:gd name="connsiteY74" fmla="*/ 828675 h 1814512"/>
                  <a:gd name="connsiteX75" fmla="*/ 3057525 w 3236119"/>
                  <a:gd name="connsiteY75" fmla="*/ 859631 h 1814512"/>
                  <a:gd name="connsiteX76" fmla="*/ 3067050 w 3236119"/>
                  <a:gd name="connsiteY76" fmla="*/ 883443 h 1814512"/>
                  <a:gd name="connsiteX77" fmla="*/ 3143250 w 3236119"/>
                  <a:gd name="connsiteY77" fmla="*/ 962025 h 1814512"/>
                  <a:gd name="connsiteX78" fmla="*/ 3095625 w 3236119"/>
                  <a:gd name="connsiteY78" fmla="*/ 1021556 h 1814512"/>
                  <a:gd name="connsiteX79" fmla="*/ 3093244 w 3236119"/>
                  <a:gd name="connsiteY79" fmla="*/ 1181100 h 1814512"/>
                  <a:gd name="connsiteX80" fmla="*/ 3052763 w 3236119"/>
                  <a:gd name="connsiteY80" fmla="*/ 1214437 h 1814512"/>
                  <a:gd name="connsiteX81" fmla="*/ 3114675 w 3236119"/>
                  <a:gd name="connsiteY81" fmla="*/ 1293018 h 1814512"/>
                  <a:gd name="connsiteX82" fmla="*/ 3171825 w 3236119"/>
                  <a:gd name="connsiteY82" fmla="*/ 1238250 h 1814512"/>
                  <a:gd name="connsiteX83" fmla="*/ 3236119 w 3236119"/>
                  <a:gd name="connsiteY83" fmla="*/ 1240631 h 1814512"/>
                  <a:gd name="connsiteX84" fmla="*/ 3228975 w 3236119"/>
                  <a:gd name="connsiteY84" fmla="*/ 1283493 h 1814512"/>
                  <a:gd name="connsiteX85" fmla="*/ 3228975 w 3236119"/>
                  <a:gd name="connsiteY85" fmla="*/ 1419225 h 1814512"/>
                  <a:gd name="connsiteX86" fmla="*/ 3193256 w 3236119"/>
                  <a:gd name="connsiteY86" fmla="*/ 1431131 h 1814512"/>
                  <a:gd name="connsiteX87" fmla="*/ 3107531 w 3236119"/>
                  <a:gd name="connsiteY87" fmla="*/ 1443037 h 1814512"/>
                  <a:gd name="connsiteX88" fmla="*/ 2778919 w 3236119"/>
                  <a:gd name="connsiteY88" fmla="*/ 1459706 h 1814512"/>
                  <a:gd name="connsiteX89" fmla="*/ 2671763 w 3236119"/>
                  <a:gd name="connsiteY89" fmla="*/ 1488281 h 1814512"/>
                  <a:gd name="connsiteX90" fmla="*/ 2433638 w 3236119"/>
                  <a:gd name="connsiteY90" fmla="*/ 1728787 h 1814512"/>
                  <a:gd name="connsiteX91" fmla="*/ 1547813 w 3236119"/>
                  <a:gd name="connsiteY91" fmla="*/ 1781175 h 1814512"/>
                  <a:gd name="connsiteX92" fmla="*/ 1393031 w 3236119"/>
                  <a:gd name="connsiteY92" fmla="*/ 1802606 h 1814512"/>
                  <a:gd name="connsiteX93" fmla="*/ 971550 w 3236119"/>
                  <a:gd name="connsiteY93" fmla="*/ 1814512 h 1814512"/>
                  <a:gd name="connsiteX94" fmla="*/ 933450 w 3236119"/>
                  <a:gd name="connsiteY94" fmla="*/ 1747837 h 1814512"/>
                  <a:gd name="connsiteX95" fmla="*/ 845344 w 3236119"/>
                  <a:gd name="connsiteY95" fmla="*/ 1747837 h 1814512"/>
                  <a:gd name="connsiteX96" fmla="*/ 821531 w 3236119"/>
                  <a:gd name="connsiteY96" fmla="*/ 1738312 h 1814512"/>
                  <a:gd name="connsiteX97" fmla="*/ 766763 w 3236119"/>
                  <a:gd name="connsiteY97" fmla="*/ 1776412 h 1814512"/>
                  <a:gd name="connsiteX98" fmla="*/ 578644 w 3236119"/>
                  <a:gd name="connsiteY98" fmla="*/ 1764506 h 1814512"/>
                  <a:gd name="connsiteX99" fmla="*/ 502444 w 3236119"/>
                  <a:gd name="connsiteY99" fmla="*/ 1690687 h 1814512"/>
                  <a:gd name="connsiteX100" fmla="*/ 347663 w 3236119"/>
                  <a:gd name="connsiteY100" fmla="*/ 1607343 h 1814512"/>
                  <a:gd name="connsiteX101" fmla="*/ 314326 w 3236119"/>
                  <a:gd name="connsiteY101" fmla="*/ 1588294 h 1814512"/>
                  <a:gd name="connsiteX102" fmla="*/ 273845 w 3236119"/>
                  <a:gd name="connsiteY102" fmla="*/ 1576387 h 1814512"/>
                  <a:gd name="connsiteX103" fmla="*/ 147638 w 3236119"/>
                  <a:gd name="connsiteY103" fmla="*/ 1514475 h 1814512"/>
                  <a:gd name="connsiteX104" fmla="*/ 85725 w 3236119"/>
                  <a:gd name="connsiteY104" fmla="*/ 1478756 h 1814512"/>
                  <a:gd name="connsiteX105" fmla="*/ 61914 w 3236119"/>
                  <a:gd name="connsiteY105" fmla="*/ 1457325 h 1814512"/>
                  <a:gd name="connsiteX106" fmla="*/ 42863 w 3236119"/>
                  <a:gd name="connsiteY106" fmla="*/ 1426368 h 1814512"/>
                  <a:gd name="connsiteX107" fmla="*/ 1 w 3236119"/>
                  <a:gd name="connsiteY107" fmla="*/ 1428749 h 1814512"/>
                  <a:gd name="connsiteX108" fmla="*/ 0 w 3236119"/>
                  <a:gd name="connsiteY108" fmla="*/ 1397793 h 1814512"/>
                  <a:gd name="connsiteX109" fmla="*/ 307182 w 3236119"/>
                  <a:gd name="connsiteY109" fmla="*/ 1171575 h 1814512"/>
                  <a:gd name="connsiteX110" fmla="*/ 300039 w 3236119"/>
                  <a:gd name="connsiteY110" fmla="*/ 1143000 h 1814512"/>
                  <a:gd name="connsiteX111" fmla="*/ 252414 w 3236119"/>
                  <a:gd name="connsiteY111" fmla="*/ 1100137 h 1814512"/>
                  <a:gd name="connsiteX112" fmla="*/ 257176 w 3236119"/>
                  <a:gd name="connsiteY112" fmla="*/ 1052513 h 1814512"/>
                  <a:gd name="connsiteX113" fmla="*/ 307182 w 3236119"/>
                  <a:gd name="connsiteY113" fmla="*/ 1038225 h 1814512"/>
                  <a:gd name="connsiteX114" fmla="*/ 314326 w 3236119"/>
                  <a:gd name="connsiteY114" fmla="*/ 985837 h 1814512"/>
                  <a:gd name="connsiteX115" fmla="*/ 390526 w 3236119"/>
                  <a:gd name="connsiteY115" fmla="*/ 900112 h 1814512"/>
                  <a:gd name="connsiteX116" fmla="*/ 402432 w 3236119"/>
                  <a:gd name="connsiteY116" fmla="*/ 864393 h 1814512"/>
                  <a:gd name="connsiteX117" fmla="*/ 404814 w 3236119"/>
                  <a:gd name="connsiteY117" fmla="*/ 823912 h 1814512"/>
                  <a:gd name="connsiteX118" fmla="*/ 445295 w 3236119"/>
                  <a:gd name="connsiteY118" fmla="*/ 812006 h 1814512"/>
                  <a:gd name="connsiteX119" fmla="*/ 471489 w 3236119"/>
                  <a:gd name="connsiteY119" fmla="*/ 850106 h 1814512"/>
                  <a:gd name="connsiteX120" fmla="*/ 600076 w 3236119"/>
                  <a:gd name="connsiteY120" fmla="*/ 866775 h 1814512"/>
                  <a:gd name="connsiteX121" fmla="*/ 638176 w 3236119"/>
                  <a:gd name="connsiteY121" fmla="*/ 804862 h 1814512"/>
                  <a:gd name="connsiteX122" fmla="*/ 692945 w 3236119"/>
                  <a:gd name="connsiteY122" fmla="*/ 828675 h 1814512"/>
                  <a:gd name="connsiteX123" fmla="*/ 709614 w 3236119"/>
                  <a:gd name="connsiteY123" fmla="*/ 769143 h 1814512"/>
                  <a:gd name="connsiteX124" fmla="*/ 771527 w 3236119"/>
                  <a:gd name="connsiteY124" fmla="*/ 721519 h 1814512"/>
                  <a:gd name="connsiteX125" fmla="*/ 771526 w 3236119"/>
                  <a:gd name="connsiteY125" fmla="*/ 661987 h 1814512"/>
                  <a:gd name="connsiteX126" fmla="*/ 831057 w 3236119"/>
                  <a:gd name="connsiteY126" fmla="*/ 602456 h 1814512"/>
                  <a:gd name="connsiteX127" fmla="*/ 933450 w 3236119"/>
                  <a:gd name="connsiteY127" fmla="*/ 533399 h 1814512"/>
                  <a:gd name="connsiteX128" fmla="*/ 950120 w 3236119"/>
                  <a:gd name="connsiteY128" fmla="*/ 478631 h 1814512"/>
                  <a:gd name="connsiteX129" fmla="*/ 1000126 w 3236119"/>
                  <a:gd name="connsiteY129" fmla="*/ 397668 h 1814512"/>
                  <a:gd name="connsiteX130" fmla="*/ 1073944 w 3236119"/>
                  <a:gd name="connsiteY130" fmla="*/ 342900 h 1814512"/>
                  <a:gd name="connsiteX131" fmla="*/ 1112044 w 3236119"/>
                  <a:gd name="connsiteY131" fmla="*/ 295275 h 1814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</a:cxnLst>
                <a:rect l="l" t="t" r="r" b="b"/>
                <a:pathLst>
                  <a:path w="3236119" h="1814512">
                    <a:moveTo>
                      <a:pt x="1112044" y="295275"/>
                    </a:moveTo>
                    <a:lnTo>
                      <a:pt x="1166813" y="240506"/>
                    </a:lnTo>
                    <a:lnTo>
                      <a:pt x="1190625" y="195262"/>
                    </a:lnTo>
                    <a:lnTo>
                      <a:pt x="1235869" y="180975"/>
                    </a:lnTo>
                    <a:lnTo>
                      <a:pt x="1266825" y="209550"/>
                    </a:lnTo>
                    <a:lnTo>
                      <a:pt x="1283494" y="250031"/>
                    </a:lnTo>
                    <a:lnTo>
                      <a:pt x="1316831" y="278606"/>
                    </a:lnTo>
                    <a:lnTo>
                      <a:pt x="1338263" y="280987"/>
                    </a:lnTo>
                    <a:lnTo>
                      <a:pt x="1393031" y="280987"/>
                    </a:lnTo>
                    <a:lnTo>
                      <a:pt x="1423988" y="314325"/>
                    </a:lnTo>
                    <a:lnTo>
                      <a:pt x="1426369" y="335756"/>
                    </a:lnTo>
                    <a:lnTo>
                      <a:pt x="1438275" y="373856"/>
                    </a:lnTo>
                    <a:lnTo>
                      <a:pt x="1478756" y="357187"/>
                    </a:lnTo>
                    <a:lnTo>
                      <a:pt x="1538288" y="373856"/>
                    </a:lnTo>
                    <a:lnTo>
                      <a:pt x="1609725" y="385762"/>
                    </a:lnTo>
                    <a:lnTo>
                      <a:pt x="1650206" y="369093"/>
                    </a:lnTo>
                    <a:lnTo>
                      <a:pt x="1662113" y="311943"/>
                    </a:lnTo>
                    <a:lnTo>
                      <a:pt x="1666875" y="285750"/>
                    </a:lnTo>
                    <a:cubicBezTo>
                      <a:pt x="1690269" y="272753"/>
                      <a:pt x="1682527" y="279621"/>
                      <a:pt x="1693069" y="269081"/>
                    </a:cubicBezTo>
                    <a:lnTo>
                      <a:pt x="1821656" y="178593"/>
                    </a:lnTo>
                    <a:lnTo>
                      <a:pt x="1850231" y="176212"/>
                    </a:lnTo>
                    <a:lnTo>
                      <a:pt x="1859756" y="228600"/>
                    </a:lnTo>
                    <a:lnTo>
                      <a:pt x="1852613" y="261937"/>
                    </a:lnTo>
                    <a:lnTo>
                      <a:pt x="1928813" y="280987"/>
                    </a:lnTo>
                    <a:lnTo>
                      <a:pt x="1976438" y="228600"/>
                    </a:lnTo>
                    <a:lnTo>
                      <a:pt x="2028825" y="183356"/>
                    </a:lnTo>
                    <a:lnTo>
                      <a:pt x="2050256" y="133350"/>
                    </a:lnTo>
                    <a:lnTo>
                      <a:pt x="2100263" y="109537"/>
                    </a:lnTo>
                    <a:lnTo>
                      <a:pt x="2140744" y="80962"/>
                    </a:lnTo>
                    <a:lnTo>
                      <a:pt x="2185988" y="33337"/>
                    </a:lnTo>
                    <a:lnTo>
                      <a:pt x="2231231" y="33337"/>
                    </a:lnTo>
                    <a:lnTo>
                      <a:pt x="2266950" y="0"/>
                    </a:lnTo>
                    <a:lnTo>
                      <a:pt x="2333625" y="71437"/>
                    </a:lnTo>
                    <a:lnTo>
                      <a:pt x="2309813" y="102393"/>
                    </a:lnTo>
                    <a:lnTo>
                      <a:pt x="2302669" y="138112"/>
                    </a:lnTo>
                    <a:lnTo>
                      <a:pt x="2347913" y="180975"/>
                    </a:lnTo>
                    <a:lnTo>
                      <a:pt x="2412206" y="178593"/>
                    </a:lnTo>
                    <a:lnTo>
                      <a:pt x="2447925" y="183356"/>
                    </a:lnTo>
                    <a:lnTo>
                      <a:pt x="2526506" y="230981"/>
                    </a:lnTo>
                    <a:lnTo>
                      <a:pt x="2562225" y="245268"/>
                    </a:lnTo>
                    <a:lnTo>
                      <a:pt x="2564606" y="292893"/>
                    </a:lnTo>
                    <a:lnTo>
                      <a:pt x="2547938" y="345281"/>
                    </a:lnTo>
                    <a:lnTo>
                      <a:pt x="2593181" y="359568"/>
                    </a:lnTo>
                    <a:lnTo>
                      <a:pt x="2628900" y="304800"/>
                    </a:lnTo>
                    <a:lnTo>
                      <a:pt x="2671763" y="295275"/>
                    </a:lnTo>
                    <a:lnTo>
                      <a:pt x="2728913" y="257175"/>
                    </a:lnTo>
                    <a:lnTo>
                      <a:pt x="2790825" y="266700"/>
                    </a:lnTo>
                    <a:lnTo>
                      <a:pt x="2867025" y="226218"/>
                    </a:lnTo>
                    <a:lnTo>
                      <a:pt x="2895600" y="166687"/>
                    </a:lnTo>
                    <a:cubicBezTo>
                      <a:pt x="2900363" y="160337"/>
                      <a:pt x="2904578" y="153537"/>
                      <a:pt x="2909888" y="147637"/>
                    </a:cubicBezTo>
                    <a:cubicBezTo>
                      <a:pt x="2911802" y="145510"/>
                      <a:pt x="2915008" y="144899"/>
                      <a:pt x="2917031" y="142875"/>
                    </a:cubicBezTo>
                    <a:cubicBezTo>
                      <a:pt x="2920625" y="139281"/>
                      <a:pt x="2926556" y="130968"/>
                      <a:pt x="2926556" y="130968"/>
                    </a:cubicBezTo>
                    <a:lnTo>
                      <a:pt x="2940844" y="92868"/>
                    </a:lnTo>
                    <a:lnTo>
                      <a:pt x="3024188" y="114300"/>
                    </a:lnTo>
                    <a:lnTo>
                      <a:pt x="3095625" y="130968"/>
                    </a:lnTo>
                    <a:lnTo>
                      <a:pt x="3109913" y="200025"/>
                    </a:lnTo>
                    <a:lnTo>
                      <a:pt x="3145631" y="252412"/>
                    </a:lnTo>
                    <a:lnTo>
                      <a:pt x="3131344" y="259556"/>
                    </a:lnTo>
                    <a:lnTo>
                      <a:pt x="3090863" y="283368"/>
                    </a:lnTo>
                    <a:lnTo>
                      <a:pt x="3062288" y="314325"/>
                    </a:lnTo>
                    <a:lnTo>
                      <a:pt x="3033713" y="354806"/>
                    </a:lnTo>
                    <a:lnTo>
                      <a:pt x="3031331" y="416718"/>
                    </a:lnTo>
                    <a:lnTo>
                      <a:pt x="3045619" y="466725"/>
                    </a:lnTo>
                    <a:lnTo>
                      <a:pt x="3071813" y="511968"/>
                    </a:lnTo>
                    <a:lnTo>
                      <a:pt x="3095625" y="535781"/>
                    </a:lnTo>
                    <a:lnTo>
                      <a:pt x="3076575" y="564356"/>
                    </a:lnTo>
                    <a:lnTo>
                      <a:pt x="3055144" y="590550"/>
                    </a:lnTo>
                    <a:lnTo>
                      <a:pt x="3050381" y="640556"/>
                    </a:lnTo>
                    <a:lnTo>
                      <a:pt x="3064669" y="666750"/>
                    </a:lnTo>
                    <a:lnTo>
                      <a:pt x="3090863" y="716756"/>
                    </a:lnTo>
                    <a:lnTo>
                      <a:pt x="3114675" y="733425"/>
                    </a:lnTo>
                    <a:lnTo>
                      <a:pt x="3105150" y="769143"/>
                    </a:lnTo>
                    <a:lnTo>
                      <a:pt x="3098006" y="790575"/>
                    </a:lnTo>
                    <a:lnTo>
                      <a:pt x="3071813" y="807243"/>
                    </a:lnTo>
                    <a:lnTo>
                      <a:pt x="3045619" y="828675"/>
                    </a:lnTo>
                    <a:lnTo>
                      <a:pt x="3057525" y="859631"/>
                    </a:lnTo>
                    <a:lnTo>
                      <a:pt x="3067050" y="883443"/>
                    </a:lnTo>
                    <a:lnTo>
                      <a:pt x="3143250" y="962025"/>
                    </a:lnTo>
                    <a:lnTo>
                      <a:pt x="3095625" y="1021556"/>
                    </a:lnTo>
                    <a:cubicBezTo>
                      <a:pt x="3094831" y="1074737"/>
                      <a:pt x="3094038" y="1127919"/>
                      <a:pt x="3093244" y="1181100"/>
                    </a:cubicBezTo>
                    <a:lnTo>
                      <a:pt x="3052763" y="1214437"/>
                    </a:lnTo>
                    <a:lnTo>
                      <a:pt x="3114675" y="1293018"/>
                    </a:lnTo>
                    <a:lnTo>
                      <a:pt x="3171825" y="1238250"/>
                    </a:lnTo>
                    <a:lnTo>
                      <a:pt x="3236119" y="1240631"/>
                    </a:lnTo>
                    <a:lnTo>
                      <a:pt x="3228975" y="1283493"/>
                    </a:lnTo>
                    <a:lnTo>
                      <a:pt x="3228975" y="1419225"/>
                    </a:lnTo>
                    <a:lnTo>
                      <a:pt x="3193256" y="1431131"/>
                    </a:lnTo>
                    <a:lnTo>
                      <a:pt x="3107531" y="1443037"/>
                    </a:lnTo>
                    <a:lnTo>
                      <a:pt x="2778919" y="1459706"/>
                    </a:lnTo>
                    <a:lnTo>
                      <a:pt x="2671763" y="1488281"/>
                    </a:lnTo>
                    <a:lnTo>
                      <a:pt x="2433638" y="1728787"/>
                    </a:lnTo>
                    <a:lnTo>
                      <a:pt x="1547813" y="1781175"/>
                    </a:lnTo>
                    <a:lnTo>
                      <a:pt x="1393031" y="1802606"/>
                    </a:lnTo>
                    <a:lnTo>
                      <a:pt x="971550" y="1814512"/>
                    </a:lnTo>
                    <a:lnTo>
                      <a:pt x="933450" y="1747837"/>
                    </a:lnTo>
                    <a:lnTo>
                      <a:pt x="845344" y="1747837"/>
                    </a:lnTo>
                    <a:lnTo>
                      <a:pt x="821531" y="1738312"/>
                    </a:lnTo>
                    <a:lnTo>
                      <a:pt x="766763" y="1776412"/>
                    </a:lnTo>
                    <a:lnTo>
                      <a:pt x="578644" y="1764506"/>
                    </a:lnTo>
                    <a:lnTo>
                      <a:pt x="502444" y="1690687"/>
                    </a:lnTo>
                    <a:lnTo>
                      <a:pt x="347663" y="1607343"/>
                    </a:lnTo>
                    <a:lnTo>
                      <a:pt x="314326" y="1588294"/>
                    </a:lnTo>
                    <a:lnTo>
                      <a:pt x="273845" y="1576387"/>
                    </a:lnTo>
                    <a:lnTo>
                      <a:pt x="147638" y="1514475"/>
                    </a:lnTo>
                    <a:lnTo>
                      <a:pt x="85725" y="1478756"/>
                    </a:lnTo>
                    <a:cubicBezTo>
                      <a:pt x="73025" y="1468040"/>
                      <a:pt x="69058" y="1466056"/>
                      <a:pt x="61914" y="1457325"/>
                    </a:cubicBezTo>
                    <a:cubicBezTo>
                      <a:pt x="54770" y="1448594"/>
                      <a:pt x="54769" y="1429940"/>
                      <a:pt x="42863" y="1426368"/>
                    </a:cubicBezTo>
                    <a:lnTo>
                      <a:pt x="1" y="1428749"/>
                    </a:lnTo>
                    <a:cubicBezTo>
                      <a:pt x="1" y="1418430"/>
                      <a:pt x="0" y="1408112"/>
                      <a:pt x="0" y="1397793"/>
                    </a:cubicBezTo>
                    <a:lnTo>
                      <a:pt x="307182" y="1171575"/>
                    </a:lnTo>
                    <a:lnTo>
                      <a:pt x="300039" y="1143000"/>
                    </a:lnTo>
                    <a:lnTo>
                      <a:pt x="252414" y="1100137"/>
                    </a:lnTo>
                    <a:lnTo>
                      <a:pt x="257176" y="1052513"/>
                    </a:lnTo>
                    <a:lnTo>
                      <a:pt x="307182" y="1038225"/>
                    </a:lnTo>
                    <a:lnTo>
                      <a:pt x="314326" y="985837"/>
                    </a:lnTo>
                    <a:lnTo>
                      <a:pt x="390526" y="900112"/>
                    </a:lnTo>
                    <a:lnTo>
                      <a:pt x="402432" y="864393"/>
                    </a:lnTo>
                    <a:lnTo>
                      <a:pt x="404814" y="823912"/>
                    </a:lnTo>
                    <a:lnTo>
                      <a:pt x="445295" y="812006"/>
                    </a:lnTo>
                    <a:lnTo>
                      <a:pt x="471489" y="850106"/>
                    </a:lnTo>
                    <a:lnTo>
                      <a:pt x="600076" y="866775"/>
                    </a:lnTo>
                    <a:lnTo>
                      <a:pt x="638176" y="804862"/>
                    </a:lnTo>
                    <a:lnTo>
                      <a:pt x="692945" y="828675"/>
                    </a:lnTo>
                    <a:lnTo>
                      <a:pt x="709614" y="769143"/>
                    </a:lnTo>
                    <a:lnTo>
                      <a:pt x="771527" y="721519"/>
                    </a:lnTo>
                    <a:cubicBezTo>
                      <a:pt x="771527" y="701675"/>
                      <a:pt x="771526" y="681831"/>
                      <a:pt x="771526" y="661987"/>
                    </a:cubicBezTo>
                    <a:lnTo>
                      <a:pt x="831057" y="602456"/>
                    </a:lnTo>
                    <a:lnTo>
                      <a:pt x="933450" y="533399"/>
                    </a:lnTo>
                    <a:lnTo>
                      <a:pt x="950120" y="478631"/>
                    </a:lnTo>
                    <a:lnTo>
                      <a:pt x="1000126" y="397668"/>
                    </a:lnTo>
                    <a:lnTo>
                      <a:pt x="1073944" y="342900"/>
                    </a:lnTo>
                    <a:lnTo>
                      <a:pt x="1112044" y="295275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9" name="Freeform 19"/>
              <p:cNvSpPr/>
              <p:nvPr/>
            </p:nvSpPr>
            <p:spPr>
              <a:xfrm>
                <a:off x="3916464" y="1280121"/>
                <a:ext cx="1209203" cy="745865"/>
              </a:xfrm>
              <a:custGeom>
                <a:avLst/>
                <a:gdLst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52388 w 1721644"/>
                  <a:gd name="connsiteY4" fmla="*/ 697706 h 1145381"/>
                  <a:gd name="connsiteX5" fmla="*/ 54769 w 1721644"/>
                  <a:gd name="connsiteY5" fmla="*/ 857250 h 1145381"/>
                  <a:gd name="connsiteX6" fmla="*/ 142875 w 1721644"/>
                  <a:gd name="connsiteY6" fmla="*/ 852487 h 1145381"/>
                  <a:gd name="connsiteX7" fmla="*/ 173832 w 1721644"/>
                  <a:gd name="connsiteY7" fmla="*/ 878681 h 1145381"/>
                  <a:gd name="connsiteX8" fmla="*/ 207169 w 1721644"/>
                  <a:gd name="connsiteY8" fmla="*/ 938212 h 1145381"/>
                  <a:gd name="connsiteX9" fmla="*/ 307182 w 1721644"/>
                  <a:gd name="connsiteY9" fmla="*/ 933450 h 1145381"/>
                  <a:gd name="connsiteX10" fmla="*/ 347663 w 1721644"/>
                  <a:gd name="connsiteY10" fmla="*/ 1000125 h 1145381"/>
                  <a:gd name="connsiteX11" fmla="*/ 438150 w 1721644"/>
                  <a:gd name="connsiteY11" fmla="*/ 1050131 h 1145381"/>
                  <a:gd name="connsiteX12" fmla="*/ 542925 w 1721644"/>
                  <a:gd name="connsiteY12" fmla="*/ 1035844 h 1145381"/>
                  <a:gd name="connsiteX13" fmla="*/ 557213 w 1721644"/>
                  <a:gd name="connsiteY13" fmla="*/ 1050131 h 1145381"/>
                  <a:gd name="connsiteX14" fmla="*/ 597694 w 1721644"/>
                  <a:gd name="connsiteY14" fmla="*/ 1014412 h 1145381"/>
                  <a:gd name="connsiteX15" fmla="*/ 621507 w 1721644"/>
                  <a:gd name="connsiteY15" fmla="*/ 990600 h 1145381"/>
                  <a:gd name="connsiteX16" fmla="*/ 633413 w 1721644"/>
                  <a:gd name="connsiteY16" fmla="*/ 954881 h 1145381"/>
                  <a:gd name="connsiteX17" fmla="*/ 671513 w 1721644"/>
                  <a:gd name="connsiteY17" fmla="*/ 940594 h 1145381"/>
                  <a:gd name="connsiteX18" fmla="*/ 711994 w 1721644"/>
                  <a:gd name="connsiteY18" fmla="*/ 969169 h 1145381"/>
                  <a:gd name="connsiteX19" fmla="*/ 728663 w 1721644"/>
                  <a:gd name="connsiteY19" fmla="*/ 1004887 h 1145381"/>
                  <a:gd name="connsiteX20" fmla="*/ 762000 w 1721644"/>
                  <a:gd name="connsiteY20" fmla="*/ 1038225 h 1145381"/>
                  <a:gd name="connsiteX21" fmla="*/ 835819 w 1721644"/>
                  <a:gd name="connsiteY21" fmla="*/ 1035844 h 1145381"/>
                  <a:gd name="connsiteX22" fmla="*/ 871538 w 1721644"/>
                  <a:gd name="connsiteY22" fmla="*/ 1071562 h 1145381"/>
                  <a:gd name="connsiteX23" fmla="*/ 883444 w 1721644"/>
                  <a:gd name="connsiteY23" fmla="*/ 1131094 h 1145381"/>
                  <a:gd name="connsiteX24" fmla="*/ 916782 w 1721644"/>
                  <a:gd name="connsiteY24" fmla="*/ 1116806 h 1145381"/>
                  <a:gd name="connsiteX25" fmla="*/ 990600 w 1721644"/>
                  <a:gd name="connsiteY25" fmla="*/ 1131094 h 1145381"/>
                  <a:gd name="connsiteX26" fmla="*/ 1047750 w 1721644"/>
                  <a:gd name="connsiteY26" fmla="*/ 1145381 h 1145381"/>
                  <a:gd name="connsiteX27" fmla="*/ 1095375 w 1721644"/>
                  <a:gd name="connsiteY27" fmla="*/ 1128712 h 1145381"/>
                  <a:gd name="connsiteX28" fmla="*/ 1114425 w 1721644"/>
                  <a:gd name="connsiteY28" fmla="*/ 1045369 h 1145381"/>
                  <a:gd name="connsiteX29" fmla="*/ 1254919 w 1721644"/>
                  <a:gd name="connsiteY29" fmla="*/ 940594 h 1145381"/>
                  <a:gd name="connsiteX30" fmla="*/ 1295400 w 1721644"/>
                  <a:gd name="connsiteY30" fmla="*/ 931069 h 1145381"/>
                  <a:gd name="connsiteX31" fmla="*/ 1307307 w 1721644"/>
                  <a:gd name="connsiteY31" fmla="*/ 983456 h 1145381"/>
                  <a:gd name="connsiteX32" fmla="*/ 1295400 w 1721644"/>
                  <a:gd name="connsiteY32" fmla="*/ 1021556 h 1145381"/>
                  <a:gd name="connsiteX33" fmla="*/ 1376363 w 1721644"/>
                  <a:gd name="connsiteY33" fmla="*/ 1040606 h 1145381"/>
                  <a:gd name="connsiteX34" fmla="*/ 1471613 w 1721644"/>
                  <a:gd name="connsiteY34" fmla="*/ 942975 h 1145381"/>
                  <a:gd name="connsiteX35" fmla="*/ 1497807 w 1721644"/>
                  <a:gd name="connsiteY35" fmla="*/ 890587 h 1145381"/>
                  <a:gd name="connsiteX36" fmla="*/ 1566863 w 1721644"/>
                  <a:gd name="connsiteY36" fmla="*/ 854869 h 1145381"/>
                  <a:gd name="connsiteX37" fmla="*/ 1616869 w 1721644"/>
                  <a:gd name="connsiteY37" fmla="*/ 800100 h 1145381"/>
                  <a:gd name="connsiteX38" fmla="*/ 1676400 w 1721644"/>
                  <a:gd name="connsiteY38" fmla="*/ 788194 h 1145381"/>
                  <a:gd name="connsiteX39" fmla="*/ 1712119 w 1721644"/>
                  <a:gd name="connsiteY39" fmla="*/ 762000 h 1145381"/>
                  <a:gd name="connsiteX40" fmla="*/ 1714500 w 1721644"/>
                  <a:gd name="connsiteY40" fmla="*/ 740569 h 1145381"/>
                  <a:gd name="connsiteX41" fmla="*/ 1678782 w 1721644"/>
                  <a:gd name="connsiteY41" fmla="*/ 711994 h 1145381"/>
                  <a:gd name="connsiteX42" fmla="*/ 1721644 w 1721644"/>
                  <a:gd name="connsiteY42" fmla="*/ 642937 h 1145381"/>
                  <a:gd name="connsiteX43" fmla="*/ 1700213 w 1721644"/>
                  <a:gd name="connsiteY43" fmla="*/ 585787 h 1145381"/>
                  <a:gd name="connsiteX44" fmla="*/ 1714500 w 1721644"/>
                  <a:gd name="connsiteY44" fmla="*/ 523875 h 1145381"/>
                  <a:gd name="connsiteX45" fmla="*/ 1721644 w 1721644"/>
                  <a:gd name="connsiteY45" fmla="*/ 473869 h 1145381"/>
                  <a:gd name="connsiteX46" fmla="*/ 1714500 w 1721644"/>
                  <a:gd name="connsiteY46" fmla="*/ 359569 h 1145381"/>
                  <a:gd name="connsiteX47" fmla="*/ 1702594 w 1721644"/>
                  <a:gd name="connsiteY47" fmla="*/ 314325 h 1145381"/>
                  <a:gd name="connsiteX48" fmla="*/ 1671638 w 1721644"/>
                  <a:gd name="connsiteY48" fmla="*/ 276225 h 1145381"/>
                  <a:gd name="connsiteX49" fmla="*/ 1626394 w 1721644"/>
                  <a:gd name="connsiteY49" fmla="*/ 273844 h 1145381"/>
                  <a:gd name="connsiteX50" fmla="*/ 1521619 w 1721644"/>
                  <a:gd name="connsiteY50" fmla="*/ 259556 h 1145381"/>
                  <a:gd name="connsiteX51" fmla="*/ 1488282 w 1721644"/>
                  <a:gd name="connsiteY51" fmla="*/ 250031 h 1145381"/>
                  <a:gd name="connsiteX52" fmla="*/ 1473994 w 1721644"/>
                  <a:gd name="connsiteY52" fmla="*/ 183356 h 1145381"/>
                  <a:gd name="connsiteX53" fmla="*/ 1388269 w 1721644"/>
                  <a:gd name="connsiteY53" fmla="*/ 207169 h 1145381"/>
                  <a:gd name="connsiteX54" fmla="*/ 1331119 w 1721644"/>
                  <a:gd name="connsiteY54" fmla="*/ 223837 h 1145381"/>
                  <a:gd name="connsiteX55" fmla="*/ 1295400 w 1721644"/>
                  <a:gd name="connsiteY55" fmla="*/ 202406 h 1145381"/>
                  <a:gd name="connsiteX56" fmla="*/ 1214438 w 1721644"/>
                  <a:gd name="connsiteY56" fmla="*/ 111919 h 1145381"/>
                  <a:gd name="connsiteX57" fmla="*/ 1164432 w 1721644"/>
                  <a:gd name="connsiteY57" fmla="*/ 121444 h 1145381"/>
                  <a:gd name="connsiteX58" fmla="*/ 1083469 w 1721644"/>
                  <a:gd name="connsiteY58" fmla="*/ 100012 h 1145381"/>
                  <a:gd name="connsiteX59" fmla="*/ 1050132 w 1721644"/>
                  <a:gd name="connsiteY59" fmla="*/ 83344 h 1145381"/>
                  <a:gd name="connsiteX60" fmla="*/ 995363 w 1721644"/>
                  <a:gd name="connsiteY60" fmla="*/ 135731 h 1145381"/>
                  <a:gd name="connsiteX61" fmla="*/ 966788 w 1721644"/>
                  <a:gd name="connsiteY61" fmla="*/ 107156 h 1145381"/>
                  <a:gd name="connsiteX62" fmla="*/ 940594 w 1721644"/>
                  <a:gd name="connsiteY62" fmla="*/ 76200 h 1145381"/>
                  <a:gd name="connsiteX63" fmla="*/ 895350 w 1721644"/>
                  <a:gd name="connsiteY63" fmla="*/ 59531 h 1145381"/>
                  <a:gd name="connsiteX64" fmla="*/ 897732 w 1721644"/>
                  <a:gd name="connsiteY64" fmla="*/ 14287 h 1145381"/>
                  <a:gd name="connsiteX65" fmla="*/ 862013 w 1721644"/>
                  <a:gd name="connsiteY65" fmla="*/ 0 h 1145381"/>
                  <a:gd name="connsiteX66" fmla="*/ 814388 w 1721644"/>
                  <a:gd name="connsiteY66" fmla="*/ 4762 h 1145381"/>
                  <a:gd name="connsiteX67" fmla="*/ 807244 w 1721644"/>
                  <a:gd name="connsiteY67" fmla="*/ 33337 h 1145381"/>
                  <a:gd name="connsiteX68" fmla="*/ 735807 w 1721644"/>
                  <a:gd name="connsiteY68" fmla="*/ 14287 h 1145381"/>
                  <a:gd name="connsiteX69" fmla="*/ 676275 w 1721644"/>
                  <a:gd name="connsiteY69" fmla="*/ 52387 h 1145381"/>
                  <a:gd name="connsiteX70" fmla="*/ 635794 w 1721644"/>
                  <a:gd name="connsiteY70" fmla="*/ 85725 h 1145381"/>
                  <a:gd name="connsiteX71" fmla="*/ 661988 w 1721644"/>
                  <a:gd name="connsiteY71" fmla="*/ 159544 h 1145381"/>
                  <a:gd name="connsiteX72" fmla="*/ 685800 w 1721644"/>
                  <a:gd name="connsiteY72" fmla="*/ 254794 h 1145381"/>
                  <a:gd name="connsiteX73" fmla="*/ 681038 w 1721644"/>
                  <a:gd name="connsiteY73" fmla="*/ 266700 h 1145381"/>
                  <a:gd name="connsiteX74" fmla="*/ 478632 w 1721644"/>
                  <a:gd name="connsiteY74" fmla="*/ 428625 h 1145381"/>
                  <a:gd name="connsiteX75" fmla="*/ 414338 w 1721644"/>
                  <a:gd name="connsiteY75" fmla="*/ 376237 h 1145381"/>
                  <a:gd name="connsiteX76" fmla="*/ 371475 w 1721644"/>
                  <a:gd name="connsiteY76" fmla="*/ 433387 h 1145381"/>
                  <a:gd name="connsiteX77" fmla="*/ 152400 w 1721644"/>
                  <a:gd name="connsiteY77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52388 w 1721644"/>
                  <a:gd name="connsiteY4" fmla="*/ 697706 h 1145381"/>
                  <a:gd name="connsiteX5" fmla="*/ 54769 w 1721644"/>
                  <a:gd name="connsiteY5" fmla="*/ 857250 h 1145381"/>
                  <a:gd name="connsiteX6" fmla="*/ 142875 w 1721644"/>
                  <a:gd name="connsiteY6" fmla="*/ 852487 h 1145381"/>
                  <a:gd name="connsiteX7" fmla="*/ 169070 w 1721644"/>
                  <a:gd name="connsiteY7" fmla="*/ 881062 h 1145381"/>
                  <a:gd name="connsiteX8" fmla="*/ 207169 w 1721644"/>
                  <a:gd name="connsiteY8" fmla="*/ 938212 h 1145381"/>
                  <a:gd name="connsiteX9" fmla="*/ 307182 w 1721644"/>
                  <a:gd name="connsiteY9" fmla="*/ 933450 h 1145381"/>
                  <a:gd name="connsiteX10" fmla="*/ 347663 w 1721644"/>
                  <a:gd name="connsiteY10" fmla="*/ 1000125 h 1145381"/>
                  <a:gd name="connsiteX11" fmla="*/ 438150 w 1721644"/>
                  <a:gd name="connsiteY11" fmla="*/ 1050131 h 1145381"/>
                  <a:gd name="connsiteX12" fmla="*/ 542925 w 1721644"/>
                  <a:gd name="connsiteY12" fmla="*/ 1035844 h 1145381"/>
                  <a:gd name="connsiteX13" fmla="*/ 557213 w 1721644"/>
                  <a:gd name="connsiteY13" fmla="*/ 1050131 h 1145381"/>
                  <a:gd name="connsiteX14" fmla="*/ 597694 w 1721644"/>
                  <a:gd name="connsiteY14" fmla="*/ 1014412 h 1145381"/>
                  <a:gd name="connsiteX15" fmla="*/ 621507 w 1721644"/>
                  <a:gd name="connsiteY15" fmla="*/ 990600 h 1145381"/>
                  <a:gd name="connsiteX16" fmla="*/ 633413 w 1721644"/>
                  <a:gd name="connsiteY16" fmla="*/ 954881 h 1145381"/>
                  <a:gd name="connsiteX17" fmla="*/ 671513 w 1721644"/>
                  <a:gd name="connsiteY17" fmla="*/ 940594 h 1145381"/>
                  <a:gd name="connsiteX18" fmla="*/ 711994 w 1721644"/>
                  <a:gd name="connsiteY18" fmla="*/ 969169 h 1145381"/>
                  <a:gd name="connsiteX19" fmla="*/ 728663 w 1721644"/>
                  <a:gd name="connsiteY19" fmla="*/ 1004887 h 1145381"/>
                  <a:gd name="connsiteX20" fmla="*/ 762000 w 1721644"/>
                  <a:gd name="connsiteY20" fmla="*/ 1038225 h 1145381"/>
                  <a:gd name="connsiteX21" fmla="*/ 835819 w 1721644"/>
                  <a:gd name="connsiteY21" fmla="*/ 1035844 h 1145381"/>
                  <a:gd name="connsiteX22" fmla="*/ 871538 w 1721644"/>
                  <a:gd name="connsiteY22" fmla="*/ 1071562 h 1145381"/>
                  <a:gd name="connsiteX23" fmla="*/ 883444 w 1721644"/>
                  <a:gd name="connsiteY23" fmla="*/ 1131094 h 1145381"/>
                  <a:gd name="connsiteX24" fmla="*/ 916782 w 1721644"/>
                  <a:gd name="connsiteY24" fmla="*/ 1116806 h 1145381"/>
                  <a:gd name="connsiteX25" fmla="*/ 990600 w 1721644"/>
                  <a:gd name="connsiteY25" fmla="*/ 1131094 h 1145381"/>
                  <a:gd name="connsiteX26" fmla="*/ 1047750 w 1721644"/>
                  <a:gd name="connsiteY26" fmla="*/ 1145381 h 1145381"/>
                  <a:gd name="connsiteX27" fmla="*/ 1095375 w 1721644"/>
                  <a:gd name="connsiteY27" fmla="*/ 1128712 h 1145381"/>
                  <a:gd name="connsiteX28" fmla="*/ 1114425 w 1721644"/>
                  <a:gd name="connsiteY28" fmla="*/ 1045369 h 1145381"/>
                  <a:gd name="connsiteX29" fmla="*/ 1254919 w 1721644"/>
                  <a:gd name="connsiteY29" fmla="*/ 940594 h 1145381"/>
                  <a:gd name="connsiteX30" fmla="*/ 1295400 w 1721644"/>
                  <a:gd name="connsiteY30" fmla="*/ 931069 h 1145381"/>
                  <a:gd name="connsiteX31" fmla="*/ 1307307 w 1721644"/>
                  <a:gd name="connsiteY31" fmla="*/ 983456 h 1145381"/>
                  <a:gd name="connsiteX32" fmla="*/ 1295400 w 1721644"/>
                  <a:gd name="connsiteY32" fmla="*/ 1021556 h 1145381"/>
                  <a:gd name="connsiteX33" fmla="*/ 1376363 w 1721644"/>
                  <a:gd name="connsiteY33" fmla="*/ 1040606 h 1145381"/>
                  <a:gd name="connsiteX34" fmla="*/ 1471613 w 1721644"/>
                  <a:gd name="connsiteY34" fmla="*/ 942975 h 1145381"/>
                  <a:gd name="connsiteX35" fmla="*/ 1497807 w 1721644"/>
                  <a:gd name="connsiteY35" fmla="*/ 890587 h 1145381"/>
                  <a:gd name="connsiteX36" fmla="*/ 1566863 w 1721644"/>
                  <a:gd name="connsiteY36" fmla="*/ 854869 h 1145381"/>
                  <a:gd name="connsiteX37" fmla="*/ 1616869 w 1721644"/>
                  <a:gd name="connsiteY37" fmla="*/ 800100 h 1145381"/>
                  <a:gd name="connsiteX38" fmla="*/ 1676400 w 1721644"/>
                  <a:gd name="connsiteY38" fmla="*/ 788194 h 1145381"/>
                  <a:gd name="connsiteX39" fmla="*/ 1712119 w 1721644"/>
                  <a:gd name="connsiteY39" fmla="*/ 762000 h 1145381"/>
                  <a:gd name="connsiteX40" fmla="*/ 1714500 w 1721644"/>
                  <a:gd name="connsiteY40" fmla="*/ 740569 h 1145381"/>
                  <a:gd name="connsiteX41" fmla="*/ 1678782 w 1721644"/>
                  <a:gd name="connsiteY41" fmla="*/ 711994 h 1145381"/>
                  <a:gd name="connsiteX42" fmla="*/ 1721644 w 1721644"/>
                  <a:gd name="connsiteY42" fmla="*/ 642937 h 1145381"/>
                  <a:gd name="connsiteX43" fmla="*/ 1700213 w 1721644"/>
                  <a:gd name="connsiteY43" fmla="*/ 585787 h 1145381"/>
                  <a:gd name="connsiteX44" fmla="*/ 1714500 w 1721644"/>
                  <a:gd name="connsiteY44" fmla="*/ 523875 h 1145381"/>
                  <a:gd name="connsiteX45" fmla="*/ 1721644 w 1721644"/>
                  <a:gd name="connsiteY45" fmla="*/ 473869 h 1145381"/>
                  <a:gd name="connsiteX46" fmla="*/ 1714500 w 1721644"/>
                  <a:gd name="connsiteY46" fmla="*/ 359569 h 1145381"/>
                  <a:gd name="connsiteX47" fmla="*/ 1702594 w 1721644"/>
                  <a:gd name="connsiteY47" fmla="*/ 314325 h 1145381"/>
                  <a:gd name="connsiteX48" fmla="*/ 1671638 w 1721644"/>
                  <a:gd name="connsiteY48" fmla="*/ 276225 h 1145381"/>
                  <a:gd name="connsiteX49" fmla="*/ 1626394 w 1721644"/>
                  <a:gd name="connsiteY49" fmla="*/ 273844 h 1145381"/>
                  <a:gd name="connsiteX50" fmla="*/ 1521619 w 1721644"/>
                  <a:gd name="connsiteY50" fmla="*/ 259556 h 1145381"/>
                  <a:gd name="connsiteX51" fmla="*/ 1488282 w 1721644"/>
                  <a:gd name="connsiteY51" fmla="*/ 250031 h 1145381"/>
                  <a:gd name="connsiteX52" fmla="*/ 1473994 w 1721644"/>
                  <a:gd name="connsiteY52" fmla="*/ 183356 h 1145381"/>
                  <a:gd name="connsiteX53" fmla="*/ 1388269 w 1721644"/>
                  <a:gd name="connsiteY53" fmla="*/ 207169 h 1145381"/>
                  <a:gd name="connsiteX54" fmla="*/ 1331119 w 1721644"/>
                  <a:gd name="connsiteY54" fmla="*/ 223837 h 1145381"/>
                  <a:gd name="connsiteX55" fmla="*/ 1295400 w 1721644"/>
                  <a:gd name="connsiteY55" fmla="*/ 202406 h 1145381"/>
                  <a:gd name="connsiteX56" fmla="*/ 1214438 w 1721644"/>
                  <a:gd name="connsiteY56" fmla="*/ 111919 h 1145381"/>
                  <a:gd name="connsiteX57" fmla="*/ 1164432 w 1721644"/>
                  <a:gd name="connsiteY57" fmla="*/ 121444 h 1145381"/>
                  <a:gd name="connsiteX58" fmla="*/ 1083469 w 1721644"/>
                  <a:gd name="connsiteY58" fmla="*/ 100012 h 1145381"/>
                  <a:gd name="connsiteX59" fmla="*/ 1050132 w 1721644"/>
                  <a:gd name="connsiteY59" fmla="*/ 83344 h 1145381"/>
                  <a:gd name="connsiteX60" fmla="*/ 995363 w 1721644"/>
                  <a:gd name="connsiteY60" fmla="*/ 135731 h 1145381"/>
                  <a:gd name="connsiteX61" fmla="*/ 966788 w 1721644"/>
                  <a:gd name="connsiteY61" fmla="*/ 107156 h 1145381"/>
                  <a:gd name="connsiteX62" fmla="*/ 940594 w 1721644"/>
                  <a:gd name="connsiteY62" fmla="*/ 76200 h 1145381"/>
                  <a:gd name="connsiteX63" fmla="*/ 895350 w 1721644"/>
                  <a:gd name="connsiteY63" fmla="*/ 59531 h 1145381"/>
                  <a:gd name="connsiteX64" fmla="*/ 897732 w 1721644"/>
                  <a:gd name="connsiteY64" fmla="*/ 14287 h 1145381"/>
                  <a:gd name="connsiteX65" fmla="*/ 862013 w 1721644"/>
                  <a:gd name="connsiteY65" fmla="*/ 0 h 1145381"/>
                  <a:gd name="connsiteX66" fmla="*/ 814388 w 1721644"/>
                  <a:gd name="connsiteY66" fmla="*/ 4762 h 1145381"/>
                  <a:gd name="connsiteX67" fmla="*/ 807244 w 1721644"/>
                  <a:gd name="connsiteY67" fmla="*/ 33337 h 1145381"/>
                  <a:gd name="connsiteX68" fmla="*/ 735807 w 1721644"/>
                  <a:gd name="connsiteY68" fmla="*/ 14287 h 1145381"/>
                  <a:gd name="connsiteX69" fmla="*/ 676275 w 1721644"/>
                  <a:gd name="connsiteY69" fmla="*/ 52387 h 1145381"/>
                  <a:gd name="connsiteX70" fmla="*/ 635794 w 1721644"/>
                  <a:gd name="connsiteY70" fmla="*/ 85725 h 1145381"/>
                  <a:gd name="connsiteX71" fmla="*/ 661988 w 1721644"/>
                  <a:gd name="connsiteY71" fmla="*/ 159544 h 1145381"/>
                  <a:gd name="connsiteX72" fmla="*/ 685800 w 1721644"/>
                  <a:gd name="connsiteY72" fmla="*/ 254794 h 1145381"/>
                  <a:gd name="connsiteX73" fmla="*/ 681038 w 1721644"/>
                  <a:gd name="connsiteY73" fmla="*/ 266700 h 1145381"/>
                  <a:gd name="connsiteX74" fmla="*/ 478632 w 1721644"/>
                  <a:gd name="connsiteY74" fmla="*/ 428625 h 1145381"/>
                  <a:gd name="connsiteX75" fmla="*/ 414338 w 1721644"/>
                  <a:gd name="connsiteY75" fmla="*/ 376237 h 1145381"/>
                  <a:gd name="connsiteX76" fmla="*/ 371475 w 1721644"/>
                  <a:gd name="connsiteY76" fmla="*/ 433387 h 1145381"/>
                  <a:gd name="connsiteX77" fmla="*/ 152400 w 1721644"/>
                  <a:gd name="connsiteY77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52388 w 1721644"/>
                  <a:gd name="connsiteY4" fmla="*/ 697706 h 1145381"/>
                  <a:gd name="connsiteX5" fmla="*/ 54769 w 1721644"/>
                  <a:gd name="connsiteY5" fmla="*/ 857250 h 1145381"/>
                  <a:gd name="connsiteX6" fmla="*/ 133350 w 1721644"/>
                  <a:gd name="connsiteY6" fmla="*/ 857250 h 1145381"/>
                  <a:gd name="connsiteX7" fmla="*/ 169070 w 1721644"/>
                  <a:gd name="connsiteY7" fmla="*/ 881062 h 1145381"/>
                  <a:gd name="connsiteX8" fmla="*/ 207169 w 1721644"/>
                  <a:gd name="connsiteY8" fmla="*/ 938212 h 1145381"/>
                  <a:gd name="connsiteX9" fmla="*/ 307182 w 1721644"/>
                  <a:gd name="connsiteY9" fmla="*/ 933450 h 1145381"/>
                  <a:gd name="connsiteX10" fmla="*/ 347663 w 1721644"/>
                  <a:gd name="connsiteY10" fmla="*/ 1000125 h 1145381"/>
                  <a:gd name="connsiteX11" fmla="*/ 438150 w 1721644"/>
                  <a:gd name="connsiteY11" fmla="*/ 1050131 h 1145381"/>
                  <a:gd name="connsiteX12" fmla="*/ 542925 w 1721644"/>
                  <a:gd name="connsiteY12" fmla="*/ 1035844 h 1145381"/>
                  <a:gd name="connsiteX13" fmla="*/ 557213 w 1721644"/>
                  <a:gd name="connsiteY13" fmla="*/ 1050131 h 1145381"/>
                  <a:gd name="connsiteX14" fmla="*/ 597694 w 1721644"/>
                  <a:gd name="connsiteY14" fmla="*/ 1014412 h 1145381"/>
                  <a:gd name="connsiteX15" fmla="*/ 621507 w 1721644"/>
                  <a:gd name="connsiteY15" fmla="*/ 990600 h 1145381"/>
                  <a:gd name="connsiteX16" fmla="*/ 633413 w 1721644"/>
                  <a:gd name="connsiteY16" fmla="*/ 954881 h 1145381"/>
                  <a:gd name="connsiteX17" fmla="*/ 671513 w 1721644"/>
                  <a:gd name="connsiteY17" fmla="*/ 940594 h 1145381"/>
                  <a:gd name="connsiteX18" fmla="*/ 711994 w 1721644"/>
                  <a:gd name="connsiteY18" fmla="*/ 969169 h 1145381"/>
                  <a:gd name="connsiteX19" fmla="*/ 728663 w 1721644"/>
                  <a:gd name="connsiteY19" fmla="*/ 1004887 h 1145381"/>
                  <a:gd name="connsiteX20" fmla="*/ 762000 w 1721644"/>
                  <a:gd name="connsiteY20" fmla="*/ 1038225 h 1145381"/>
                  <a:gd name="connsiteX21" fmla="*/ 835819 w 1721644"/>
                  <a:gd name="connsiteY21" fmla="*/ 1035844 h 1145381"/>
                  <a:gd name="connsiteX22" fmla="*/ 871538 w 1721644"/>
                  <a:gd name="connsiteY22" fmla="*/ 1071562 h 1145381"/>
                  <a:gd name="connsiteX23" fmla="*/ 883444 w 1721644"/>
                  <a:gd name="connsiteY23" fmla="*/ 1131094 h 1145381"/>
                  <a:gd name="connsiteX24" fmla="*/ 916782 w 1721644"/>
                  <a:gd name="connsiteY24" fmla="*/ 1116806 h 1145381"/>
                  <a:gd name="connsiteX25" fmla="*/ 990600 w 1721644"/>
                  <a:gd name="connsiteY25" fmla="*/ 1131094 h 1145381"/>
                  <a:gd name="connsiteX26" fmla="*/ 1047750 w 1721644"/>
                  <a:gd name="connsiteY26" fmla="*/ 1145381 h 1145381"/>
                  <a:gd name="connsiteX27" fmla="*/ 1095375 w 1721644"/>
                  <a:gd name="connsiteY27" fmla="*/ 1128712 h 1145381"/>
                  <a:gd name="connsiteX28" fmla="*/ 1114425 w 1721644"/>
                  <a:gd name="connsiteY28" fmla="*/ 1045369 h 1145381"/>
                  <a:gd name="connsiteX29" fmla="*/ 1254919 w 1721644"/>
                  <a:gd name="connsiteY29" fmla="*/ 940594 h 1145381"/>
                  <a:gd name="connsiteX30" fmla="*/ 1295400 w 1721644"/>
                  <a:gd name="connsiteY30" fmla="*/ 931069 h 1145381"/>
                  <a:gd name="connsiteX31" fmla="*/ 1307307 w 1721644"/>
                  <a:gd name="connsiteY31" fmla="*/ 983456 h 1145381"/>
                  <a:gd name="connsiteX32" fmla="*/ 1295400 w 1721644"/>
                  <a:gd name="connsiteY32" fmla="*/ 1021556 h 1145381"/>
                  <a:gd name="connsiteX33" fmla="*/ 1376363 w 1721644"/>
                  <a:gd name="connsiteY33" fmla="*/ 1040606 h 1145381"/>
                  <a:gd name="connsiteX34" fmla="*/ 1471613 w 1721644"/>
                  <a:gd name="connsiteY34" fmla="*/ 942975 h 1145381"/>
                  <a:gd name="connsiteX35" fmla="*/ 1497807 w 1721644"/>
                  <a:gd name="connsiteY35" fmla="*/ 890587 h 1145381"/>
                  <a:gd name="connsiteX36" fmla="*/ 1566863 w 1721644"/>
                  <a:gd name="connsiteY36" fmla="*/ 854869 h 1145381"/>
                  <a:gd name="connsiteX37" fmla="*/ 1616869 w 1721644"/>
                  <a:gd name="connsiteY37" fmla="*/ 800100 h 1145381"/>
                  <a:gd name="connsiteX38" fmla="*/ 1676400 w 1721644"/>
                  <a:gd name="connsiteY38" fmla="*/ 788194 h 1145381"/>
                  <a:gd name="connsiteX39" fmla="*/ 1712119 w 1721644"/>
                  <a:gd name="connsiteY39" fmla="*/ 762000 h 1145381"/>
                  <a:gd name="connsiteX40" fmla="*/ 1714500 w 1721644"/>
                  <a:gd name="connsiteY40" fmla="*/ 740569 h 1145381"/>
                  <a:gd name="connsiteX41" fmla="*/ 1678782 w 1721644"/>
                  <a:gd name="connsiteY41" fmla="*/ 711994 h 1145381"/>
                  <a:gd name="connsiteX42" fmla="*/ 1721644 w 1721644"/>
                  <a:gd name="connsiteY42" fmla="*/ 642937 h 1145381"/>
                  <a:gd name="connsiteX43" fmla="*/ 1700213 w 1721644"/>
                  <a:gd name="connsiteY43" fmla="*/ 585787 h 1145381"/>
                  <a:gd name="connsiteX44" fmla="*/ 1714500 w 1721644"/>
                  <a:gd name="connsiteY44" fmla="*/ 523875 h 1145381"/>
                  <a:gd name="connsiteX45" fmla="*/ 1721644 w 1721644"/>
                  <a:gd name="connsiteY45" fmla="*/ 473869 h 1145381"/>
                  <a:gd name="connsiteX46" fmla="*/ 1714500 w 1721644"/>
                  <a:gd name="connsiteY46" fmla="*/ 359569 h 1145381"/>
                  <a:gd name="connsiteX47" fmla="*/ 1702594 w 1721644"/>
                  <a:gd name="connsiteY47" fmla="*/ 314325 h 1145381"/>
                  <a:gd name="connsiteX48" fmla="*/ 1671638 w 1721644"/>
                  <a:gd name="connsiteY48" fmla="*/ 276225 h 1145381"/>
                  <a:gd name="connsiteX49" fmla="*/ 1626394 w 1721644"/>
                  <a:gd name="connsiteY49" fmla="*/ 273844 h 1145381"/>
                  <a:gd name="connsiteX50" fmla="*/ 1521619 w 1721644"/>
                  <a:gd name="connsiteY50" fmla="*/ 259556 h 1145381"/>
                  <a:gd name="connsiteX51" fmla="*/ 1488282 w 1721644"/>
                  <a:gd name="connsiteY51" fmla="*/ 250031 h 1145381"/>
                  <a:gd name="connsiteX52" fmla="*/ 1473994 w 1721644"/>
                  <a:gd name="connsiteY52" fmla="*/ 183356 h 1145381"/>
                  <a:gd name="connsiteX53" fmla="*/ 1388269 w 1721644"/>
                  <a:gd name="connsiteY53" fmla="*/ 207169 h 1145381"/>
                  <a:gd name="connsiteX54" fmla="*/ 1331119 w 1721644"/>
                  <a:gd name="connsiteY54" fmla="*/ 223837 h 1145381"/>
                  <a:gd name="connsiteX55" fmla="*/ 1295400 w 1721644"/>
                  <a:gd name="connsiteY55" fmla="*/ 202406 h 1145381"/>
                  <a:gd name="connsiteX56" fmla="*/ 1214438 w 1721644"/>
                  <a:gd name="connsiteY56" fmla="*/ 111919 h 1145381"/>
                  <a:gd name="connsiteX57" fmla="*/ 1164432 w 1721644"/>
                  <a:gd name="connsiteY57" fmla="*/ 121444 h 1145381"/>
                  <a:gd name="connsiteX58" fmla="*/ 1083469 w 1721644"/>
                  <a:gd name="connsiteY58" fmla="*/ 100012 h 1145381"/>
                  <a:gd name="connsiteX59" fmla="*/ 1050132 w 1721644"/>
                  <a:gd name="connsiteY59" fmla="*/ 83344 h 1145381"/>
                  <a:gd name="connsiteX60" fmla="*/ 995363 w 1721644"/>
                  <a:gd name="connsiteY60" fmla="*/ 135731 h 1145381"/>
                  <a:gd name="connsiteX61" fmla="*/ 966788 w 1721644"/>
                  <a:gd name="connsiteY61" fmla="*/ 107156 h 1145381"/>
                  <a:gd name="connsiteX62" fmla="*/ 940594 w 1721644"/>
                  <a:gd name="connsiteY62" fmla="*/ 76200 h 1145381"/>
                  <a:gd name="connsiteX63" fmla="*/ 895350 w 1721644"/>
                  <a:gd name="connsiteY63" fmla="*/ 59531 h 1145381"/>
                  <a:gd name="connsiteX64" fmla="*/ 897732 w 1721644"/>
                  <a:gd name="connsiteY64" fmla="*/ 14287 h 1145381"/>
                  <a:gd name="connsiteX65" fmla="*/ 862013 w 1721644"/>
                  <a:gd name="connsiteY65" fmla="*/ 0 h 1145381"/>
                  <a:gd name="connsiteX66" fmla="*/ 814388 w 1721644"/>
                  <a:gd name="connsiteY66" fmla="*/ 4762 h 1145381"/>
                  <a:gd name="connsiteX67" fmla="*/ 807244 w 1721644"/>
                  <a:gd name="connsiteY67" fmla="*/ 33337 h 1145381"/>
                  <a:gd name="connsiteX68" fmla="*/ 735807 w 1721644"/>
                  <a:gd name="connsiteY68" fmla="*/ 14287 h 1145381"/>
                  <a:gd name="connsiteX69" fmla="*/ 676275 w 1721644"/>
                  <a:gd name="connsiteY69" fmla="*/ 52387 h 1145381"/>
                  <a:gd name="connsiteX70" fmla="*/ 635794 w 1721644"/>
                  <a:gd name="connsiteY70" fmla="*/ 85725 h 1145381"/>
                  <a:gd name="connsiteX71" fmla="*/ 661988 w 1721644"/>
                  <a:gd name="connsiteY71" fmla="*/ 159544 h 1145381"/>
                  <a:gd name="connsiteX72" fmla="*/ 685800 w 1721644"/>
                  <a:gd name="connsiteY72" fmla="*/ 254794 h 1145381"/>
                  <a:gd name="connsiteX73" fmla="*/ 681038 w 1721644"/>
                  <a:gd name="connsiteY73" fmla="*/ 266700 h 1145381"/>
                  <a:gd name="connsiteX74" fmla="*/ 478632 w 1721644"/>
                  <a:gd name="connsiteY74" fmla="*/ 428625 h 1145381"/>
                  <a:gd name="connsiteX75" fmla="*/ 414338 w 1721644"/>
                  <a:gd name="connsiteY75" fmla="*/ 376237 h 1145381"/>
                  <a:gd name="connsiteX76" fmla="*/ 371475 w 1721644"/>
                  <a:gd name="connsiteY76" fmla="*/ 433387 h 1145381"/>
                  <a:gd name="connsiteX77" fmla="*/ 152400 w 1721644"/>
                  <a:gd name="connsiteY77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52388 w 1721644"/>
                  <a:gd name="connsiteY4" fmla="*/ 697706 h 1145381"/>
                  <a:gd name="connsiteX5" fmla="*/ 54769 w 1721644"/>
                  <a:gd name="connsiteY5" fmla="*/ 857250 h 1145381"/>
                  <a:gd name="connsiteX6" fmla="*/ 133350 w 1721644"/>
                  <a:gd name="connsiteY6" fmla="*/ 857250 h 1145381"/>
                  <a:gd name="connsiteX7" fmla="*/ 169070 w 1721644"/>
                  <a:gd name="connsiteY7" fmla="*/ 881062 h 1145381"/>
                  <a:gd name="connsiteX8" fmla="*/ 207169 w 1721644"/>
                  <a:gd name="connsiteY8" fmla="*/ 938212 h 1145381"/>
                  <a:gd name="connsiteX9" fmla="*/ 307182 w 1721644"/>
                  <a:gd name="connsiteY9" fmla="*/ 933450 h 1145381"/>
                  <a:gd name="connsiteX10" fmla="*/ 347663 w 1721644"/>
                  <a:gd name="connsiteY10" fmla="*/ 1000125 h 1145381"/>
                  <a:gd name="connsiteX11" fmla="*/ 438150 w 1721644"/>
                  <a:gd name="connsiteY11" fmla="*/ 1050131 h 1145381"/>
                  <a:gd name="connsiteX12" fmla="*/ 542925 w 1721644"/>
                  <a:gd name="connsiteY12" fmla="*/ 1035844 h 1145381"/>
                  <a:gd name="connsiteX13" fmla="*/ 557213 w 1721644"/>
                  <a:gd name="connsiteY13" fmla="*/ 1050131 h 1145381"/>
                  <a:gd name="connsiteX14" fmla="*/ 597694 w 1721644"/>
                  <a:gd name="connsiteY14" fmla="*/ 1014412 h 1145381"/>
                  <a:gd name="connsiteX15" fmla="*/ 621507 w 1721644"/>
                  <a:gd name="connsiteY15" fmla="*/ 990600 h 1145381"/>
                  <a:gd name="connsiteX16" fmla="*/ 633413 w 1721644"/>
                  <a:gd name="connsiteY16" fmla="*/ 954881 h 1145381"/>
                  <a:gd name="connsiteX17" fmla="*/ 671513 w 1721644"/>
                  <a:gd name="connsiteY17" fmla="*/ 940594 h 1145381"/>
                  <a:gd name="connsiteX18" fmla="*/ 711994 w 1721644"/>
                  <a:gd name="connsiteY18" fmla="*/ 969169 h 1145381"/>
                  <a:gd name="connsiteX19" fmla="*/ 728663 w 1721644"/>
                  <a:gd name="connsiteY19" fmla="*/ 1004887 h 1145381"/>
                  <a:gd name="connsiteX20" fmla="*/ 762000 w 1721644"/>
                  <a:gd name="connsiteY20" fmla="*/ 1038225 h 1145381"/>
                  <a:gd name="connsiteX21" fmla="*/ 835819 w 1721644"/>
                  <a:gd name="connsiteY21" fmla="*/ 1035844 h 1145381"/>
                  <a:gd name="connsiteX22" fmla="*/ 871538 w 1721644"/>
                  <a:gd name="connsiteY22" fmla="*/ 1071562 h 1145381"/>
                  <a:gd name="connsiteX23" fmla="*/ 883444 w 1721644"/>
                  <a:gd name="connsiteY23" fmla="*/ 1131094 h 1145381"/>
                  <a:gd name="connsiteX24" fmla="*/ 916782 w 1721644"/>
                  <a:gd name="connsiteY24" fmla="*/ 1116806 h 1145381"/>
                  <a:gd name="connsiteX25" fmla="*/ 990600 w 1721644"/>
                  <a:gd name="connsiteY25" fmla="*/ 1131094 h 1145381"/>
                  <a:gd name="connsiteX26" fmla="*/ 1047750 w 1721644"/>
                  <a:gd name="connsiteY26" fmla="*/ 1145381 h 1145381"/>
                  <a:gd name="connsiteX27" fmla="*/ 1095375 w 1721644"/>
                  <a:gd name="connsiteY27" fmla="*/ 1128712 h 1145381"/>
                  <a:gd name="connsiteX28" fmla="*/ 1114425 w 1721644"/>
                  <a:gd name="connsiteY28" fmla="*/ 1045369 h 1145381"/>
                  <a:gd name="connsiteX29" fmla="*/ 1254919 w 1721644"/>
                  <a:gd name="connsiteY29" fmla="*/ 940594 h 1145381"/>
                  <a:gd name="connsiteX30" fmla="*/ 1295400 w 1721644"/>
                  <a:gd name="connsiteY30" fmla="*/ 931069 h 1145381"/>
                  <a:gd name="connsiteX31" fmla="*/ 1307307 w 1721644"/>
                  <a:gd name="connsiteY31" fmla="*/ 983456 h 1145381"/>
                  <a:gd name="connsiteX32" fmla="*/ 1295400 w 1721644"/>
                  <a:gd name="connsiteY32" fmla="*/ 1021556 h 1145381"/>
                  <a:gd name="connsiteX33" fmla="*/ 1376363 w 1721644"/>
                  <a:gd name="connsiteY33" fmla="*/ 1040606 h 1145381"/>
                  <a:gd name="connsiteX34" fmla="*/ 1471613 w 1721644"/>
                  <a:gd name="connsiteY34" fmla="*/ 942975 h 1145381"/>
                  <a:gd name="connsiteX35" fmla="*/ 1497807 w 1721644"/>
                  <a:gd name="connsiteY35" fmla="*/ 890587 h 1145381"/>
                  <a:gd name="connsiteX36" fmla="*/ 1566863 w 1721644"/>
                  <a:gd name="connsiteY36" fmla="*/ 854869 h 1145381"/>
                  <a:gd name="connsiteX37" fmla="*/ 1616869 w 1721644"/>
                  <a:gd name="connsiteY37" fmla="*/ 800100 h 1145381"/>
                  <a:gd name="connsiteX38" fmla="*/ 1676400 w 1721644"/>
                  <a:gd name="connsiteY38" fmla="*/ 788194 h 1145381"/>
                  <a:gd name="connsiteX39" fmla="*/ 1712119 w 1721644"/>
                  <a:gd name="connsiteY39" fmla="*/ 762000 h 1145381"/>
                  <a:gd name="connsiteX40" fmla="*/ 1714500 w 1721644"/>
                  <a:gd name="connsiteY40" fmla="*/ 740569 h 1145381"/>
                  <a:gd name="connsiteX41" fmla="*/ 1678782 w 1721644"/>
                  <a:gd name="connsiteY41" fmla="*/ 711994 h 1145381"/>
                  <a:gd name="connsiteX42" fmla="*/ 1721644 w 1721644"/>
                  <a:gd name="connsiteY42" fmla="*/ 642937 h 1145381"/>
                  <a:gd name="connsiteX43" fmla="*/ 1700213 w 1721644"/>
                  <a:gd name="connsiteY43" fmla="*/ 585787 h 1145381"/>
                  <a:gd name="connsiteX44" fmla="*/ 1714500 w 1721644"/>
                  <a:gd name="connsiteY44" fmla="*/ 523875 h 1145381"/>
                  <a:gd name="connsiteX45" fmla="*/ 1721644 w 1721644"/>
                  <a:gd name="connsiteY45" fmla="*/ 473869 h 1145381"/>
                  <a:gd name="connsiteX46" fmla="*/ 1714500 w 1721644"/>
                  <a:gd name="connsiteY46" fmla="*/ 359569 h 1145381"/>
                  <a:gd name="connsiteX47" fmla="*/ 1702594 w 1721644"/>
                  <a:gd name="connsiteY47" fmla="*/ 314325 h 1145381"/>
                  <a:gd name="connsiteX48" fmla="*/ 1671638 w 1721644"/>
                  <a:gd name="connsiteY48" fmla="*/ 276225 h 1145381"/>
                  <a:gd name="connsiteX49" fmla="*/ 1626394 w 1721644"/>
                  <a:gd name="connsiteY49" fmla="*/ 273844 h 1145381"/>
                  <a:gd name="connsiteX50" fmla="*/ 1521619 w 1721644"/>
                  <a:gd name="connsiteY50" fmla="*/ 259556 h 1145381"/>
                  <a:gd name="connsiteX51" fmla="*/ 1488282 w 1721644"/>
                  <a:gd name="connsiteY51" fmla="*/ 250031 h 1145381"/>
                  <a:gd name="connsiteX52" fmla="*/ 1473994 w 1721644"/>
                  <a:gd name="connsiteY52" fmla="*/ 183356 h 1145381"/>
                  <a:gd name="connsiteX53" fmla="*/ 1388269 w 1721644"/>
                  <a:gd name="connsiteY53" fmla="*/ 207169 h 1145381"/>
                  <a:gd name="connsiteX54" fmla="*/ 1331119 w 1721644"/>
                  <a:gd name="connsiteY54" fmla="*/ 223837 h 1145381"/>
                  <a:gd name="connsiteX55" fmla="*/ 1295400 w 1721644"/>
                  <a:gd name="connsiteY55" fmla="*/ 202406 h 1145381"/>
                  <a:gd name="connsiteX56" fmla="*/ 1214438 w 1721644"/>
                  <a:gd name="connsiteY56" fmla="*/ 111919 h 1145381"/>
                  <a:gd name="connsiteX57" fmla="*/ 1164432 w 1721644"/>
                  <a:gd name="connsiteY57" fmla="*/ 121444 h 1145381"/>
                  <a:gd name="connsiteX58" fmla="*/ 1083469 w 1721644"/>
                  <a:gd name="connsiteY58" fmla="*/ 100012 h 1145381"/>
                  <a:gd name="connsiteX59" fmla="*/ 1050132 w 1721644"/>
                  <a:gd name="connsiteY59" fmla="*/ 83344 h 1145381"/>
                  <a:gd name="connsiteX60" fmla="*/ 995363 w 1721644"/>
                  <a:gd name="connsiteY60" fmla="*/ 135731 h 1145381"/>
                  <a:gd name="connsiteX61" fmla="*/ 966788 w 1721644"/>
                  <a:gd name="connsiteY61" fmla="*/ 107156 h 1145381"/>
                  <a:gd name="connsiteX62" fmla="*/ 940594 w 1721644"/>
                  <a:gd name="connsiteY62" fmla="*/ 76200 h 1145381"/>
                  <a:gd name="connsiteX63" fmla="*/ 895350 w 1721644"/>
                  <a:gd name="connsiteY63" fmla="*/ 59531 h 1145381"/>
                  <a:gd name="connsiteX64" fmla="*/ 897732 w 1721644"/>
                  <a:gd name="connsiteY64" fmla="*/ 14287 h 1145381"/>
                  <a:gd name="connsiteX65" fmla="*/ 862013 w 1721644"/>
                  <a:gd name="connsiteY65" fmla="*/ 0 h 1145381"/>
                  <a:gd name="connsiteX66" fmla="*/ 814388 w 1721644"/>
                  <a:gd name="connsiteY66" fmla="*/ 4762 h 1145381"/>
                  <a:gd name="connsiteX67" fmla="*/ 800100 w 1721644"/>
                  <a:gd name="connsiteY67" fmla="*/ 23812 h 1145381"/>
                  <a:gd name="connsiteX68" fmla="*/ 735807 w 1721644"/>
                  <a:gd name="connsiteY68" fmla="*/ 14287 h 1145381"/>
                  <a:gd name="connsiteX69" fmla="*/ 676275 w 1721644"/>
                  <a:gd name="connsiteY69" fmla="*/ 52387 h 1145381"/>
                  <a:gd name="connsiteX70" fmla="*/ 635794 w 1721644"/>
                  <a:gd name="connsiteY70" fmla="*/ 85725 h 1145381"/>
                  <a:gd name="connsiteX71" fmla="*/ 661988 w 1721644"/>
                  <a:gd name="connsiteY71" fmla="*/ 159544 h 1145381"/>
                  <a:gd name="connsiteX72" fmla="*/ 685800 w 1721644"/>
                  <a:gd name="connsiteY72" fmla="*/ 254794 h 1145381"/>
                  <a:gd name="connsiteX73" fmla="*/ 681038 w 1721644"/>
                  <a:gd name="connsiteY73" fmla="*/ 266700 h 1145381"/>
                  <a:gd name="connsiteX74" fmla="*/ 478632 w 1721644"/>
                  <a:gd name="connsiteY74" fmla="*/ 428625 h 1145381"/>
                  <a:gd name="connsiteX75" fmla="*/ 414338 w 1721644"/>
                  <a:gd name="connsiteY75" fmla="*/ 376237 h 1145381"/>
                  <a:gd name="connsiteX76" fmla="*/ 371475 w 1721644"/>
                  <a:gd name="connsiteY76" fmla="*/ 433387 h 1145381"/>
                  <a:gd name="connsiteX77" fmla="*/ 152400 w 1721644"/>
                  <a:gd name="connsiteY77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52388 w 1721644"/>
                  <a:gd name="connsiteY4" fmla="*/ 697706 h 1145381"/>
                  <a:gd name="connsiteX5" fmla="*/ 52388 w 1721644"/>
                  <a:gd name="connsiteY5" fmla="*/ 757237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47663 w 1721644"/>
                  <a:gd name="connsiteY11" fmla="*/ 1000125 h 1145381"/>
                  <a:gd name="connsiteX12" fmla="*/ 438150 w 1721644"/>
                  <a:gd name="connsiteY12" fmla="*/ 1050131 h 1145381"/>
                  <a:gd name="connsiteX13" fmla="*/ 542925 w 1721644"/>
                  <a:gd name="connsiteY13" fmla="*/ 1035844 h 1145381"/>
                  <a:gd name="connsiteX14" fmla="*/ 557213 w 1721644"/>
                  <a:gd name="connsiteY14" fmla="*/ 1050131 h 1145381"/>
                  <a:gd name="connsiteX15" fmla="*/ 597694 w 1721644"/>
                  <a:gd name="connsiteY15" fmla="*/ 1014412 h 1145381"/>
                  <a:gd name="connsiteX16" fmla="*/ 621507 w 1721644"/>
                  <a:gd name="connsiteY16" fmla="*/ 990600 h 1145381"/>
                  <a:gd name="connsiteX17" fmla="*/ 633413 w 1721644"/>
                  <a:gd name="connsiteY17" fmla="*/ 954881 h 1145381"/>
                  <a:gd name="connsiteX18" fmla="*/ 671513 w 1721644"/>
                  <a:gd name="connsiteY18" fmla="*/ 940594 h 1145381"/>
                  <a:gd name="connsiteX19" fmla="*/ 711994 w 1721644"/>
                  <a:gd name="connsiteY19" fmla="*/ 969169 h 1145381"/>
                  <a:gd name="connsiteX20" fmla="*/ 728663 w 1721644"/>
                  <a:gd name="connsiteY20" fmla="*/ 1004887 h 1145381"/>
                  <a:gd name="connsiteX21" fmla="*/ 762000 w 1721644"/>
                  <a:gd name="connsiteY21" fmla="*/ 1038225 h 1145381"/>
                  <a:gd name="connsiteX22" fmla="*/ 835819 w 1721644"/>
                  <a:gd name="connsiteY22" fmla="*/ 1035844 h 1145381"/>
                  <a:gd name="connsiteX23" fmla="*/ 871538 w 1721644"/>
                  <a:gd name="connsiteY23" fmla="*/ 1071562 h 1145381"/>
                  <a:gd name="connsiteX24" fmla="*/ 883444 w 1721644"/>
                  <a:gd name="connsiteY24" fmla="*/ 1131094 h 1145381"/>
                  <a:gd name="connsiteX25" fmla="*/ 916782 w 1721644"/>
                  <a:gd name="connsiteY25" fmla="*/ 1116806 h 1145381"/>
                  <a:gd name="connsiteX26" fmla="*/ 990600 w 1721644"/>
                  <a:gd name="connsiteY26" fmla="*/ 1131094 h 1145381"/>
                  <a:gd name="connsiteX27" fmla="*/ 1047750 w 1721644"/>
                  <a:gd name="connsiteY27" fmla="*/ 1145381 h 1145381"/>
                  <a:gd name="connsiteX28" fmla="*/ 1095375 w 1721644"/>
                  <a:gd name="connsiteY28" fmla="*/ 1128712 h 1145381"/>
                  <a:gd name="connsiteX29" fmla="*/ 1114425 w 1721644"/>
                  <a:gd name="connsiteY29" fmla="*/ 1045369 h 1145381"/>
                  <a:gd name="connsiteX30" fmla="*/ 1254919 w 1721644"/>
                  <a:gd name="connsiteY30" fmla="*/ 940594 h 1145381"/>
                  <a:gd name="connsiteX31" fmla="*/ 1295400 w 1721644"/>
                  <a:gd name="connsiteY31" fmla="*/ 931069 h 1145381"/>
                  <a:gd name="connsiteX32" fmla="*/ 1307307 w 1721644"/>
                  <a:gd name="connsiteY32" fmla="*/ 983456 h 1145381"/>
                  <a:gd name="connsiteX33" fmla="*/ 1295400 w 1721644"/>
                  <a:gd name="connsiteY33" fmla="*/ 1021556 h 1145381"/>
                  <a:gd name="connsiteX34" fmla="*/ 1376363 w 1721644"/>
                  <a:gd name="connsiteY34" fmla="*/ 1040606 h 1145381"/>
                  <a:gd name="connsiteX35" fmla="*/ 1471613 w 1721644"/>
                  <a:gd name="connsiteY35" fmla="*/ 942975 h 1145381"/>
                  <a:gd name="connsiteX36" fmla="*/ 1497807 w 1721644"/>
                  <a:gd name="connsiteY36" fmla="*/ 890587 h 1145381"/>
                  <a:gd name="connsiteX37" fmla="*/ 1566863 w 1721644"/>
                  <a:gd name="connsiteY37" fmla="*/ 854869 h 1145381"/>
                  <a:gd name="connsiteX38" fmla="*/ 1616869 w 1721644"/>
                  <a:gd name="connsiteY38" fmla="*/ 800100 h 1145381"/>
                  <a:gd name="connsiteX39" fmla="*/ 1676400 w 1721644"/>
                  <a:gd name="connsiteY39" fmla="*/ 788194 h 1145381"/>
                  <a:gd name="connsiteX40" fmla="*/ 1712119 w 1721644"/>
                  <a:gd name="connsiteY40" fmla="*/ 762000 h 1145381"/>
                  <a:gd name="connsiteX41" fmla="*/ 1714500 w 1721644"/>
                  <a:gd name="connsiteY41" fmla="*/ 740569 h 1145381"/>
                  <a:gd name="connsiteX42" fmla="*/ 1678782 w 1721644"/>
                  <a:gd name="connsiteY42" fmla="*/ 711994 h 1145381"/>
                  <a:gd name="connsiteX43" fmla="*/ 1721644 w 1721644"/>
                  <a:gd name="connsiteY43" fmla="*/ 642937 h 1145381"/>
                  <a:gd name="connsiteX44" fmla="*/ 1700213 w 1721644"/>
                  <a:gd name="connsiteY44" fmla="*/ 585787 h 1145381"/>
                  <a:gd name="connsiteX45" fmla="*/ 1714500 w 1721644"/>
                  <a:gd name="connsiteY45" fmla="*/ 523875 h 1145381"/>
                  <a:gd name="connsiteX46" fmla="*/ 1721644 w 1721644"/>
                  <a:gd name="connsiteY46" fmla="*/ 473869 h 1145381"/>
                  <a:gd name="connsiteX47" fmla="*/ 1714500 w 1721644"/>
                  <a:gd name="connsiteY47" fmla="*/ 359569 h 1145381"/>
                  <a:gd name="connsiteX48" fmla="*/ 1702594 w 1721644"/>
                  <a:gd name="connsiteY48" fmla="*/ 314325 h 1145381"/>
                  <a:gd name="connsiteX49" fmla="*/ 1671638 w 1721644"/>
                  <a:gd name="connsiteY49" fmla="*/ 276225 h 1145381"/>
                  <a:gd name="connsiteX50" fmla="*/ 1626394 w 1721644"/>
                  <a:gd name="connsiteY50" fmla="*/ 273844 h 1145381"/>
                  <a:gd name="connsiteX51" fmla="*/ 1521619 w 1721644"/>
                  <a:gd name="connsiteY51" fmla="*/ 259556 h 1145381"/>
                  <a:gd name="connsiteX52" fmla="*/ 1488282 w 1721644"/>
                  <a:gd name="connsiteY52" fmla="*/ 250031 h 1145381"/>
                  <a:gd name="connsiteX53" fmla="*/ 1473994 w 1721644"/>
                  <a:gd name="connsiteY53" fmla="*/ 183356 h 1145381"/>
                  <a:gd name="connsiteX54" fmla="*/ 1388269 w 1721644"/>
                  <a:gd name="connsiteY54" fmla="*/ 207169 h 1145381"/>
                  <a:gd name="connsiteX55" fmla="*/ 1331119 w 1721644"/>
                  <a:gd name="connsiteY55" fmla="*/ 223837 h 1145381"/>
                  <a:gd name="connsiteX56" fmla="*/ 1295400 w 1721644"/>
                  <a:gd name="connsiteY56" fmla="*/ 202406 h 1145381"/>
                  <a:gd name="connsiteX57" fmla="*/ 1214438 w 1721644"/>
                  <a:gd name="connsiteY57" fmla="*/ 111919 h 1145381"/>
                  <a:gd name="connsiteX58" fmla="*/ 1164432 w 1721644"/>
                  <a:gd name="connsiteY58" fmla="*/ 121444 h 1145381"/>
                  <a:gd name="connsiteX59" fmla="*/ 1083469 w 1721644"/>
                  <a:gd name="connsiteY59" fmla="*/ 100012 h 1145381"/>
                  <a:gd name="connsiteX60" fmla="*/ 1050132 w 1721644"/>
                  <a:gd name="connsiteY60" fmla="*/ 83344 h 1145381"/>
                  <a:gd name="connsiteX61" fmla="*/ 995363 w 1721644"/>
                  <a:gd name="connsiteY61" fmla="*/ 135731 h 1145381"/>
                  <a:gd name="connsiteX62" fmla="*/ 966788 w 1721644"/>
                  <a:gd name="connsiteY62" fmla="*/ 107156 h 1145381"/>
                  <a:gd name="connsiteX63" fmla="*/ 940594 w 1721644"/>
                  <a:gd name="connsiteY63" fmla="*/ 76200 h 1145381"/>
                  <a:gd name="connsiteX64" fmla="*/ 895350 w 1721644"/>
                  <a:gd name="connsiteY64" fmla="*/ 59531 h 1145381"/>
                  <a:gd name="connsiteX65" fmla="*/ 897732 w 1721644"/>
                  <a:gd name="connsiteY65" fmla="*/ 14287 h 1145381"/>
                  <a:gd name="connsiteX66" fmla="*/ 862013 w 1721644"/>
                  <a:gd name="connsiteY66" fmla="*/ 0 h 1145381"/>
                  <a:gd name="connsiteX67" fmla="*/ 814388 w 1721644"/>
                  <a:gd name="connsiteY67" fmla="*/ 4762 h 1145381"/>
                  <a:gd name="connsiteX68" fmla="*/ 800100 w 1721644"/>
                  <a:gd name="connsiteY68" fmla="*/ 23812 h 1145381"/>
                  <a:gd name="connsiteX69" fmla="*/ 735807 w 1721644"/>
                  <a:gd name="connsiteY69" fmla="*/ 14287 h 1145381"/>
                  <a:gd name="connsiteX70" fmla="*/ 676275 w 1721644"/>
                  <a:gd name="connsiteY70" fmla="*/ 52387 h 1145381"/>
                  <a:gd name="connsiteX71" fmla="*/ 635794 w 1721644"/>
                  <a:gd name="connsiteY71" fmla="*/ 85725 h 1145381"/>
                  <a:gd name="connsiteX72" fmla="*/ 661988 w 1721644"/>
                  <a:gd name="connsiteY72" fmla="*/ 159544 h 1145381"/>
                  <a:gd name="connsiteX73" fmla="*/ 685800 w 1721644"/>
                  <a:gd name="connsiteY73" fmla="*/ 254794 h 1145381"/>
                  <a:gd name="connsiteX74" fmla="*/ 681038 w 1721644"/>
                  <a:gd name="connsiteY74" fmla="*/ 266700 h 1145381"/>
                  <a:gd name="connsiteX75" fmla="*/ 478632 w 1721644"/>
                  <a:gd name="connsiteY75" fmla="*/ 428625 h 1145381"/>
                  <a:gd name="connsiteX76" fmla="*/ 414338 w 1721644"/>
                  <a:gd name="connsiteY76" fmla="*/ 376237 h 1145381"/>
                  <a:gd name="connsiteX77" fmla="*/ 371475 w 1721644"/>
                  <a:gd name="connsiteY77" fmla="*/ 433387 h 1145381"/>
                  <a:gd name="connsiteX78" fmla="*/ 152400 w 1721644"/>
                  <a:gd name="connsiteY78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52388 w 1721644"/>
                  <a:gd name="connsiteY4" fmla="*/ 697706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47663 w 1721644"/>
                  <a:gd name="connsiteY11" fmla="*/ 1000125 h 1145381"/>
                  <a:gd name="connsiteX12" fmla="*/ 438150 w 1721644"/>
                  <a:gd name="connsiteY12" fmla="*/ 1050131 h 1145381"/>
                  <a:gd name="connsiteX13" fmla="*/ 542925 w 1721644"/>
                  <a:gd name="connsiteY13" fmla="*/ 1035844 h 1145381"/>
                  <a:gd name="connsiteX14" fmla="*/ 557213 w 1721644"/>
                  <a:gd name="connsiteY14" fmla="*/ 1050131 h 1145381"/>
                  <a:gd name="connsiteX15" fmla="*/ 597694 w 1721644"/>
                  <a:gd name="connsiteY15" fmla="*/ 1014412 h 1145381"/>
                  <a:gd name="connsiteX16" fmla="*/ 621507 w 1721644"/>
                  <a:gd name="connsiteY16" fmla="*/ 990600 h 1145381"/>
                  <a:gd name="connsiteX17" fmla="*/ 633413 w 1721644"/>
                  <a:gd name="connsiteY17" fmla="*/ 954881 h 1145381"/>
                  <a:gd name="connsiteX18" fmla="*/ 671513 w 1721644"/>
                  <a:gd name="connsiteY18" fmla="*/ 940594 h 1145381"/>
                  <a:gd name="connsiteX19" fmla="*/ 711994 w 1721644"/>
                  <a:gd name="connsiteY19" fmla="*/ 969169 h 1145381"/>
                  <a:gd name="connsiteX20" fmla="*/ 728663 w 1721644"/>
                  <a:gd name="connsiteY20" fmla="*/ 1004887 h 1145381"/>
                  <a:gd name="connsiteX21" fmla="*/ 762000 w 1721644"/>
                  <a:gd name="connsiteY21" fmla="*/ 1038225 h 1145381"/>
                  <a:gd name="connsiteX22" fmla="*/ 835819 w 1721644"/>
                  <a:gd name="connsiteY22" fmla="*/ 1035844 h 1145381"/>
                  <a:gd name="connsiteX23" fmla="*/ 871538 w 1721644"/>
                  <a:gd name="connsiteY23" fmla="*/ 1071562 h 1145381"/>
                  <a:gd name="connsiteX24" fmla="*/ 883444 w 1721644"/>
                  <a:gd name="connsiteY24" fmla="*/ 1131094 h 1145381"/>
                  <a:gd name="connsiteX25" fmla="*/ 916782 w 1721644"/>
                  <a:gd name="connsiteY25" fmla="*/ 1116806 h 1145381"/>
                  <a:gd name="connsiteX26" fmla="*/ 990600 w 1721644"/>
                  <a:gd name="connsiteY26" fmla="*/ 1131094 h 1145381"/>
                  <a:gd name="connsiteX27" fmla="*/ 1047750 w 1721644"/>
                  <a:gd name="connsiteY27" fmla="*/ 1145381 h 1145381"/>
                  <a:gd name="connsiteX28" fmla="*/ 1095375 w 1721644"/>
                  <a:gd name="connsiteY28" fmla="*/ 1128712 h 1145381"/>
                  <a:gd name="connsiteX29" fmla="*/ 1114425 w 1721644"/>
                  <a:gd name="connsiteY29" fmla="*/ 1045369 h 1145381"/>
                  <a:gd name="connsiteX30" fmla="*/ 1254919 w 1721644"/>
                  <a:gd name="connsiteY30" fmla="*/ 940594 h 1145381"/>
                  <a:gd name="connsiteX31" fmla="*/ 1295400 w 1721644"/>
                  <a:gd name="connsiteY31" fmla="*/ 931069 h 1145381"/>
                  <a:gd name="connsiteX32" fmla="*/ 1307307 w 1721644"/>
                  <a:gd name="connsiteY32" fmla="*/ 983456 h 1145381"/>
                  <a:gd name="connsiteX33" fmla="*/ 1295400 w 1721644"/>
                  <a:gd name="connsiteY33" fmla="*/ 1021556 h 1145381"/>
                  <a:gd name="connsiteX34" fmla="*/ 1376363 w 1721644"/>
                  <a:gd name="connsiteY34" fmla="*/ 1040606 h 1145381"/>
                  <a:gd name="connsiteX35" fmla="*/ 1471613 w 1721644"/>
                  <a:gd name="connsiteY35" fmla="*/ 942975 h 1145381"/>
                  <a:gd name="connsiteX36" fmla="*/ 1497807 w 1721644"/>
                  <a:gd name="connsiteY36" fmla="*/ 890587 h 1145381"/>
                  <a:gd name="connsiteX37" fmla="*/ 1566863 w 1721644"/>
                  <a:gd name="connsiteY37" fmla="*/ 854869 h 1145381"/>
                  <a:gd name="connsiteX38" fmla="*/ 1616869 w 1721644"/>
                  <a:gd name="connsiteY38" fmla="*/ 800100 h 1145381"/>
                  <a:gd name="connsiteX39" fmla="*/ 1676400 w 1721644"/>
                  <a:gd name="connsiteY39" fmla="*/ 788194 h 1145381"/>
                  <a:gd name="connsiteX40" fmla="*/ 1712119 w 1721644"/>
                  <a:gd name="connsiteY40" fmla="*/ 762000 h 1145381"/>
                  <a:gd name="connsiteX41" fmla="*/ 1714500 w 1721644"/>
                  <a:gd name="connsiteY41" fmla="*/ 740569 h 1145381"/>
                  <a:gd name="connsiteX42" fmla="*/ 1678782 w 1721644"/>
                  <a:gd name="connsiteY42" fmla="*/ 711994 h 1145381"/>
                  <a:gd name="connsiteX43" fmla="*/ 1721644 w 1721644"/>
                  <a:gd name="connsiteY43" fmla="*/ 642937 h 1145381"/>
                  <a:gd name="connsiteX44" fmla="*/ 1700213 w 1721644"/>
                  <a:gd name="connsiteY44" fmla="*/ 585787 h 1145381"/>
                  <a:gd name="connsiteX45" fmla="*/ 1714500 w 1721644"/>
                  <a:gd name="connsiteY45" fmla="*/ 523875 h 1145381"/>
                  <a:gd name="connsiteX46" fmla="*/ 1721644 w 1721644"/>
                  <a:gd name="connsiteY46" fmla="*/ 473869 h 1145381"/>
                  <a:gd name="connsiteX47" fmla="*/ 1714500 w 1721644"/>
                  <a:gd name="connsiteY47" fmla="*/ 359569 h 1145381"/>
                  <a:gd name="connsiteX48" fmla="*/ 1702594 w 1721644"/>
                  <a:gd name="connsiteY48" fmla="*/ 314325 h 1145381"/>
                  <a:gd name="connsiteX49" fmla="*/ 1671638 w 1721644"/>
                  <a:gd name="connsiteY49" fmla="*/ 276225 h 1145381"/>
                  <a:gd name="connsiteX50" fmla="*/ 1626394 w 1721644"/>
                  <a:gd name="connsiteY50" fmla="*/ 273844 h 1145381"/>
                  <a:gd name="connsiteX51" fmla="*/ 1521619 w 1721644"/>
                  <a:gd name="connsiteY51" fmla="*/ 259556 h 1145381"/>
                  <a:gd name="connsiteX52" fmla="*/ 1488282 w 1721644"/>
                  <a:gd name="connsiteY52" fmla="*/ 250031 h 1145381"/>
                  <a:gd name="connsiteX53" fmla="*/ 1473994 w 1721644"/>
                  <a:gd name="connsiteY53" fmla="*/ 183356 h 1145381"/>
                  <a:gd name="connsiteX54" fmla="*/ 1388269 w 1721644"/>
                  <a:gd name="connsiteY54" fmla="*/ 207169 h 1145381"/>
                  <a:gd name="connsiteX55" fmla="*/ 1331119 w 1721644"/>
                  <a:gd name="connsiteY55" fmla="*/ 223837 h 1145381"/>
                  <a:gd name="connsiteX56" fmla="*/ 1295400 w 1721644"/>
                  <a:gd name="connsiteY56" fmla="*/ 202406 h 1145381"/>
                  <a:gd name="connsiteX57" fmla="*/ 1214438 w 1721644"/>
                  <a:gd name="connsiteY57" fmla="*/ 111919 h 1145381"/>
                  <a:gd name="connsiteX58" fmla="*/ 1164432 w 1721644"/>
                  <a:gd name="connsiteY58" fmla="*/ 121444 h 1145381"/>
                  <a:gd name="connsiteX59" fmla="*/ 1083469 w 1721644"/>
                  <a:gd name="connsiteY59" fmla="*/ 100012 h 1145381"/>
                  <a:gd name="connsiteX60" fmla="*/ 1050132 w 1721644"/>
                  <a:gd name="connsiteY60" fmla="*/ 83344 h 1145381"/>
                  <a:gd name="connsiteX61" fmla="*/ 995363 w 1721644"/>
                  <a:gd name="connsiteY61" fmla="*/ 135731 h 1145381"/>
                  <a:gd name="connsiteX62" fmla="*/ 966788 w 1721644"/>
                  <a:gd name="connsiteY62" fmla="*/ 107156 h 1145381"/>
                  <a:gd name="connsiteX63" fmla="*/ 940594 w 1721644"/>
                  <a:gd name="connsiteY63" fmla="*/ 76200 h 1145381"/>
                  <a:gd name="connsiteX64" fmla="*/ 895350 w 1721644"/>
                  <a:gd name="connsiteY64" fmla="*/ 59531 h 1145381"/>
                  <a:gd name="connsiteX65" fmla="*/ 897732 w 1721644"/>
                  <a:gd name="connsiteY65" fmla="*/ 14287 h 1145381"/>
                  <a:gd name="connsiteX66" fmla="*/ 862013 w 1721644"/>
                  <a:gd name="connsiteY66" fmla="*/ 0 h 1145381"/>
                  <a:gd name="connsiteX67" fmla="*/ 814388 w 1721644"/>
                  <a:gd name="connsiteY67" fmla="*/ 4762 h 1145381"/>
                  <a:gd name="connsiteX68" fmla="*/ 800100 w 1721644"/>
                  <a:gd name="connsiteY68" fmla="*/ 23812 h 1145381"/>
                  <a:gd name="connsiteX69" fmla="*/ 735807 w 1721644"/>
                  <a:gd name="connsiteY69" fmla="*/ 14287 h 1145381"/>
                  <a:gd name="connsiteX70" fmla="*/ 676275 w 1721644"/>
                  <a:gd name="connsiteY70" fmla="*/ 52387 h 1145381"/>
                  <a:gd name="connsiteX71" fmla="*/ 635794 w 1721644"/>
                  <a:gd name="connsiteY71" fmla="*/ 85725 h 1145381"/>
                  <a:gd name="connsiteX72" fmla="*/ 661988 w 1721644"/>
                  <a:gd name="connsiteY72" fmla="*/ 159544 h 1145381"/>
                  <a:gd name="connsiteX73" fmla="*/ 685800 w 1721644"/>
                  <a:gd name="connsiteY73" fmla="*/ 254794 h 1145381"/>
                  <a:gd name="connsiteX74" fmla="*/ 681038 w 1721644"/>
                  <a:gd name="connsiteY74" fmla="*/ 266700 h 1145381"/>
                  <a:gd name="connsiteX75" fmla="*/ 478632 w 1721644"/>
                  <a:gd name="connsiteY75" fmla="*/ 428625 h 1145381"/>
                  <a:gd name="connsiteX76" fmla="*/ 414338 w 1721644"/>
                  <a:gd name="connsiteY76" fmla="*/ 376237 h 1145381"/>
                  <a:gd name="connsiteX77" fmla="*/ 371475 w 1721644"/>
                  <a:gd name="connsiteY77" fmla="*/ 433387 h 1145381"/>
                  <a:gd name="connsiteX78" fmla="*/ 152400 w 1721644"/>
                  <a:gd name="connsiteY78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47663 w 1721644"/>
                  <a:gd name="connsiteY11" fmla="*/ 1000125 h 1145381"/>
                  <a:gd name="connsiteX12" fmla="*/ 438150 w 1721644"/>
                  <a:gd name="connsiteY12" fmla="*/ 1050131 h 1145381"/>
                  <a:gd name="connsiteX13" fmla="*/ 542925 w 1721644"/>
                  <a:gd name="connsiteY13" fmla="*/ 1035844 h 1145381"/>
                  <a:gd name="connsiteX14" fmla="*/ 557213 w 1721644"/>
                  <a:gd name="connsiteY14" fmla="*/ 1050131 h 1145381"/>
                  <a:gd name="connsiteX15" fmla="*/ 597694 w 1721644"/>
                  <a:gd name="connsiteY15" fmla="*/ 1014412 h 1145381"/>
                  <a:gd name="connsiteX16" fmla="*/ 621507 w 1721644"/>
                  <a:gd name="connsiteY16" fmla="*/ 990600 h 1145381"/>
                  <a:gd name="connsiteX17" fmla="*/ 633413 w 1721644"/>
                  <a:gd name="connsiteY17" fmla="*/ 954881 h 1145381"/>
                  <a:gd name="connsiteX18" fmla="*/ 671513 w 1721644"/>
                  <a:gd name="connsiteY18" fmla="*/ 940594 h 1145381"/>
                  <a:gd name="connsiteX19" fmla="*/ 711994 w 1721644"/>
                  <a:gd name="connsiteY19" fmla="*/ 969169 h 1145381"/>
                  <a:gd name="connsiteX20" fmla="*/ 728663 w 1721644"/>
                  <a:gd name="connsiteY20" fmla="*/ 1004887 h 1145381"/>
                  <a:gd name="connsiteX21" fmla="*/ 762000 w 1721644"/>
                  <a:gd name="connsiteY21" fmla="*/ 1038225 h 1145381"/>
                  <a:gd name="connsiteX22" fmla="*/ 835819 w 1721644"/>
                  <a:gd name="connsiteY22" fmla="*/ 1035844 h 1145381"/>
                  <a:gd name="connsiteX23" fmla="*/ 871538 w 1721644"/>
                  <a:gd name="connsiteY23" fmla="*/ 1071562 h 1145381"/>
                  <a:gd name="connsiteX24" fmla="*/ 883444 w 1721644"/>
                  <a:gd name="connsiteY24" fmla="*/ 1131094 h 1145381"/>
                  <a:gd name="connsiteX25" fmla="*/ 916782 w 1721644"/>
                  <a:gd name="connsiteY25" fmla="*/ 1116806 h 1145381"/>
                  <a:gd name="connsiteX26" fmla="*/ 990600 w 1721644"/>
                  <a:gd name="connsiteY26" fmla="*/ 1131094 h 1145381"/>
                  <a:gd name="connsiteX27" fmla="*/ 1047750 w 1721644"/>
                  <a:gd name="connsiteY27" fmla="*/ 1145381 h 1145381"/>
                  <a:gd name="connsiteX28" fmla="*/ 1095375 w 1721644"/>
                  <a:gd name="connsiteY28" fmla="*/ 1128712 h 1145381"/>
                  <a:gd name="connsiteX29" fmla="*/ 1114425 w 1721644"/>
                  <a:gd name="connsiteY29" fmla="*/ 1045369 h 1145381"/>
                  <a:gd name="connsiteX30" fmla="*/ 1254919 w 1721644"/>
                  <a:gd name="connsiteY30" fmla="*/ 940594 h 1145381"/>
                  <a:gd name="connsiteX31" fmla="*/ 1295400 w 1721644"/>
                  <a:gd name="connsiteY31" fmla="*/ 931069 h 1145381"/>
                  <a:gd name="connsiteX32" fmla="*/ 1307307 w 1721644"/>
                  <a:gd name="connsiteY32" fmla="*/ 983456 h 1145381"/>
                  <a:gd name="connsiteX33" fmla="*/ 1295400 w 1721644"/>
                  <a:gd name="connsiteY33" fmla="*/ 1021556 h 1145381"/>
                  <a:gd name="connsiteX34" fmla="*/ 1376363 w 1721644"/>
                  <a:gd name="connsiteY34" fmla="*/ 1040606 h 1145381"/>
                  <a:gd name="connsiteX35" fmla="*/ 1471613 w 1721644"/>
                  <a:gd name="connsiteY35" fmla="*/ 942975 h 1145381"/>
                  <a:gd name="connsiteX36" fmla="*/ 1497807 w 1721644"/>
                  <a:gd name="connsiteY36" fmla="*/ 890587 h 1145381"/>
                  <a:gd name="connsiteX37" fmla="*/ 1566863 w 1721644"/>
                  <a:gd name="connsiteY37" fmla="*/ 854869 h 1145381"/>
                  <a:gd name="connsiteX38" fmla="*/ 1616869 w 1721644"/>
                  <a:gd name="connsiteY38" fmla="*/ 800100 h 1145381"/>
                  <a:gd name="connsiteX39" fmla="*/ 1676400 w 1721644"/>
                  <a:gd name="connsiteY39" fmla="*/ 788194 h 1145381"/>
                  <a:gd name="connsiteX40" fmla="*/ 1712119 w 1721644"/>
                  <a:gd name="connsiteY40" fmla="*/ 762000 h 1145381"/>
                  <a:gd name="connsiteX41" fmla="*/ 1714500 w 1721644"/>
                  <a:gd name="connsiteY41" fmla="*/ 740569 h 1145381"/>
                  <a:gd name="connsiteX42" fmla="*/ 1678782 w 1721644"/>
                  <a:gd name="connsiteY42" fmla="*/ 711994 h 1145381"/>
                  <a:gd name="connsiteX43" fmla="*/ 1721644 w 1721644"/>
                  <a:gd name="connsiteY43" fmla="*/ 642937 h 1145381"/>
                  <a:gd name="connsiteX44" fmla="*/ 1700213 w 1721644"/>
                  <a:gd name="connsiteY44" fmla="*/ 585787 h 1145381"/>
                  <a:gd name="connsiteX45" fmla="*/ 1714500 w 1721644"/>
                  <a:gd name="connsiteY45" fmla="*/ 523875 h 1145381"/>
                  <a:gd name="connsiteX46" fmla="*/ 1721644 w 1721644"/>
                  <a:gd name="connsiteY46" fmla="*/ 473869 h 1145381"/>
                  <a:gd name="connsiteX47" fmla="*/ 1714500 w 1721644"/>
                  <a:gd name="connsiteY47" fmla="*/ 359569 h 1145381"/>
                  <a:gd name="connsiteX48" fmla="*/ 1702594 w 1721644"/>
                  <a:gd name="connsiteY48" fmla="*/ 314325 h 1145381"/>
                  <a:gd name="connsiteX49" fmla="*/ 1671638 w 1721644"/>
                  <a:gd name="connsiteY49" fmla="*/ 276225 h 1145381"/>
                  <a:gd name="connsiteX50" fmla="*/ 1626394 w 1721644"/>
                  <a:gd name="connsiteY50" fmla="*/ 273844 h 1145381"/>
                  <a:gd name="connsiteX51" fmla="*/ 1521619 w 1721644"/>
                  <a:gd name="connsiteY51" fmla="*/ 259556 h 1145381"/>
                  <a:gd name="connsiteX52" fmla="*/ 1488282 w 1721644"/>
                  <a:gd name="connsiteY52" fmla="*/ 250031 h 1145381"/>
                  <a:gd name="connsiteX53" fmla="*/ 1473994 w 1721644"/>
                  <a:gd name="connsiteY53" fmla="*/ 183356 h 1145381"/>
                  <a:gd name="connsiteX54" fmla="*/ 1388269 w 1721644"/>
                  <a:gd name="connsiteY54" fmla="*/ 207169 h 1145381"/>
                  <a:gd name="connsiteX55" fmla="*/ 1331119 w 1721644"/>
                  <a:gd name="connsiteY55" fmla="*/ 223837 h 1145381"/>
                  <a:gd name="connsiteX56" fmla="*/ 1295400 w 1721644"/>
                  <a:gd name="connsiteY56" fmla="*/ 202406 h 1145381"/>
                  <a:gd name="connsiteX57" fmla="*/ 1214438 w 1721644"/>
                  <a:gd name="connsiteY57" fmla="*/ 111919 h 1145381"/>
                  <a:gd name="connsiteX58" fmla="*/ 1164432 w 1721644"/>
                  <a:gd name="connsiteY58" fmla="*/ 121444 h 1145381"/>
                  <a:gd name="connsiteX59" fmla="*/ 1083469 w 1721644"/>
                  <a:gd name="connsiteY59" fmla="*/ 100012 h 1145381"/>
                  <a:gd name="connsiteX60" fmla="*/ 1050132 w 1721644"/>
                  <a:gd name="connsiteY60" fmla="*/ 83344 h 1145381"/>
                  <a:gd name="connsiteX61" fmla="*/ 995363 w 1721644"/>
                  <a:gd name="connsiteY61" fmla="*/ 135731 h 1145381"/>
                  <a:gd name="connsiteX62" fmla="*/ 966788 w 1721644"/>
                  <a:gd name="connsiteY62" fmla="*/ 107156 h 1145381"/>
                  <a:gd name="connsiteX63" fmla="*/ 940594 w 1721644"/>
                  <a:gd name="connsiteY63" fmla="*/ 76200 h 1145381"/>
                  <a:gd name="connsiteX64" fmla="*/ 895350 w 1721644"/>
                  <a:gd name="connsiteY64" fmla="*/ 59531 h 1145381"/>
                  <a:gd name="connsiteX65" fmla="*/ 897732 w 1721644"/>
                  <a:gd name="connsiteY65" fmla="*/ 14287 h 1145381"/>
                  <a:gd name="connsiteX66" fmla="*/ 862013 w 1721644"/>
                  <a:gd name="connsiteY66" fmla="*/ 0 h 1145381"/>
                  <a:gd name="connsiteX67" fmla="*/ 814388 w 1721644"/>
                  <a:gd name="connsiteY67" fmla="*/ 4762 h 1145381"/>
                  <a:gd name="connsiteX68" fmla="*/ 800100 w 1721644"/>
                  <a:gd name="connsiteY68" fmla="*/ 23812 h 1145381"/>
                  <a:gd name="connsiteX69" fmla="*/ 735807 w 1721644"/>
                  <a:gd name="connsiteY69" fmla="*/ 14287 h 1145381"/>
                  <a:gd name="connsiteX70" fmla="*/ 676275 w 1721644"/>
                  <a:gd name="connsiteY70" fmla="*/ 52387 h 1145381"/>
                  <a:gd name="connsiteX71" fmla="*/ 635794 w 1721644"/>
                  <a:gd name="connsiteY71" fmla="*/ 85725 h 1145381"/>
                  <a:gd name="connsiteX72" fmla="*/ 661988 w 1721644"/>
                  <a:gd name="connsiteY72" fmla="*/ 159544 h 1145381"/>
                  <a:gd name="connsiteX73" fmla="*/ 685800 w 1721644"/>
                  <a:gd name="connsiteY73" fmla="*/ 254794 h 1145381"/>
                  <a:gd name="connsiteX74" fmla="*/ 681038 w 1721644"/>
                  <a:gd name="connsiteY74" fmla="*/ 266700 h 1145381"/>
                  <a:gd name="connsiteX75" fmla="*/ 478632 w 1721644"/>
                  <a:gd name="connsiteY75" fmla="*/ 428625 h 1145381"/>
                  <a:gd name="connsiteX76" fmla="*/ 414338 w 1721644"/>
                  <a:gd name="connsiteY76" fmla="*/ 376237 h 1145381"/>
                  <a:gd name="connsiteX77" fmla="*/ 371475 w 1721644"/>
                  <a:gd name="connsiteY77" fmla="*/ 433387 h 1145381"/>
                  <a:gd name="connsiteX78" fmla="*/ 152400 w 1721644"/>
                  <a:gd name="connsiteY78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47663 w 1721644"/>
                  <a:gd name="connsiteY11" fmla="*/ 1000125 h 1145381"/>
                  <a:gd name="connsiteX12" fmla="*/ 385763 w 1721644"/>
                  <a:gd name="connsiteY12" fmla="*/ 1016794 h 1145381"/>
                  <a:gd name="connsiteX13" fmla="*/ 438150 w 1721644"/>
                  <a:gd name="connsiteY13" fmla="*/ 1050131 h 1145381"/>
                  <a:gd name="connsiteX14" fmla="*/ 542925 w 1721644"/>
                  <a:gd name="connsiteY14" fmla="*/ 1035844 h 1145381"/>
                  <a:gd name="connsiteX15" fmla="*/ 557213 w 1721644"/>
                  <a:gd name="connsiteY15" fmla="*/ 1050131 h 1145381"/>
                  <a:gd name="connsiteX16" fmla="*/ 597694 w 1721644"/>
                  <a:gd name="connsiteY16" fmla="*/ 1014412 h 1145381"/>
                  <a:gd name="connsiteX17" fmla="*/ 621507 w 1721644"/>
                  <a:gd name="connsiteY17" fmla="*/ 990600 h 1145381"/>
                  <a:gd name="connsiteX18" fmla="*/ 633413 w 1721644"/>
                  <a:gd name="connsiteY18" fmla="*/ 954881 h 1145381"/>
                  <a:gd name="connsiteX19" fmla="*/ 671513 w 1721644"/>
                  <a:gd name="connsiteY19" fmla="*/ 940594 h 1145381"/>
                  <a:gd name="connsiteX20" fmla="*/ 711994 w 1721644"/>
                  <a:gd name="connsiteY20" fmla="*/ 969169 h 1145381"/>
                  <a:gd name="connsiteX21" fmla="*/ 728663 w 1721644"/>
                  <a:gd name="connsiteY21" fmla="*/ 1004887 h 1145381"/>
                  <a:gd name="connsiteX22" fmla="*/ 762000 w 1721644"/>
                  <a:gd name="connsiteY22" fmla="*/ 1038225 h 1145381"/>
                  <a:gd name="connsiteX23" fmla="*/ 835819 w 1721644"/>
                  <a:gd name="connsiteY23" fmla="*/ 1035844 h 1145381"/>
                  <a:gd name="connsiteX24" fmla="*/ 871538 w 1721644"/>
                  <a:gd name="connsiteY24" fmla="*/ 1071562 h 1145381"/>
                  <a:gd name="connsiteX25" fmla="*/ 883444 w 1721644"/>
                  <a:gd name="connsiteY25" fmla="*/ 1131094 h 1145381"/>
                  <a:gd name="connsiteX26" fmla="*/ 916782 w 1721644"/>
                  <a:gd name="connsiteY26" fmla="*/ 1116806 h 1145381"/>
                  <a:gd name="connsiteX27" fmla="*/ 990600 w 1721644"/>
                  <a:gd name="connsiteY27" fmla="*/ 1131094 h 1145381"/>
                  <a:gd name="connsiteX28" fmla="*/ 1047750 w 1721644"/>
                  <a:gd name="connsiteY28" fmla="*/ 1145381 h 1145381"/>
                  <a:gd name="connsiteX29" fmla="*/ 1095375 w 1721644"/>
                  <a:gd name="connsiteY29" fmla="*/ 1128712 h 1145381"/>
                  <a:gd name="connsiteX30" fmla="*/ 1114425 w 1721644"/>
                  <a:gd name="connsiteY30" fmla="*/ 1045369 h 1145381"/>
                  <a:gd name="connsiteX31" fmla="*/ 1254919 w 1721644"/>
                  <a:gd name="connsiteY31" fmla="*/ 940594 h 1145381"/>
                  <a:gd name="connsiteX32" fmla="*/ 1295400 w 1721644"/>
                  <a:gd name="connsiteY32" fmla="*/ 931069 h 1145381"/>
                  <a:gd name="connsiteX33" fmla="*/ 1307307 w 1721644"/>
                  <a:gd name="connsiteY33" fmla="*/ 983456 h 1145381"/>
                  <a:gd name="connsiteX34" fmla="*/ 1295400 w 1721644"/>
                  <a:gd name="connsiteY34" fmla="*/ 1021556 h 1145381"/>
                  <a:gd name="connsiteX35" fmla="*/ 1376363 w 1721644"/>
                  <a:gd name="connsiteY35" fmla="*/ 1040606 h 1145381"/>
                  <a:gd name="connsiteX36" fmla="*/ 1471613 w 1721644"/>
                  <a:gd name="connsiteY36" fmla="*/ 942975 h 1145381"/>
                  <a:gd name="connsiteX37" fmla="*/ 1497807 w 1721644"/>
                  <a:gd name="connsiteY37" fmla="*/ 890587 h 1145381"/>
                  <a:gd name="connsiteX38" fmla="*/ 1566863 w 1721644"/>
                  <a:gd name="connsiteY38" fmla="*/ 854869 h 1145381"/>
                  <a:gd name="connsiteX39" fmla="*/ 1616869 w 1721644"/>
                  <a:gd name="connsiteY39" fmla="*/ 800100 h 1145381"/>
                  <a:gd name="connsiteX40" fmla="*/ 1676400 w 1721644"/>
                  <a:gd name="connsiteY40" fmla="*/ 788194 h 1145381"/>
                  <a:gd name="connsiteX41" fmla="*/ 1712119 w 1721644"/>
                  <a:gd name="connsiteY41" fmla="*/ 762000 h 1145381"/>
                  <a:gd name="connsiteX42" fmla="*/ 1714500 w 1721644"/>
                  <a:gd name="connsiteY42" fmla="*/ 740569 h 1145381"/>
                  <a:gd name="connsiteX43" fmla="*/ 1678782 w 1721644"/>
                  <a:gd name="connsiteY43" fmla="*/ 711994 h 1145381"/>
                  <a:gd name="connsiteX44" fmla="*/ 1721644 w 1721644"/>
                  <a:gd name="connsiteY44" fmla="*/ 642937 h 1145381"/>
                  <a:gd name="connsiteX45" fmla="*/ 1700213 w 1721644"/>
                  <a:gd name="connsiteY45" fmla="*/ 585787 h 1145381"/>
                  <a:gd name="connsiteX46" fmla="*/ 1714500 w 1721644"/>
                  <a:gd name="connsiteY46" fmla="*/ 523875 h 1145381"/>
                  <a:gd name="connsiteX47" fmla="*/ 1721644 w 1721644"/>
                  <a:gd name="connsiteY47" fmla="*/ 473869 h 1145381"/>
                  <a:gd name="connsiteX48" fmla="*/ 1714500 w 1721644"/>
                  <a:gd name="connsiteY48" fmla="*/ 359569 h 1145381"/>
                  <a:gd name="connsiteX49" fmla="*/ 1702594 w 1721644"/>
                  <a:gd name="connsiteY49" fmla="*/ 314325 h 1145381"/>
                  <a:gd name="connsiteX50" fmla="*/ 1671638 w 1721644"/>
                  <a:gd name="connsiteY50" fmla="*/ 276225 h 1145381"/>
                  <a:gd name="connsiteX51" fmla="*/ 1626394 w 1721644"/>
                  <a:gd name="connsiteY51" fmla="*/ 273844 h 1145381"/>
                  <a:gd name="connsiteX52" fmla="*/ 1521619 w 1721644"/>
                  <a:gd name="connsiteY52" fmla="*/ 259556 h 1145381"/>
                  <a:gd name="connsiteX53" fmla="*/ 1488282 w 1721644"/>
                  <a:gd name="connsiteY53" fmla="*/ 250031 h 1145381"/>
                  <a:gd name="connsiteX54" fmla="*/ 1473994 w 1721644"/>
                  <a:gd name="connsiteY54" fmla="*/ 183356 h 1145381"/>
                  <a:gd name="connsiteX55" fmla="*/ 1388269 w 1721644"/>
                  <a:gd name="connsiteY55" fmla="*/ 207169 h 1145381"/>
                  <a:gd name="connsiteX56" fmla="*/ 1331119 w 1721644"/>
                  <a:gd name="connsiteY56" fmla="*/ 223837 h 1145381"/>
                  <a:gd name="connsiteX57" fmla="*/ 1295400 w 1721644"/>
                  <a:gd name="connsiteY57" fmla="*/ 202406 h 1145381"/>
                  <a:gd name="connsiteX58" fmla="*/ 1214438 w 1721644"/>
                  <a:gd name="connsiteY58" fmla="*/ 111919 h 1145381"/>
                  <a:gd name="connsiteX59" fmla="*/ 1164432 w 1721644"/>
                  <a:gd name="connsiteY59" fmla="*/ 121444 h 1145381"/>
                  <a:gd name="connsiteX60" fmla="*/ 1083469 w 1721644"/>
                  <a:gd name="connsiteY60" fmla="*/ 100012 h 1145381"/>
                  <a:gd name="connsiteX61" fmla="*/ 1050132 w 1721644"/>
                  <a:gd name="connsiteY61" fmla="*/ 83344 h 1145381"/>
                  <a:gd name="connsiteX62" fmla="*/ 995363 w 1721644"/>
                  <a:gd name="connsiteY62" fmla="*/ 135731 h 1145381"/>
                  <a:gd name="connsiteX63" fmla="*/ 966788 w 1721644"/>
                  <a:gd name="connsiteY63" fmla="*/ 107156 h 1145381"/>
                  <a:gd name="connsiteX64" fmla="*/ 940594 w 1721644"/>
                  <a:gd name="connsiteY64" fmla="*/ 76200 h 1145381"/>
                  <a:gd name="connsiteX65" fmla="*/ 895350 w 1721644"/>
                  <a:gd name="connsiteY65" fmla="*/ 59531 h 1145381"/>
                  <a:gd name="connsiteX66" fmla="*/ 897732 w 1721644"/>
                  <a:gd name="connsiteY66" fmla="*/ 14287 h 1145381"/>
                  <a:gd name="connsiteX67" fmla="*/ 862013 w 1721644"/>
                  <a:gd name="connsiteY67" fmla="*/ 0 h 1145381"/>
                  <a:gd name="connsiteX68" fmla="*/ 814388 w 1721644"/>
                  <a:gd name="connsiteY68" fmla="*/ 4762 h 1145381"/>
                  <a:gd name="connsiteX69" fmla="*/ 800100 w 1721644"/>
                  <a:gd name="connsiteY69" fmla="*/ 23812 h 1145381"/>
                  <a:gd name="connsiteX70" fmla="*/ 735807 w 1721644"/>
                  <a:gd name="connsiteY70" fmla="*/ 14287 h 1145381"/>
                  <a:gd name="connsiteX71" fmla="*/ 676275 w 1721644"/>
                  <a:gd name="connsiteY71" fmla="*/ 52387 h 1145381"/>
                  <a:gd name="connsiteX72" fmla="*/ 635794 w 1721644"/>
                  <a:gd name="connsiteY72" fmla="*/ 85725 h 1145381"/>
                  <a:gd name="connsiteX73" fmla="*/ 661988 w 1721644"/>
                  <a:gd name="connsiteY73" fmla="*/ 159544 h 1145381"/>
                  <a:gd name="connsiteX74" fmla="*/ 685800 w 1721644"/>
                  <a:gd name="connsiteY74" fmla="*/ 254794 h 1145381"/>
                  <a:gd name="connsiteX75" fmla="*/ 681038 w 1721644"/>
                  <a:gd name="connsiteY75" fmla="*/ 266700 h 1145381"/>
                  <a:gd name="connsiteX76" fmla="*/ 478632 w 1721644"/>
                  <a:gd name="connsiteY76" fmla="*/ 428625 h 1145381"/>
                  <a:gd name="connsiteX77" fmla="*/ 414338 w 1721644"/>
                  <a:gd name="connsiteY77" fmla="*/ 376237 h 1145381"/>
                  <a:gd name="connsiteX78" fmla="*/ 371475 w 1721644"/>
                  <a:gd name="connsiteY78" fmla="*/ 433387 h 1145381"/>
                  <a:gd name="connsiteX79" fmla="*/ 152400 w 1721644"/>
                  <a:gd name="connsiteY79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47663 w 1721644"/>
                  <a:gd name="connsiteY11" fmla="*/ 1000125 h 1145381"/>
                  <a:gd name="connsiteX12" fmla="*/ 376238 w 1721644"/>
                  <a:gd name="connsiteY12" fmla="*/ 1028700 h 1145381"/>
                  <a:gd name="connsiteX13" fmla="*/ 438150 w 1721644"/>
                  <a:gd name="connsiteY13" fmla="*/ 1050131 h 1145381"/>
                  <a:gd name="connsiteX14" fmla="*/ 542925 w 1721644"/>
                  <a:gd name="connsiteY14" fmla="*/ 1035844 h 1145381"/>
                  <a:gd name="connsiteX15" fmla="*/ 557213 w 1721644"/>
                  <a:gd name="connsiteY15" fmla="*/ 1050131 h 1145381"/>
                  <a:gd name="connsiteX16" fmla="*/ 597694 w 1721644"/>
                  <a:gd name="connsiteY16" fmla="*/ 1014412 h 1145381"/>
                  <a:gd name="connsiteX17" fmla="*/ 621507 w 1721644"/>
                  <a:gd name="connsiteY17" fmla="*/ 990600 h 1145381"/>
                  <a:gd name="connsiteX18" fmla="*/ 633413 w 1721644"/>
                  <a:gd name="connsiteY18" fmla="*/ 954881 h 1145381"/>
                  <a:gd name="connsiteX19" fmla="*/ 671513 w 1721644"/>
                  <a:gd name="connsiteY19" fmla="*/ 940594 h 1145381"/>
                  <a:gd name="connsiteX20" fmla="*/ 711994 w 1721644"/>
                  <a:gd name="connsiteY20" fmla="*/ 969169 h 1145381"/>
                  <a:gd name="connsiteX21" fmla="*/ 728663 w 1721644"/>
                  <a:gd name="connsiteY21" fmla="*/ 1004887 h 1145381"/>
                  <a:gd name="connsiteX22" fmla="*/ 762000 w 1721644"/>
                  <a:gd name="connsiteY22" fmla="*/ 1038225 h 1145381"/>
                  <a:gd name="connsiteX23" fmla="*/ 835819 w 1721644"/>
                  <a:gd name="connsiteY23" fmla="*/ 1035844 h 1145381"/>
                  <a:gd name="connsiteX24" fmla="*/ 871538 w 1721644"/>
                  <a:gd name="connsiteY24" fmla="*/ 1071562 h 1145381"/>
                  <a:gd name="connsiteX25" fmla="*/ 883444 w 1721644"/>
                  <a:gd name="connsiteY25" fmla="*/ 1131094 h 1145381"/>
                  <a:gd name="connsiteX26" fmla="*/ 916782 w 1721644"/>
                  <a:gd name="connsiteY26" fmla="*/ 1116806 h 1145381"/>
                  <a:gd name="connsiteX27" fmla="*/ 990600 w 1721644"/>
                  <a:gd name="connsiteY27" fmla="*/ 1131094 h 1145381"/>
                  <a:gd name="connsiteX28" fmla="*/ 1047750 w 1721644"/>
                  <a:gd name="connsiteY28" fmla="*/ 1145381 h 1145381"/>
                  <a:gd name="connsiteX29" fmla="*/ 1095375 w 1721644"/>
                  <a:gd name="connsiteY29" fmla="*/ 1128712 h 1145381"/>
                  <a:gd name="connsiteX30" fmla="*/ 1114425 w 1721644"/>
                  <a:gd name="connsiteY30" fmla="*/ 1045369 h 1145381"/>
                  <a:gd name="connsiteX31" fmla="*/ 1254919 w 1721644"/>
                  <a:gd name="connsiteY31" fmla="*/ 940594 h 1145381"/>
                  <a:gd name="connsiteX32" fmla="*/ 1295400 w 1721644"/>
                  <a:gd name="connsiteY32" fmla="*/ 931069 h 1145381"/>
                  <a:gd name="connsiteX33" fmla="*/ 1307307 w 1721644"/>
                  <a:gd name="connsiteY33" fmla="*/ 983456 h 1145381"/>
                  <a:gd name="connsiteX34" fmla="*/ 1295400 w 1721644"/>
                  <a:gd name="connsiteY34" fmla="*/ 1021556 h 1145381"/>
                  <a:gd name="connsiteX35" fmla="*/ 1376363 w 1721644"/>
                  <a:gd name="connsiteY35" fmla="*/ 1040606 h 1145381"/>
                  <a:gd name="connsiteX36" fmla="*/ 1471613 w 1721644"/>
                  <a:gd name="connsiteY36" fmla="*/ 942975 h 1145381"/>
                  <a:gd name="connsiteX37" fmla="*/ 1497807 w 1721644"/>
                  <a:gd name="connsiteY37" fmla="*/ 890587 h 1145381"/>
                  <a:gd name="connsiteX38" fmla="*/ 1566863 w 1721644"/>
                  <a:gd name="connsiteY38" fmla="*/ 854869 h 1145381"/>
                  <a:gd name="connsiteX39" fmla="*/ 1616869 w 1721644"/>
                  <a:gd name="connsiteY39" fmla="*/ 800100 h 1145381"/>
                  <a:gd name="connsiteX40" fmla="*/ 1676400 w 1721644"/>
                  <a:gd name="connsiteY40" fmla="*/ 788194 h 1145381"/>
                  <a:gd name="connsiteX41" fmla="*/ 1712119 w 1721644"/>
                  <a:gd name="connsiteY41" fmla="*/ 762000 h 1145381"/>
                  <a:gd name="connsiteX42" fmla="*/ 1714500 w 1721644"/>
                  <a:gd name="connsiteY42" fmla="*/ 740569 h 1145381"/>
                  <a:gd name="connsiteX43" fmla="*/ 1678782 w 1721644"/>
                  <a:gd name="connsiteY43" fmla="*/ 711994 h 1145381"/>
                  <a:gd name="connsiteX44" fmla="*/ 1721644 w 1721644"/>
                  <a:gd name="connsiteY44" fmla="*/ 642937 h 1145381"/>
                  <a:gd name="connsiteX45" fmla="*/ 1700213 w 1721644"/>
                  <a:gd name="connsiteY45" fmla="*/ 585787 h 1145381"/>
                  <a:gd name="connsiteX46" fmla="*/ 1714500 w 1721644"/>
                  <a:gd name="connsiteY46" fmla="*/ 523875 h 1145381"/>
                  <a:gd name="connsiteX47" fmla="*/ 1721644 w 1721644"/>
                  <a:gd name="connsiteY47" fmla="*/ 473869 h 1145381"/>
                  <a:gd name="connsiteX48" fmla="*/ 1714500 w 1721644"/>
                  <a:gd name="connsiteY48" fmla="*/ 359569 h 1145381"/>
                  <a:gd name="connsiteX49" fmla="*/ 1702594 w 1721644"/>
                  <a:gd name="connsiteY49" fmla="*/ 314325 h 1145381"/>
                  <a:gd name="connsiteX50" fmla="*/ 1671638 w 1721644"/>
                  <a:gd name="connsiteY50" fmla="*/ 276225 h 1145381"/>
                  <a:gd name="connsiteX51" fmla="*/ 1626394 w 1721644"/>
                  <a:gd name="connsiteY51" fmla="*/ 273844 h 1145381"/>
                  <a:gd name="connsiteX52" fmla="*/ 1521619 w 1721644"/>
                  <a:gd name="connsiteY52" fmla="*/ 259556 h 1145381"/>
                  <a:gd name="connsiteX53" fmla="*/ 1488282 w 1721644"/>
                  <a:gd name="connsiteY53" fmla="*/ 250031 h 1145381"/>
                  <a:gd name="connsiteX54" fmla="*/ 1473994 w 1721644"/>
                  <a:gd name="connsiteY54" fmla="*/ 183356 h 1145381"/>
                  <a:gd name="connsiteX55" fmla="*/ 1388269 w 1721644"/>
                  <a:gd name="connsiteY55" fmla="*/ 207169 h 1145381"/>
                  <a:gd name="connsiteX56" fmla="*/ 1331119 w 1721644"/>
                  <a:gd name="connsiteY56" fmla="*/ 223837 h 1145381"/>
                  <a:gd name="connsiteX57" fmla="*/ 1295400 w 1721644"/>
                  <a:gd name="connsiteY57" fmla="*/ 202406 h 1145381"/>
                  <a:gd name="connsiteX58" fmla="*/ 1214438 w 1721644"/>
                  <a:gd name="connsiteY58" fmla="*/ 111919 h 1145381"/>
                  <a:gd name="connsiteX59" fmla="*/ 1164432 w 1721644"/>
                  <a:gd name="connsiteY59" fmla="*/ 121444 h 1145381"/>
                  <a:gd name="connsiteX60" fmla="*/ 1083469 w 1721644"/>
                  <a:gd name="connsiteY60" fmla="*/ 100012 h 1145381"/>
                  <a:gd name="connsiteX61" fmla="*/ 1050132 w 1721644"/>
                  <a:gd name="connsiteY61" fmla="*/ 83344 h 1145381"/>
                  <a:gd name="connsiteX62" fmla="*/ 995363 w 1721644"/>
                  <a:gd name="connsiteY62" fmla="*/ 135731 h 1145381"/>
                  <a:gd name="connsiteX63" fmla="*/ 966788 w 1721644"/>
                  <a:gd name="connsiteY63" fmla="*/ 107156 h 1145381"/>
                  <a:gd name="connsiteX64" fmla="*/ 940594 w 1721644"/>
                  <a:gd name="connsiteY64" fmla="*/ 76200 h 1145381"/>
                  <a:gd name="connsiteX65" fmla="*/ 895350 w 1721644"/>
                  <a:gd name="connsiteY65" fmla="*/ 59531 h 1145381"/>
                  <a:gd name="connsiteX66" fmla="*/ 897732 w 1721644"/>
                  <a:gd name="connsiteY66" fmla="*/ 14287 h 1145381"/>
                  <a:gd name="connsiteX67" fmla="*/ 862013 w 1721644"/>
                  <a:gd name="connsiteY67" fmla="*/ 0 h 1145381"/>
                  <a:gd name="connsiteX68" fmla="*/ 814388 w 1721644"/>
                  <a:gd name="connsiteY68" fmla="*/ 4762 h 1145381"/>
                  <a:gd name="connsiteX69" fmla="*/ 800100 w 1721644"/>
                  <a:gd name="connsiteY69" fmla="*/ 23812 h 1145381"/>
                  <a:gd name="connsiteX70" fmla="*/ 735807 w 1721644"/>
                  <a:gd name="connsiteY70" fmla="*/ 14287 h 1145381"/>
                  <a:gd name="connsiteX71" fmla="*/ 676275 w 1721644"/>
                  <a:gd name="connsiteY71" fmla="*/ 52387 h 1145381"/>
                  <a:gd name="connsiteX72" fmla="*/ 635794 w 1721644"/>
                  <a:gd name="connsiteY72" fmla="*/ 85725 h 1145381"/>
                  <a:gd name="connsiteX73" fmla="*/ 661988 w 1721644"/>
                  <a:gd name="connsiteY73" fmla="*/ 159544 h 1145381"/>
                  <a:gd name="connsiteX74" fmla="*/ 685800 w 1721644"/>
                  <a:gd name="connsiteY74" fmla="*/ 254794 h 1145381"/>
                  <a:gd name="connsiteX75" fmla="*/ 681038 w 1721644"/>
                  <a:gd name="connsiteY75" fmla="*/ 266700 h 1145381"/>
                  <a:gd name="connsiteX76" fmla="*/ 478632 w 1721644"/>
                  <a:gd name="connsiteY76" fmla="*/ 428625 h 1145381"/>
                  <a:gd name="connsiteX77" fmla="*/ 414338 w 1721644"/>
                  <a:gd name="connsiteY77" fmla="*/ 376237 h 1145381"/>
                  <a:gd name="connsiteX78" fmla="*/ 371475 w 1721644"/>
                  <a:gd name="connsiteY78" fmla="*/ 433387 h 1145381"/>
                  <a:gd name="connsiteX79" fmla="*/ 152400 w 1721644"/>
                  <a:gd name="connsiteY79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28613 w 1721644"/>
                  <a:gd name="connsiteY11" fmla="*/ 973931 h 1145381"/>
                  <a:gd name="connsiteX12" fmla="*/ 347663 w 1721644"/>
                  <a:gd name="connsiteY12" fmla="*/ 1000125 h 1145381"/>
                  <a:gd name="connsiteX13" fmla="*/ 376238 w 1721644"/>
                  <a:gd name="connsiteY13" fmla="*/ 1028700 h 1145381"/>
                  <a:gd name="connsiteX14" fmla="*/ 438150 w 1721644"/>
                  <a:gd name="connsiteY14" fmla="*/ 1050131 h 1145381"/>
                  <a:gd name="connsiteX15" fmla="*/ 542925 w 1721644"/>
                  <a:gd name="connsiteY15" fmla="*/ 1035844 h 1145381"/>
                  <a:gd name="connsiteX16" fmla="*/ 557213 w 1721644"/>
                  <a:gd name="connsiteY16" fmla="*/ 1050131 h 1145381"/>
                  <a:gd name="connsiteX17" fmla="*/ 597694 w 1721644"/>
                  <a:gd name="connsiteY17" fmla="*/ 1014412 h 1145381"/>
                  <a:gd name="connsiteX18" fmla="*/ 621507 w 1721644"/>
                  <a:gd name="connsiteY18" fmla="*/ 990600 h 1145381"/>
                  <a:gd name="connsiteX19" fmla="*/ 633413 w 1721644"/>
                  <a:gd name="connsiteY19" fmla="*/ 954881 h 1145381"/>
                  <a:gd name="connsiteX20" fmla="*/ 671513 w 1721644"/>
                  <a:gd name="connsiteY20" fmla="*/ 940594 h 1145381"/>
                  <a:gd name="connsiteX21" fmla="*/ 711994 w 1721644"/>
                  <a:gd name="connsiteY21" fmla="*/ 969169 h 1145381"/>
                  <a:gd name="connsiteX22" fmla="*/ 728663 w 1721644"/>
                  <a:gd name="connsiteY22" fmla="*/ 1004887 h 1145381"/>
                  <a:gd name="connsiteX23" fmla="*/ 762000 w 1721644"/>
                  <a:gd name="connsiteY23" fmla="*/ 1038225 h 1145381"/>
                  <a:gd name="connsiteX24" fmla="*/ 835819 w 1721644"/>
                  <a:gd name="connsiteY24" fmla="*/ 1035844 h 1145381"/>
                  <a:gd name="connsiteX25" fmla="*/ 871538 w 1721644"/>
                  <a:gd name="connsiteY25" fmla="*/ 1071562 h 1145381"/>
                  <a:gd name="connsiteX26" fmla="*/ 883444 w 1721644"/>
                  <a:gd name="connsiteY26" fmla="*/ 1131094 h 1145381"/>
                  <a:gd name="connsiteX27" fmla="*/ 916782 w 1721644"/>
                  <a:gd name="connsiteY27" fmla="*/ 1116806 h 1145381"/>
                  <a:gd name="connsiteX28" fmla="*/ 990600 w 1721644"/>
                  <a:gd name="connsiteY28" fmla="*/ 1131094 h 1145381"/>
                  <a:gd name="connsiteX29" fmla="*/ 1047750 w 1721644"/>
                  <a:gd name="connsiteY29" fmla="*/ 1145381 h 1145381"/>
                  <a:gd name="connsiteX30" fmla="*/ 1095375 w 1721644"/>
                  <a:gd name="connsiteY30" fmla="*/ 1128712 h 1145381"/>
                  <a:gd name="connsiteX31" fmla="*/ 1114425 w 1721644"/>
                  <a:gd name="connsiteY31" fmla="*/ 1045369 h 1145381"/>
                  <a:gd name="connsiteX32" fmla="*/ 1254919 w 1721644"/>
                  <a:gd name="connsiteY32" fmla="*/ 940594 h 1145381"/>
                  <a:gd name="connsiteX33" fmla="*/ 1295400 w 1721644"/>
                  <a:gd name="connsiteY33" fmla="*/ 931069 h 1145381"/>
                  <a:gd name="connsiteX34" fmla="*/ 1307307 w 1721644"/>
                  <a:gd name="connsiteY34" fmla="*/ 983456 h 1145381"/>
                  <a:gd name="connsiteX35" fmla="*/ 1295400 w 1721644"/>
                  <a:gd name="connsiteY35" fmla="*/ 1021556 h 1145381"/>
                  <a:gd name="connsiteX36" fmla="*/ 1376363 w 1721644"/>
                  <a:gd name="connsiteY36" fmla="*/ 1040606 h 1145381"/>
                  <a:gd name="connsiteX37" fmla="*/ 1471613 w 1721644"/>
                  <a:gd name="connsiteY37" fmla="*/ 942975 h 1145381"/>
                  <a:gd name="connsiteX38" fmla="*/ 1497807 w 1721644"/>
                  <a:gd name="connsiteY38" fmla="*/ 890587 h 1145381"/>
                  <a:gd name="connsiteX39" fmla="*/ 1566863 w 1721644"/>
                  <a:gd name="connsiteY39" fmla="*/ 854869 h 1145381"/>
                  <a:gd name="connsiteX40" fmla="*/ 1616869 w 1721644"/>
                  <a:gd name="connsiteY40" fmla="*/ 800100 h 1145381"/>
                  <a:gd name="connsiteX41" fmla="*/ 1676400 w 1721644"/>
                  <a:gd name="connsiteY41" fmla="*/ 788194 h 1145381"/>
                  <a:gd name="connsiteX42" fmla="*/ 1712119 w 1721644"/>
                  <a:gd name="connsiteY42" fmla="*/ 762000 h 1145381"/>
                  <a:gd name="connsiteX43" fmla="*/ 1714500 w 1721644"/>
                  <a:gd name="connsiteY43" fmla="*/ 740569 h 1145381"/>
                  <a:gd name="connsiteX44" fmla="*/ 1678782 w 1721644"/>
                  <a:gd name="connsiteY44" fmla="*/ 711994 h 1145381"/>
                  <a:gd name="connsiteX45" fmla="*/ 1721644 w 1721644"/>
                  <a:gd name="connsiteY45" fmla="*/ 642937 h 1145381"/>
                  <a:gd name="connsiteX46" fmla="*/ 1700213 w 1721644"/>
                  <a:gd name="connsiteY46" fmla="*/ 585787 h 1145381"/>
                  <a:gd name="connsiteX47" fmla="*/ 1714500 w 1721644"/>
                  <a:gd name="connsiteY47" fmla="*/ 523875 h 1145381"/>
                  <a:gd name="connsiteX48" fmla="*/ 1721644 w 1721644"/>
                  <a:gd name="connsiteY48" fmla="*/ 473869 h 1145381"/>
                  <a:gd name="connsiteX49" fmla="*/ 1714500 w 1721644"/>
                  <a:gd name="connsiteY49" fmla="*/ 359569 h 1145381"/>
                  <a:gd name="connsiteX50" fmla="*/ 1702594 w 1721644"/>
                  <a:gd name="connsiteY50" fmla="*/ 314325 h 1145381"/>
                  <a:gd name="connsiteX51" fmla="*/ 1671638 w 1721644"/>
                  <a:gd name="connsiteY51" fmla="*/ 276225 h 1145381"/>
                  <a:gd name="connsiteX52" fmla="*/ 1626394 w 1721644"/>
                  <a:gd name="connsiteY52" fmla="*/ 273844 h 1145381"/>
                  <a:gd name="connsiteX53" fmla="*/ 1521619 w 1721644"/>
                  <a:gd name="connsiteY53" fmla="*/ 259556 h 1145381"/>
                  <a:gd name="connsiteX54" fmla="*/ 1488282 w 1721644"/>
                  <a:gd name="connsiteY54" fmla="*/ 250031 h 1145381"/>
                  <a:gd name="connsiteX55" fmla="*/ 1473994 w 1721644"/>
                  <a:gd name="connsiteY55" fmla="*/ 183356 h 1145381"/>
                  <a:gd name="connsiteX56" fmla="*/ 1388269 w 1721644"/>
                  <a:gd name="connsiteY56" fmla="*/ 207169 h 1145381"/>
                  <a:gd name="connsiteX57" fmla="*/ 1331119 w 1721644"/>
                  <a:gd name="connsiteY57" fmla="*/ 223837 h 1145381"/>
                  <a:gd name="connsiteX58" fmla="*/ 1295400 w 1721644"/>
                  <a:gd name="connsiteY58" fmla="*/ 202406 h 1145381"/>
                  <a:gd name="connsiteX59" fmla="*/ 1214438 w 1721644"/>
                  <a:gd name="connsiteY59" fmla="*/ 111919 h 1145381"/>
                  <a:gd name="connsiteX60" fmla="*/ 1164432 w 1721644"/>
                  <a:gd name="connsiteY60" fmla="*/ 121444 h 1145381"/>
                  <a:gd name="connsiteX61" fmla="*/ 1083469 w 1721644"/>
                  <a:gd name="connsiteY61" fmla="*/ 100012 h 1145381"/>
                  <a:gd name="connsiteX62" fmla="*/ 1050132 w 1721644"/>
                  <a:gd name="connsiteY62" fmla="*/ 83344 h 1145381"/>
                  <a:gd name="connsiteX63" fmla="*/ 995363 w 1721644"/>
                  <a:gd name="connsiteY63" fmla="*/ 135731 h 1145381"/>
                  <a:gd name="connsiteX64" fmla="*/ 966788 w 1721644"/>
                  <a:gd name="connsiteY64" fmla="*/ 107156 h 1145381"/>
                  <a:gd name="connsiteX65" fmla="*/ 940594 w 1721644"/>
                  <a:gd name="connsiteY65" fmla="*/ 76200 h 1145381"/>
                  <a:gd name="connsiteX66" fmla="*/ 895350 w 1721644"/>
                  <a:gd name="connsiteY66" fmla="*/ 59531 h 1145381"/>
                  <a:gd name="connsiteX67" fmla="*/ 897732 w 1721644"/>
                  <a:gd name="connsiteY67" fmla="*/ 14287 h 1145381"/>
                  <a:gd name="connsiteX68" fmla="*/ 862013 w 1721644"/>
                  <a:gd name="connsiteY68" fmla="*/ 0 h 1145381"/>
                  <a:gd name="connsiteX69" fmla="*/ 814388 w 1721644"/>
                  <a:gd name="connsiteY69" fmla="*/ 4762 h 1145381"/>
                  <a:gd name="connsiteX70" fmla="*/ 800100 w 1721644"/>
                  <a:gd name="connsiteY70" fmla="*/ 23812 h 1145381"/>
                  <a:gd name="connsiteX71" fmla="*/ 735807 w 1721644"/>
                  <a:gd name="connsiteY71" fmla="*/ 14287 h 1145381"/>
                  <a:gd name="connsiteX72" fmla="*/ 676275 w 1721644"/>
                  <a:gd name="connsiteY72" fmla="*/ 52387 h 1145381"/>
                  <a:gd name="connsiteX73" fmla="*/ 635794 w 1721644"/>
                  <a:gd name="connsiteY73" fmla="*/ 85725 h 1145381"/>
                  <a:gd name="connsiteX74" fmla="*/ 661988 w 1721644"/>
                  <a:gd name="connsiteY74" fmla="*/ 159544 h 1145381"/>
                  <a:gd name="connsiteX75" fmla="*/ 685800 w 1721644"/>
                  <a:gd name="connsiteY75" fmla="*/ 254794 h 1145381"/>
                  <a:gd name="connsiteX76" fmla="*/ 681038 w 1721644"/>
                  <a:gd name="connsiteY76" fmla="*/ 266700 h 1145381"/>
                  <a:gd name="connsiteX77" fmla="*/ 478632 w 1721644"/>
                  <a:gd name="connsiteY77" fmla="*/ 428625 h 1145381"/>
                  <a:gd name="connsiteX78" fmla="*/ 414338 w 1721644"/>
                  <a:gd name="connsiteY78" fmla="*/ 376237 h 1145381"/>
                  <a:gd name="connsiteX79" fmla="*/ 371475 w 1721644"/>
                  <a:gd name="connsiteY79" fmla="*/ 433387 h 1145381"/>
                  <a:gd name="connsiteX80" fmla="*/ 152400 w 1721644"/>
                  <a:gd name="connsiteY80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307182 w 1721644"/>
                  <a:gd name="connsiteY10" fmla="*/ 933450 h 1145381"/>
                  <a:gd name="connsiteX11" fmla="*/ 321469 w 1721644"/>
                  <a:gd name="connsiteY11" fmla="*/ 976312 h 1145381"/>
                  <a:gd name="connsiteX12" fmla="*/ 347663 w 1721644"/>
                  <a:gd name="connsiteY12" fmla="*/ 1000125 h 1145381"/>
                  <a:gd name="connsiteX13" fmla="*/ 376238 w 1721644"/>
                  <a:gd name="connsiteY13" fmla="*/ 1028700 h 1145381"/>
                  <a:gd name="connsiteX14" fmla="*/ 438150 w 1721644"/>
                  <a:gd name="connsiteY14" fmla="*/ 1050131 h 1145381"/>
                  <a:gd name="connsiteX15" fmla="*/ 542925 w 1721644"/>
                  <a:gd name="connsiteY15" fmla="*/ 1035844 h 1145381"/>
                  <a:gd name="connsiteX16" fmla="*/ 557213 w 1721644"/>
                  <a:gd name="connsiteY16" fmla="*/ 1050131 h 1145381"/>
                  <a:gd name="connsiteX17" fmla="*/ 597694 w 1721644"/>
                  <a:gd name="connsiteY17" fmla="*/ 1014412 h 1145381"/>
                  <a:gd name="connsiteX18" fmla="*/ 621507 w 1721644"/>
                  <a:gd name="connsiteY18" fmla="*/ 990600 h 1145381"/>
                  <a:gd name="connsiteX19" fmla="*/ 633413 w 1721644"/>
                  <a:gd name="connsiteY19" fmla="*/ 954881 h 1145381"/>
                  <a:gd name="connsiteX20" fmla="*/ 671513 w 1721644"/>
                  <a:gd name="connsiteY20" fmla="*/ 940594 h 1145381"/>
                  <a:gd name="connsiteX21" fmla="*/ 711994 w 1721644"/>
                  <a:gd name="connsiteY21" fmla="*/ 969169 h 1145381"/>
                  <a:gd name="connsiteX22" fmla="*/ 728663 w 1721644"/>
                  <a:gd name="connsiteY22" fmla="*/ 1004887 h 1145381"/>
                  <a:gd name="connsiteX23" fmla="*/ 762000 w 1721644"/>
                  <a:gd name="connsiteY23" fmla="*/ 1038225 h 1145381"/>
                  <a:gd name="connsiteX24" fmla="*/ 835819 w 1721644"/>
                  <a:gd name="connsiteY24" fmla="*/ 1035844 h 1145381"/>
                  <a:gd name="connsiteX25" fmla="*/ 871538 w 1721644"/>
                  <a:gd name="connsiteY25" fmla="*/ 1071562 h 1145381"/>
                  <a:gd name="connsiteX26" fmla="*/ 883444 w 1721644"/>
                  <a:gd name="connsiteY26" fmla="*/ 1131094 h 1145381"/>
                  <a:gd name="connsiteX27" fmla="*/ 916782 w 1721644"/>
                  <a:gd name="connsiteY27" fmla="*/ 1116806 h 1145381"/>
                  <a:gd name="connsiteX28" fmla="*/ 990600 w 1721644"/>
                  <a:gd name="connsiteY28" fmla="*/ 1131094 h 1145381"/>
                  <a:gd name="connsiteX29" fmla="*/ 1047750 w 1721644"/>
                  <a:gd name="connsiteY29" fmla="*/ 1145381 h 1145381"/>
                  <a:gd name="connsiteX30" fmla="*/ 1095375 w 1721644"/>
                  <a:gd name="connsiteY30" fmla="*/ 1128712 h 1145381"/>
                  <a:gd name="connsiteX31" fmla="*/ 1114425 w 1721644"/>
                  <a:gd name="connsiteY31" fmla="*/ 1045369 h 1145381"/>
                  <a:gd name="connsiteX32" fmla="*/ 1254919 w 1721644"/>
                  <a:gd name="connsiteY32" fmla="*/ 940594 h 1145381"/>
                  <a:gd name="connsiteX33" fmla="*/ 1295400 w 1721644"/>
                  <a:gd name="connsiteY33" fmla="*/ 931069 h 1145381"/>
                  <a:gd name="connsiteX34" fmla="*/ 1307307 w 1721644"/>
                  <a:gd name="connsiteY34" fmla="*/ 983456 h 1145381"/>
                  <a:gd name="connsiteX35" fmla="*/ 1295400 w 1721644"/>
                  <a:gd name="connsiteY35" fmla="*/ 1021556 h 1145381"/>
                  <a:gd name="connsiteX36" fmla="*/ 1376363 w 1721644"/>
                  <a:gd name="connsiteY36" fmla="*/ 1040606 h 1145381"/>
                  <a:gd name="connsiteX37" fmla="*/ 1471613 w 1721644"/>
                  <a:gd name="connsiteY37" fmla="*/ 942975 h 1145381"/>
                  <a:gd name="connsiteX38" fmla="*/ 1497807 w 1721644"/>
                  <a:gd name="connsiteY38" fmla="*/ 890587 h 1145381"/>
                  <a:gd name="connsiteX39" fmla="*/ 1566863 w 1721644"/>
                  <a:gd name="connsiteY39" fmla="*/ 854869 h 1145381"/>
                  <a:gd name="connsiteX40" fmla="*/ 1616869 w 1721644"/>
                  <a:gd name="connsiteY40" fmla="*/ 800100 h 1145381"/>
                  <a:gd name="connsiteX41" fmla="*/ 1676400 w 1721644"/>
                  <a:gd name="connsiteY41" fmla="*/ 788194 h 1145381"/>
                  <a:gd name="connsiteX42" fmla="*/ 1712119 w 1721644"/>
                  <a:gd name="connsiteY42" fmla="*/ 762000 h 1145381"/>
                  <a:gd name="connsiteX43" fmla="*/ 1714500 w 1721644"/>
                  <a:gd name="connsiteY43" fmla="*/ 740569 h 1145381"/>
                  <a:gd name="connsiteX44" fmla="*/ 1678782 w 1721644"/>
                  <a:gd name="connsiteY44" fmla="*/ 711994 h 1145381"/>
                  <a:gd name="connsiteX45" fmla="*/ 1721644 w 1721644"/>
                  <a:gd name="connsiteY45" fmla="*/ 642937 h 1145381"/>
                  <a:gd name="connsiteX46" fmla="*/ 1700213 w 1721644"/>
                  <a:gd name="connsiteY46" fmla="*/ 585787 h 1145381"/>
                  <a:gd name="connsiteX47" fmla="*/ 1714500 w 1721644"/>
                  <a:gd name="connsiteY47" fmla="*/ 523875 h 1145381"/>
                  <a:gd name="connsiteX48" fmla="*/ 1721644 w 1721644"/>
                  <a:gd name="connsiteY48" fmla="*/ 473869 h 1145381"/>
                  <a:gd name="connsiteX49" fmla="*/ 1714500 w 1721644"/>
                  <a:gd name="connsiteY49" fmla="*/ 359569 h 1145381"/>
                  <a:gd name="connsiteX50" fmla="*/ 1702594 w 1721644"/>
                  <a:gd name="connsiteY50" fmla="*/ 314325 h 1145381"/>
                  <a:gd name="connsiteX51" fmla="*/ 1671638 w 1721644"/>
                  <a:gd name="connsiteY51" fmla="*/ 276225 h 1145381"/>
                  <a:gd name="connsiteX52" fmla="*/ 1626394 w 1721644"/>
                  <a:gd name="connsiteY52" fmla="*/ 273844 h 1145381"/>
                  <a:gd name="connsiteX53" fmla="*/ 1521619 w 1721644"/>
                  <a:gd name="connsiteY53" fmla="*/ 259556 h 1145381"/>
                  <a:gd name="connsiteX54" fmla="*/ 1488282 w 1721644"/>
                  <a:gd name="connsiteY54" fmla="*/ 250031 h 1145381"/>
                  <a:gd name="connsiteX55" fmla="*/ 1473994 w 1721644"/>
                  <a:gd name="connsiteY55" fmla="*/ 183356 h 1145381"/>
                  <a:gd name="connsiteX56" fmla="*/ 1388269 w 1721644"/>
                  <a:gd name="connsiteY56" fmla="*/ 207169 h 1145381"/>
                  <a:gd name="connsiteX57" fmla="*/ 1331119 w 1721644"/>
                  <a:gd name="connsiteY57" fmla="*/ 223837 h 1145381"/>
                  <a:gd name="connsiteX58" fmla="*/ 1295400 w 1721644"/>
                  <a:gd name="connsiteY58" fmla="*/ 202406 h 1145381"/>
                  <a:gd name="connsiteX59" fmla="*/ 1214438 w 1721644"/>
                  <a:gd name="connsiteY59" fmla="*/ 111919 h 1145381"/>
                  <a:gd name="connsiteX60" fmla="*/ 1164432 w 1721644"/>
                  <a:gd name="connsiteY60" fmla="*/ 121444 h 1145381"/>
                  <a:gd name="connsiteX61" fmla="*/ 1083469 w 1721644"/>
                  <a:gd name="connsiteY61" fmla="*/ 100012 h 1145381"/>
                  <a:gd name="connsiteX62" fmla="*/ 1050132 w 1721644"/>
                  <a:gd name="connsiteY62" fmla="*/ 83344 h 1145381"/>
                  <a:gd name="connsiteX63" fmla="*/ 995363 w 1721644"/>
                  <a:gd name="connsiteY63" fmla="*/ 135731 h 1145381"/>
                  <a:gd name="connsiteX64" fmla="*/ 966788 w 1721644"/>
                  <a:gd name="connsiteY64" fmla="*/ 107156 h 1145381"/>
                  <a:gd name="connsiteX65" fmla="*/ 940594 w 1721644"/>
                  <a:gd name="connsiteY65" fmla="*/ 76200 h 1145381"/>
                  <a:gd name="connsiteX66" fmla="*/ 895350 w 1721644"/>
                  <a:gd name="connsiteY66" fmla="*/ 59531 h 1145381"/>
                  <a:gd name="connsiteX67" fmla="*/ 897732 w 1721644"/>
                  <a:gd name="connsiteY67" fmla="*/ 14287 h 1145381"/>
                  <a:gd name="connsiteX68" fmla="*/ 862013 w 1721644"/>
                  <a:gd name="connsiteY68" fmla="*/ 0 h 1145381"/>
                  <a:gd name="connsiteX69" fmla="*/ 814388 w 1721644"/>
                  <a:gd name="connsiteY69" fmla="*/ 4762 h 1145381"/>
                  <a:gd name="connsiteX70" fmla="*/ 800100 w 1721644"/>
                  <a:gd name="connsiteY70" fmla="*/ 23812 h 1145381"/>
                  <a:gd name="connsiteX71" fmla="*/ 735807 w 1721644"/>
                  <a:gd name="connsiteY71" fmla="*/ 14287 h 1145381"/>
                  <a:gd name="connsiteX72" fmla="*/ 676275 w 1721644"/>
                  <a:gd name="connsiteY72" fmla="*/ 52387 h 1145381"/>
                  <a:gd name="connsiteX73" fmla="*/ 635794 w 1721644"/>
                  <a:gd name="connsiteY73" fmla="*/ 85725 h 1145381"/>
                  <a:gd name="connsiteX74" fmla="*/ 661988 w 1721644"/>
                  <a:gd name="connsiteY74" fmla="*/ 159544 h 1145381"/>
                  <a:gd name="connsiteX75" fmla="*/ 685800 w 1721644"/>
                  <a:gd name="connsiteY75" fmla="*/ 254794 h 1145381"/>
                  <a:gd name="connsiteX76" fmla="*/ 681038 w 1721644"/>
                  <a:gd name="connsiteY76" fmla="*/ 266700 h 1145381"/>
                  <a:gd name="connsiteX77" fmla="*/ 478632 w 1721644"/>
                  <a:gd name="connsiteY77" fmla="*/ 428625 h 1145381"/>
                  <a:gd name="connsiteX78" fmla="*/ 414338 w 1721644"/>
                  <a:gd name="connsiteY78" fmla="*/ 376237 h 1145381"/>
                  <a:gd name="connsiteX79" fmla="*/ 371475 w 1721644"/>
                  <a:gd name="connsiteY79" fmla="*/ 433387 h 1145381"/>
                  <a:gd name="connsiteX80" fmla="*/ 152400 w 1721644"/>
                  <a:gd name="connsiteY80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242888 w 1721644"/>
                  <a:gd name="connsiteY10" fmla="*/ 933450 h 1145381"/>
                  <a:gd name="connsiteX11" fmla="*/ 307182 w 1721644"/>
                  <a:gd name="connsiteY11" fmla="*/ 933450 h 1145381"/>
                  <a:gd name="connsiteX12" fmla="*/ 321469 w 1721644"/>
                  <a:gd name="connsiteY12" fmla="*/ 976312 h 1145381"/>
                  <a:gd name="connsiteX13" fmla="*/ 347663 w 1721644"/>
                  <a:gd name="connsiteY13" fmla="*/ 1000125 h 1145381"/>
                  <a:gd name="connsiteX14" fmla="*/ 376238 w 1721644"/>
                  <a:gd name="connsiteY14" fmla="*/ 1028700 h 1145381"/>
                  <a:gd name="connsiteX15" fmla="*/ 438150 w 1721644"/>
                  <a:gd name="connsiteY15" fmla="*/ 1050131 h 1145381"/>
                  <a:gd name="connsiteX16" fmla="*/ 542925 w 1721644"/>
                  <a:gd name="connsiteY16" fmla="*/ 1035844 h 1145381"/>
                  <a:gd name="connsiteX17" fmla="*/ 557213 w 1721644"/>
                  <a:gd name="connsiteY17" fmla="*/ 1050131 h 1145381"/>
                  <a:gd name="connsiteX18" fmla="*/ 597694 w 1721644"/>
                  <a:gd name="connsiteY18" fmla="*/ 1014412 h 1145381"/>
                  <a:gd name="connsiteX19" fmla="*/ 621507 w 1721644"/>
                  <a:gd name="connsiteY19" fmla="*/ 990600 h 1145381"/>
                  <a:gd name="connsiteX20" fmla="*/ 633413 w 1721644"/>
                  <a:gd name="connsiteY20" fmla="*/ 954881 h 1145381"/>
                  <a:gd name="connsiteX21" fmla="*/ 671513 w 1721644"/>
                  <a:gd name="connsiteY21" fmla="*/ 940594 h 1145381"/>
                  <a:gd name="connsiteX22" fmla="*/ 711994 w 1721644"/>
                  <a:gd name="connsiteY22" fmla="*/ 969169 h 1145381"/>
                  <a:gd name="connsiteX23" fmla="*/ 728663 w 1721644"/>
                  <a:gd name="connsiteY23" fmla="*/ 1004887 h 1145381"/>
                  <a:gd name="connsiteX24" fmla="*/ 762000 w 1721644"/>
                  <a:gd name="connsiteY24" fmla="*/ 1038225 h 1145381"/>
                  <a:gd name="connsiteX25" fmla="*/ 835819 w 1721644"/>
                  <a:gd name="connsiteY25" fmla="*/ 1035844 h 1145381"/>
                  <a:gd name="connsiteX26" fmla="*/ 871538 w 1721644"/>
                  <a:gd name="connsiteY26" fmla="*/ 1071562 h 1145381"/>
                  <a:gd name="connsiteX27" fmla="*/ 883444 w 1721644"/>
                  <a:gd name="connsiteY27" fmla="*/ 1131094 h 1145381"/>
                  <a:gd name="connsiteX28" fmla="*/ 916782 w 1721644"/>
                  <a:gd name="connsiteY28" fmla="*/ 1116806 h 1145381"/>
                  <a:gd name="connsiteX29" fmla="*/ 990600 w 1721644"/>
                  <a:gd name="connsiteY29" fmla="*/ 1131094 h 1145381"/>
                  <a:gd name="connsiteX30" fmla="*/ 1047750 w 1721644"/>
                  <a:gd name="connsiteY30" fmla="*/ 1145381 h 1145381"/>
                  <a:gd name="connsiteX31" fmla="*/ 1095375 w 1721644"/>
                  <a:gd name="connsiteY31" fmla="*/ 1128712 h 1145381"/>
                  <a:gd name="connsiteX32" fmla="*/ 1114425 w 1721644"/>
                  <a:gd name="connsiteY32" fmla="*/ 1045369 h 1145381"/>
                  <a:gd name="connsiteX33" fmla="*/ 1254919 w 1721644"/>
                  <a:gd name="connsiteY33" fmla="*/ 940594 h 1145381"/>
                  <a:gd name="connsiteX34" fmla="*/ 1295400 w 1721644"/>
                  <a:gd name="connsiteY34" fmla="*/ 931069 h 1145381"/>
                  <a:gd name="connsiteX35" fmla="*/ 1307307 w 1721644"/>
                  <a:gd name="connsiteY35" fmla="*/ 983456 h 1145381"/>
                  <a:gd name="connsiteX36" fmla="*/ 1295400 w 1721644"/>
                  <a:gd name="connsiteY36" fmla="*/ 1021556 h 1145381"/>
                  <a:gd name="connsiteX37" fmla="*/ 1376363 w 1721644"/>
                  <a:gd name="connsiteY37" fmla="*/ 1040606 h 1145381"/>
                  <a:gd name="connsiteX38" fmla="*/ 1471613 w 1721644"/>
                  <a:gd name="connsiteY38" fmla="*/ 942975 h 1145381"/>
                  <a:gd name="connsiteX39" fmla="*/ 1497807 w 1721644"/>
                  <a:gd name="connsiteY39" fmla="*/ 890587 h 1145381"/>
                  <a:gd name="connsiteX40" fmla="*/ 1566863 w 1721644"/>
                  <a:gd name="connsiteY40" fmla="*/ 854869 h 1145381"/>
                  <a:gd name="connsiteX41" fmla="*/ 1616869 w 1721644"/>
                  <a:gd name="connsiteY41" fmla="*/ 800100 h 1145381"/>
                  <a:gd name="connsiteX42" fmla="*/ 1676400 w 1721644"/>
                  <a:gd name="connsiteY42" fmla="*/ 788194 h 1145381"/>
                  <a:gd name="connsiteX43" fmla="*/ 1712119 w 1721644"/>
                  <a:gd name="connsiteY43" fmla="*/ 762000 h 1145381"/>
                  <a:gd name="connsiteX44" fmla="*/ 1714500 w 1721644"/>
                  <a:gd name="connsiteY44" fmla="*/ 740569 h 1145381"/>
                  <a:gd name="connsiteX45" fmla="*/ 1678782 w 1721644"/>
                  <a:gd name="connsiteY45" fmla="*/ 711994 h 1145381"/>
                  <a:gd name="connsiteX46" fmla="*/ 1721644 w 1721644"/>
                  <a:gd name="connsiteY46" fmla="*/ 642937 h 1145381"/>
                  <a:gd name="connsiteX47" fmla="*/ 1700213 w 1721644"/>
                  <a:gd name="connsiteY47" fmla="*/ 585787 h 1145381"/>
                  <a:gd name="connsiteX48" fmla="*/ 1714500 w 1721644"/>
                  <a:gd name="connsiteY48" fmla="*/ 523875 h 1145381"/>
                  <a:gd name="connsiteX49" fmla="*/ 1721644 w 1721644"/>
                  <a:gd name="connsiteY49" fmla="*/ 473869 h 1145381"/>
                  <a:gd name="connsiteX50" fmla="*/ 1714500 w 1721644"/>
                  <a:gd name="connsiteY50" fmla="*/ 359569 h 1145381"/>
                  <a:gd name="connsiteX51" fmla="*/ 1702594 w 1721644"/>
                  <a:gd name="connsiteY51" fmla="*/ 314325 h 1145381"/>
                  <a:gd name="connsiteX52" fmla="*/ 1671638 w 1721644"/>
                  <a:gd name="connsiteY52" fmla="*/ 276225 h 1145381"/>
                  <a:gd name="connsiteX53" fmla="*/ 1626394 w 1721644"/>
                  <a:gd name="connsiteY53" fmla="*/ 273844 h 1145381"/>
                  <a:gd name="connsiteX54" fmla="*/ 1521619 w 1721644"/>
                  <a:gd name="connsiteY54" fmla="*/ 259556 h 1145381"/>
                  <a:gd name="connsiteX55" fmla="*/ 1488282 w 1721644"/>
                  <a:gd name="connsiteY55" fmla="*/ 250031 h 1145381"/>
                  <a:gd name="connsiteX56" fmla="*/ 1473994 w 1721644"/>
                  <a:gd name="connsiteY56" fmla="*/ 183356 h 1145381"/>
                  <a:gd name="connsiteX57" fmla="*/ 1388269 w 1721644"/>
                  <a:gd name="connsiteY57" fmla="*/ 207169 h 1145381"/>
                  <a:gd name="connsiteX58" fmla="*/ 1331119 w 1721644"/>
                  <a:gd name="connsiteY58" fmla="*/ 223837 h 1145381"/>
                  <a:gd name="connsiteX59" fmla="*/ 1295400 w 1721644"/>
                  <a:gd name="connsiteY59" fmla="*/ 202406 h 1145381"/>
                  <a:gd name="connsiteX60" fmla="*/ 1214438 w 1721644"/>
                  <a:gd name="connsiteY60" fmla="*/ 111919 h 1145381"/>
                  <a:gd name="connsiteX61" fmla="*/ 1164432 w 1721644"/>
                  <a:gd name="connsiteY61" fmla="*/ 121444 h 1145381"/>
                  <a:gd name="connsiteX62" fmla="*/ 1083469 w 1721644"/>
                  <a:gd name="connsiteY62" fmla="*/ 100012 h 1145381"/>
                  <a:gd name="connsiteX63" fmla="*/ 1050132 w 1721644"/>
                  <a:gd name="connsiteY63" fmla="*/ 83344 h 1145381"/>
                  <a:gd name="connsiteX64" fmla="*/ 995363 w 1721644"/>
                  <a:gd name="connsiteY64" fmla="*/ 135731 h 1145381"/>
                  <a:gd name="connsiteX65" fmla="*/ 966788 w 1721644"/>
                  <a:gd name="connsiteY65" fmla="*/ 107156 h 1145381"/>
                  <a:gd name="connsiteX66" fmla="*/ 940594 w 1721644"/>
                  <a:gd name="connsiteY66" fmla="*/ 76200 h 1145381"/>
                  <a:gd name="connsiteX67" fmla="*/ 895350 w 1721644"/>
                  <a:gd name="connsiteY67" fmla="*/ 59531 h 1145381"/>
                  <a:gd name="connsiteX68" fmla="*/ 897732 w 1721644"/>
                  <a:gd name="connsiteY68" fmla="*/ 14287 h 1145381"/>
                  <a:gd name="connsiteX69" fmla="*/ 862013 w 1721644"/>
                  <a:gd name="connsiteY69" fmla="*/ 0 h 1145381"/>
                  <a:gd name="connsiteX70" fmla="*/ 814388 w 1721644"/>
                  <a:gd name="connsiteY70" fmla="*/ 4762 h 1145381"/>
                  <a:gd name="connsiteX71" fmla="*/ 800100 w 1721644"/>
                  <a:gd name="connsiteY71" fmla="*/ 23812 h 1145381"/>
                  <a:gd name="connsiteX72" fmla="*/ 735807 w 1721644"/>
                  <a:gd name="connsiteY72" fmla="*/ 14287 h 1145381"/>
                  <a:gd name="connsiteX73" fmla="*/ 676275 w 1721644"/>
                  <a:gd name="connsiteY73" fmla="*/ 52387 h 1145381"/>
                  <a:gd name="connsiteX74" fmla="*/ 635794 w 1721644"/>
                  <a:gd name="connsiteY74" fmla="*/ 85725 h 1145381"/>
                  <a:gd name="connsiteX75" fmla="*/ 661988 w 1721644"/>
                  <a:gd name="connsiteY75" fmla="*/ 159544 h 1145381"/>
                  <a:gd name="connsiteX76" fmla="*/ 685800 w 1721644"/>
                  <a:gd name="connsiteY76" fmla="*/ 254794 h 1145381"/>
                  <a:gd name="connsiteX77" fmla="*/ 681038 w 1721644"/>
                  <a:gd name="connsiteY77" fmla="*/ 266700 h 1145381"/>
                  <a:gd name="connsiteX78" fmla="*/ 478632 w 1721644"/>
                  <a:gd name="connsiteY78" fmla="*/ 428625 h 1145381"/>
                  <a:gd name="connsiteX79" fmla="*/ 414338 w 1721644"/>
                  <a:gd name="connsiteY79" fmla="*/ 376237 h 1145381"/>
                  <a:gd name="connsiteX80" fmla="*/ 371475 w 1721644"/>
                  <a:gd name="connsiteY80" fmla="*/ 433387 h 1145381"/>
                  <a:gd name="connsiteX81" fmla="*/ 152400 w 1721644"/>
                  <a:gd name="connsiteY81" fmla="*/ 431006 h 1145381"/>
                  <a:gd name="connsiteX0" fmla="*/ 152400 w 1721644"/>
                  <a:gd name="connsiteY0" fmla="*/ 431006 h 1145381"/>
                  <a:gd name="connsiteX1" fmla="*/ 109538 w 1721644"/>
                  <a:gd name="connsiteY1" fmla="*/ 509587 h 1145381"/>
                  <a:gd name="connsiteX2" fmla="*/ 83344 w 1721644"/>
                  <a:gd name="connsiteY2" fmla="*/ 552450 h 1145381"/>
                  <a:gd name="connsiteX3" fmla="*/ 0 w 1721644"/>
                  <a:gd name="connsiteY3" fmla="*/ 654844 h 1145381"/>
                  <a:gd name="connsiteX4" fmla="*/ 40482 w 1721644"/>
                  <a:gd name="connsiteY4" fmla="*/ 695325 h 1145381"/>
                  <a:gd name="connsiteX5" fmla="*/ 45244 w 1721644"/>
                  <a:gd name="connsiteY5" fmla="*/ 766762 h 1145381"/>
                  <a:gd name="connsiteX6" fmla="*/ 54769 w 1721644"/>
                  <a:gd name="connsiteY6" fmla="*/ 857250 h 1145381"/>
                  <a:gd name="connsiteX7" fmla="*/ 133350 w 1721644"/>
                  <a:gd name="connsiteY7" fmla="*/ 857250 h 1145381"/>
                  <a:gd name="connsiteX8" fmla="*/ 169070 w 1721644"/>
                  <a:gd name="connsiteY8" fmla="*/ 881062 h 1145381"/>
                  <a:gd name="connsiteX9" fmla="*/ 207169 w 1721644"/>
                  <a:gd name="connsiteY9" fmla="*/ 938212 h 1145381"/>
                  <a:gd name="connsiteX10" fmla="*/ 247651 w 1721644"/>
                  <a:gd name="connsiteY10" fmla="*/ 940594 h 1145381"/>
                  <a:gd name="connsiteX11" fmla="*/ 307182 w 1721644"/>
                  <a:gd name="connsiteY11" fmla="*/ 933450 h 1145381"/>
                  <a:gd name="connsiteX12" fmla="*/ 321469 w 1721644"/>
                  <a:gd name="connsiteY12" fmla="*/ 976312 h 1145381"/>
                  <a:gd name="connsiteX13" fmla="*/ 347663 w 1721644"/>
                  <a:gd name="connsiteY13" fmla="*/ 1000125 h 1145381"/>
                  <a:gd name="connsiteX14" fmla="*/ 376238 w 1721644"/>
                  <a:gd name="connsiteY14" fmla="*/ 1028700 h 1145381"/>
                  <a:gd name="connsiteX15" fmla="*/ 438150 w 1721644"/>
                  <a:gd name="connsiteY15" fmla="*/ 1050131 h 1145381"/>
                  <a:gd name="connsiteX16" fmla="*/ 542925 w 1721644"/>
                  <a:gd name="connsiteY16" fmla="*/ 1035844 h 1145381"/>
                  <a:gd name="connsiteX17" fmla="*/ 557213 w 1721644"/>
                  <a:gd name="connsiteY17" fmla="*/ 1050131 h 1145381"/>
                  <a:gd name="connsiteX18" fmla="*/ 597694 w 1721644"/>
                  <a:gd name="connsiteY18" fmla="*/ 1014412 h 1145381"/>
                  <a:gd name="connsiteX19" fmla="*/ 621507 w 1721644"/>
                  <a:gd name="connsiteY19" fmla="*/ 990600 h 1145381"/>
                  <a:gd name="connsiteX20" fmla="*/ 633413 w 1721644"/>
                  <a:gd name="connsiteY20" fmla="*/ 954881 h 1145381"/>
                  <a:gd name="connsiteX21" fmla="*/ 671513 w 1721644"/>
                  <a:gd name="connsiteY21" fmla="*/ 940594 h 1145381"/>
                  <a:gd name="connsiteX22" fmla="*/ 711994 w 1721644"/>
                  <a:gd name="connsiteY22" fmla="*/ 969169 h 1145381"/>
                  <a:gd name="connsiteX23" fmla="*/ 728663 w 1721644"/>
                  <a:gd name="connsiteY23" fmla="*/ 1004887 h 1145381"/>
                  <a:gd name="connsiteX24" fmla="*/ 762000 w 1721644"/>
                  <a:gd name="connsiteY24" fmla="*/ 1038225 h 1145381"/>
                  <a:gd name="connsiteX25" fmla="*/ 835819 w 1721644"/>
                  <a:gd name="connsiteY25" fmla="*/ 1035844 h 1145381"/>
                  <a:gd name="connsiteX26" fmla="*/ 871538 w 1721644"/>
                  <a:gd name="connsiteY26" fmla="*/ 1071562 h 1145381"/>
                  <a:gd name="connsiteX27" fmla="*/ 883444 w 1721644"/>
                  <a:gd name="connsiteY27" fmla="*/ 1131094 h 1145381"/>
                  <a:gd name="connsiteX28" fmla="*/ 916782 w 1721644"/>
                  <a:gd name="connsiteY28" fmla="*/ 1116806 h 1145381"/>
                  <a:gd name="connsiteX29" fmla="*/ 990600 w 1721644"/>
                  <a:gd name="connsiteY29" fmla="*/ 1131094 h 1145381"/>
                  <a:gd name="connsiteX30" fmla="*/ 1047750 w 1721644"/>
                  <a:gd name="connsiteY30" fmla="*/ 1145381 h 1145381"/>
                  <a:gd name="connsiteX31" fmla="*/ 1095375 w 1721644"/>
                  <a:gd name="connsiteY31" fmla="*/ 1128712 h 1145381"/>
                  <a:gd name="connsiteX32" fmla="*/ 1114425 w 1721644"/>
                  <a:gd name="connsiteY32" fmla="*/ 1045369 h 1145381"/>
                  <a:gd name="connsiteX33" fmla="*/ 1254919 w 1721644"/>
                  <a:gd name="connsiteY33" fmla="*/ 940594 h 1145381"/>
                  <a:gd name="connsiteX34" fmla="*/ 1295400 w 1721644"/>
                  <a:gd name="connsiteY34" fmla="*/ 931069 h 1145381"/>
                  <a:gd name="connsiteX35" fmla="*/ 1307307 w 1721644"/>
                  <a:gd name="connsiteY35" fmla="*/ 983456 h 1145381"/>
                  <a:gd name="connsiteX36" fmla="*/ 1295400 w 1721644"/>
                  <a:gd name="connsiteY36" fmla="*/ 1021556 h 1145381"/>
                  <a:gd name="connsiteX37" fmla="*/ 1376363 w 1721644"/>
                  <a:gd name="connsiteY37" fmla="*/ 1040606 h 1145381"/>
                  <a:gd name="connsiteX38" fmla="*/ 1471613 w 1721644"/>
                  <a:gd name="connsiteY38" fmla="*/ 942975 h 1145381"/>
                  <a:gd name="connsiteX39" fmla="*/ 1497807 w 1721644"/>
                  <a:gd name="connsiteY39" fmla="*/ 890587 h 1145381"/>
                  <a:gd name="connsiteX40" fmla="*/ 1566863 w 1721644"/>
                  <a:gd name="connsiteY40" fmla="*/ 854869 h 1145381"/>
                  <a:gd name="connsiteX41" fmla="*/ 1616869 w 1721644"/>
                  <a:gd name="connsiteY41" fmla="*/ 800100 h 1145381"/>
                  <a:gd name="connsiteX42" fmla="*/ 1676400 w 1721644"/>
                  <a:gd name="connsiteY42" fmla="*/ 788194 h 1145381"/>
                  <a:gd name="connsiteX43" fmla="*/ 1712119 w 1721644"/>
                  <a:gd name="connsiteY43" fmla="*/ 762000 h 1145381"/>
                  <a:gd name="connsiteX44" fmla="*/ 1714500 w 1721644"/>
                  <a:gd name="connsiteY44" fmla="*/ 740569 h 1145381"/>
                  <a:gd name="connsiteX45" fmla="*/ 1678782 w 1721644"/>
                  <a:gd name="connsiteY45" fmla="*/ 711994 h 1145381"/>
                  <a:gd name="connsiteX46" fmla="*/ 1721644 w 1721644"/>
                  <a:gd name="connsiteY46" fmla="*/ 642937 h 1145381"/>
                  <a:gd name="connsiteX47" fmla="*/ 1700213 w 1721644"/>
                  <a:gd name="connsiteY47" fmla="*/ 585787 h 1145381"/>
                  <a:gd name="connsiteX48" fmla="*/ 1714500 w 1721644"/>
                  <a:gd name="connsiteY48" fmla="*/ 523875 h 1145381"/>
                  <a:gd name="connsiteX49" fmla="*/ 1721644 w 1721644"/>
                  <a:gd name="connsiteY49" fmla="*/ 473869 h 1145381"/>
                  <a:gd name="connsiteX50" fmla="*/ 1714500 w 1721644"/>
                  <a:gd name="connsiteY50" fmla="*/ 359569 h 1145381"/>
                  <a:gd name="connsiteX51" fmla="*/ 1702594 w 1721644"/>
                  <a:gd name="connsiteY51" fmla="*/ 314325 h 1145381"/>
                  <a:gd name="connsiteX52" fmla="*/ 1671638 w 1721644"/>
                  <a:gd name="connsiteY52" fmla="*/ 276225 h 1145381"/>
                  <a:gd name="connsiteX53" fmla="*/ 1626394 w 1721644"/>
                  <a:gd name="connsiteY53" fmla="*/ 273844 h 1145381"/>
                  <a:gd name="connsiteX54" fmla="*/ 1521619 w 1721644"/>
                  <a:gd name="connsiteY54" fmla="*/ 259556 h 1145381"/>
                  <a:gd name="connsiteX55" fmla="*/ 1488282 w 1721644"/>
                  <a:gd name="connsiteY55" fmla="*/ 250031 h 1145381"/>
                  <a:gd name="connsiteX56" fmla="*/ 1473994 w 1721644"/>
                  <a:gd name="connsiteY56" fmla="*/ 183356 h 1145381"/>
                  <a:gd name="connsiteX57" fmla="*/ 1388269 w 1721644"/>
                  <a:gd name="connsiteY57" fmla="*/ 207169 h 1145381"/>
                  <a:gd name="connsiteX58" fmla="*/ 1331119 w 1721644"/>
                  <a:gd name="connsiteY58" fmla="*/ 223837 h 1145381"/>
                  <a:gd name="connsiteX59" fmla="*/ 1295400 w 1721644"/>
                  <a:gd name="connsiteY59" fmla="*/ 202406 h 1145381"/>
                  <a:gd name="connsiteX60" fmla="*/ 1214438 w 1721644"/>
                  <a:gd name="connsiteY60" fmla="*/ 111919 h 1145381"/>
                  <a:gd name="connsiteX61" fmla="*/ 1164432 w 1721644"/>
                  <a:gd name="connsiteY61" fmla="*/ 121444 h 1145381"/>
                  <a:gd name="connsiteX62" fmla="*/ 1083469 w 1721644"/>
                  <a:gd name="connsiteY62" fmla="*/ 100012 h 1145381"/>
                  <a:gd name="connsiteX63" fmla="*/ 1050132 w 1721644"/>
                  <a:gd name="connsiteY63" fmla="*/ 83344 h 1145381"/>
                  <a:gd name="connsiteX64" fmla="*/ 995363 w 1721644"/>
                  <a:gd name="connsiteY64" fmla="*/ 135731 h 1145381"/>
                  <a:gd name="connsiteX65" fmla="*/ 966788 w 1721644"/>
                  <a:gd name="connsiteY65" fmla="*/ 107156 h 1145381"/>
                  <a:gd name="connsiteX66" fmla="*/ 940594 w 1721644"/>
                  <a:gd name="connsiteY66" fmla="*/ 76200 h 1145381"/>
                  <a:gd name="connsiteX67" fmla="*/ 895350 w 1721644"/>
                  <a:gd name="connsiteY67" fmla="*/ 59531 h 1145381"/>
                  <a:gd name="connsiteX68" fmla="*/ 897732 w 1721644"/>
                  <a:gd name="connsiteY68" fmla="*/ 14287 h 1145381"/>
                  <a:gd name="connsiteX69" fmla="*/ 862013 w 1721644"/>
                  <a:gd name="connsiteY69" fmla="*/ 0 h 1145381"/>
                  <a:gd name="connsiteX70" fmla="*/ 814388 w 1721644"/>
                  <a:gd name="connsiteY70" fmla="*/ 4762 h 1145381"/>
                  <a:gd name="connsiteX71" fmla="*/ 800100 w 1721644"/>
                  <a:gd name="connsiteY71" fmla="*/ 23812 h 1145381"/>
                  <a:gd name="connsiteX72" fmla="*/ 735807 w 1721644"/>
                  <a:gd name="connsiteY72" fmla="*/ 14287 h 1145381"/>
                  <a:gd name="connsiteX73" fmla="*/ 676275 w 1721644"/>
                  <a:gd name="connsiteY73" fmla="*/ 52387 h 1145381"/>
                  <a:gd name="connsiteX74" fmla="*/ 635794 w 1721644"/>
                  <a:gd name="connsiteY74" fmla="*/ 85725 h 1145381"/>
                  <a:gd name="connsiteX75" fmla="*/ 661988 w 1721644"/>
                  <a:gd name="connsiteY75" fmla="*/ 159544 h 1145381"/>
                  <a:gd name="connsiteX76" fmla="*/ 685800 w 1721644"/>
                  <a:gd name="connsiteY76" fmla="*/ 254794 h 1145381"/>
                  <a:gd name="connsiteX77" fmla="*/ 681038 w 1721644"/>
                  <a:gd name="connsiteY77" fmla="*/ 266700 h 1145381"/>
                  <a:gd name="connsiteX78" fmla="*/ 478632 w 1721644"/>
                  <a:gd name="connsiteY78" fmla="*/ 428625 h 1145381"/>
                  <a:gd name="connsiteX79" fmla="*/ 414338 w 1721644"/>
                  <a:gd name="connsiteY79" fmla="*/ 376237 h 1145381"/>
                  <a:gd name="connsiteX80" fmla="*/ 371475 w 1721644"/>
                  <a:gd name="connsiteY80" fmla="*/ 433387 h 1145381"/>
                  <a:gd name="connsiteX81" fmla="*/ 152400 w 1721644"/>
                  <a:gd name="connsiteY81" fmla="*/ 431006 h 114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1721644" h="1145381">
                    <a:moveTo>
                      <a:pt x="152400" y="431006"/>
                    </a:moveTo>
                    <a:lnTo>
                      <a:pt x="109538" y="509587"/>
                    </a:lnTo>
                    <a:lnTo>
                      <a:pt x="83344" y="552450"/>
                    </a:lnTo>
                    <a:lnTo>
                      <a:pt x="0" y="654844"/>
                    </a:lnTo>
                    <a:lnTo>
                      <a:pt x="40482" y="695325"/>
                    </a:lnTo>
                    <a:cubicBezTo>
                      <a:pt x="49213" y="712391"/>
                      <a:pt x="44847" y="740171"/>
                      <a:pt x="45244" y="766762"/>
                    </a:cubicBezTo>
                    <a:cubicBezTo>
                      <a:pt x="45641" y="793353"/>
                      <a:pt x="41275" y="840581"/>
                      <a:pt x="54769" y="857250"/>
                    </a:cubicBezTo>
                    <a:lnTo>
                      <a:pt x="133350" y="857250"/>
                    </a:lnTo>
                    <a:lnTo>
                      <a:pt x="169070" y="881062"/>
                    </a:lnTo>
                    <a:lnTo>
                      <a:pt x="207169" y="938212"/>
                    </a:lnTo>
                    <a:lnTo>
                      <a:pt x="247651" y="940594"/>
                    </a:lnTo>
                    <a:lnTo>
                      <a:pt x="307182" y="933450"/>
                    </a:lnTo>
                    <a:lnTo>
                      <a:pt x="321469" y="976312"/>
                    </a:lnTo>
                    <a:lnTo>
                      <a:pt x="347663" y="1000125"/>
                    </a:lnTo>
                    <a:lnTo>
                      <a:pt x="376238" y="1028700"/>
                    </a:lnTo>
                    <a:lnTo>
                      <a:pt x="438150" y="1050131"/>
                    </a:lnTo>
                    <a:lnTo>
                      <a:pt x="542925" y="1035844"/>
                    </a:lnTo>
                    <a:lnTo>
                      <a:pt x="557213" y="1050131"/>
                    </a:lnTo>
                    <a:lnTo>
                      <a:pt x="597694" y="1014412"/>
                    </a:lnTo>
                    <a:lnTo>
                      <a:pt x="621507" y="990600"/>
                    </a:lnTo>
                    <a:lnTo>
                      <a:pt x="633413" y="954881"/>
                    </a:lnTo>
                    <a:lnTo>
                      <a:pt x="671513" y="940594"/>
                    </a:lnTo>
                    <a:lnTo>
                      <a:pt x="711994" y="969169"/>
                    </a:lnTo>
                    <a:lnTo>
                      <a:pt x="728663" y="1004887"/>
                    </a:lnTo>
                    <a:lnTo>
                      <a:pt x="762000" y="1038225"/>
                    </a:lnTo>
                    <a:lnTo>
                      <a:pt x="835819" y="1035844"/>
                    </a:lnTo>
                    <a:lnTo>
                      <a:pt x="871538" y="1071562"/>
                    </a:lnTo>
                    <a:lnTo>
                      <a:pt x="883444" y="1131094"/>
                    </a:lnTo>
                    <a:lnTo>
                      <a:pt x="916782" y="1116806"/>
                    </a:lnTo>
                    <a:lnTo>
                      <a:pt x="990600" y="1131094"/>
                    </a:lnTo>
                    <a:lnTo>
                      <a:pt x="1047750" y="1145381"/>
                    </a:lnTo>
                    <a:lnTo>
                      <a:pt x="1095375" y="1128712"/>
                    </a:lnTo>
                    <a:lnTo>
                      <a:pt x="1114425" y="1045369"/>
                    </a:lnTo>
                    <a:lnTo>
                      <a:pt x="1254919" y="940594"/>
                    </a:lnTo>
                    <a:lnTo>
                      <a:pt x="1295400" y="931069"/>
                    </a:lnTo>
                    <a:lnTo>
                      <a:pt x="1307307" y="983456"/>
                    </a:lnTo>
                    <a:lnTo>
                      <a:pt x="1295400" y="1021556"/>
                    </a:lnTo>
                    <a:lnTo>
                      <a:pt x="1376363" y="1040606"/>
                    </a:lnTo>
                    <a:lnTo>
                      <a:pt x="1471613" y="942975"/>
                    </a:lnTo>
                    <a:lnTo>
                      <a:pt x="1497807" y="890587"/>
                    </a:lnTo>
                    <a:lnTo>
                      <a:pt x="1566863" y="854869"/>
                    </a:lnTo>
                    <a:lnTo>
                      <a:pt x="1616869" y="800100"/>
                    </a:lnTo>
                    <a:lnTo>
                      <a:pt x="1676400" y="788194"/>
                    </a:lnTo>
                    <a:lnTo>
                      <a:pt x="1712119" y="762000"/>
                    </a:lnTo>
                    <a:lnTo>
                      <a:pt x="1714500" y="740569"/>
                    </a:lnTo>
                    <a:lnTo>
                      <a:pt x="1678782" y="711994"/>
                    </a:lnTo>
                    <a:lnTo>
                      <a:pt x="1721644" y="642937"/>
                    </a:lnTo>
                    <a:lnTo>
                      <a:pt x="1700213" y="585787"/>
                    </a:lnTo>
                    <a:lnTo>
                      <a:pt x="1714500" y="523875"/>
                    </a:lnTo>
                    <a:lnTo>
                      <a:pt x="1721644" y="473869"/>
                    </a:lnTo>
                    <a:lnTo>
                      <a:pt x="1714500" y="359569"/>
                    </a:lnTo>
                    <a:lnTo>
                      <a:pt x="1702594" y="314325"/>
                    </a:lnTo>
                    <a:lnTo>
                      <a:pt x="1671638" y="276225"/>
                    </a:lnTo>
                    <a:lnTo>
                      <a:pt x="1626394" y="273844"/>
                    </a:lnTo>
                    <a:lnTo>
                      <a:pt x="1521619" y="259556"/>
                    </a:lnTo>
                    <a:lnTo>
                      <a:pt x="1488282" y="250031"/>
                    </a:lnTo>
                    <a:lnTo>
                      <a:pt x="1473994" y="183356"/>
                    </a:lnTo>
                    <a:lnTo>
                      <a:pt x="1388269" y="207169"/>
                    </a:lnTo>
                    <a:lnTo>
                      <a:pt x="1331119" y="223837"/>
                    </a:lnTo>
                    <a:lnTo>
                      <a:pt x="1295400" y="202406"/>
                    </a:lnTo>
                    <a:lnTo>
                      <a:pt x="1214438" y="111919"/>
                    </a:lnTo>
                    <a:lnTo>
                      <a:pt x="1164432" y="121444"/>
                    </a:lnTo>
                    <a:lnTo>
                      <a:pt x="1083469" y="100012"/>
                    </a:lnTo>
                    <a:lnTo>
                      <a:pt x="1050132" y="83344"/>
                    </a:lnTo>
                    <a:lnTo>
                      <a:pt x="995363" y="135731"/>
                    </a:lnTo>
                    <a:lnTo>
                      <a:pt x="966788" y="107156"/>
                    </a:lnTo>
                    <a:lnTo>
                      <a:pt x="940594" y="76200"/>
                    </a:lnTo>
                    <a:lnTo>
                      <a:pt x="895350" y="59531"/>
                    </a:lnTo>
                    <a:lnTo>
                      <a:pt x="897732" y="14287"/>
                    </a:lnTo>
                    <a:lnTo>
                      <a:pt x="862013" y="0"/>
                    </a:lnTo>
                    <a:lnTo>
                      <a:pt x="814388" y="4762"/>
                    </a:lnTo>
                    <a:lnTo>
                      <a:pt x="800100" y="23812"/>
                    </a:lnTo>
                    <a:lnTo>
                      <a:pt x="735807" y="14287"/>
                    </a:lnTo>
                    <a:lnTo>
                      <a:pt x="676275" y="52387"/>
                    </a:lnTo>
                    <a:lnTo>
                      <a:pt x="635794" y="85725"/>
                    </a:lnTo>
                    <a:lnTo>
                      <a:pt x="661988" y="159544"/>
                    </a:lnTo>
                    <a:lnTo>
                      <a:pt x="685800" y="254794"/>
                    </a:lnTo>
                    <a:lnTo>
                      <a:pt x="681038" y="266700"/>
                    </a:lnTo>
                    <a:lnTo>
                      <a:pt x="478632" y="428625"/>
                    </a:lnTo>
                    <a:lnTo>
                      <a:pt x="414338" y="376237"/>
                    </a:lnTo>
                    <a:lnTo>
                      <a:pt x="371475" y="433387"/>
                    </a:lnTo>
                    <a:lnTo>
                      <a:pt x="152400" y="431006"/>
                    </a:lnTo>
                    <a:close/>
                  </a:path>
                </a:pathLst>
              </a:custGeom>
              <a:solidFill>
                <a:schemeClr val="accent1">
                  <a:alpha val="36000"/>
                </a:schemeClr>
              </a:solidFill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 defTabSz="557181"/>
                <a:endParaRPr lang="ru-RU" sz="650" kern="0" dirty="0" err="1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20" name="Rectangle 18"/>
              <p:cNvSpPr txBox="1">
                <a:spLocks noChangeArrowheads="1"/>
              </p:cNvSpPr>
              <p:nvPr/>
            </p:nvSpPr>
            <p:spPr bwMode="auto">
              <a:xfrm>
                <a:off x="4134749" y="1730395"/>
                <a:ext cx="684053" cy="1280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45683">
                  <a:defRPr/>
                </a:pPr>
                <a:r>
                  <a:rPr lang="ru-RU" altLang="ru-RU" sz="1192" dirty="0">
                    <a:solidFill>
                      <a:prstClr val="black"/>
                    </a:solidFill>
                  </a:rPr>
                  <a:t>Нур-Султан</a:t>
                </a:r>
                <a:endParaRPr lang="en-US" altLang="ru-RU" sz="758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Овал 20"/>
              <p:cNvSpPr/>
              <p:nvPr/>
            </p:nvSpPr>
            <p:spPr>
              <a:xfrm>
                <a:off x="4779791" y="1767139"/>
                <a:ext cx="88398" cy="78287"/>
              </a:xfrm>
              <a:prstGeom prst="ellipse">
                <a:avLst/>
              </a:prstGeom>
              <a:solidFill>
                <a:srgbClr val="FF00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557181">
                  <a:defRPr/>
                </a:pPr>
                <a:endParaRPr lang="ru-RU" sz="650" kern="0">
                  <a:solidFill>
                    <a:srgbClr val="A5A5A5">
                      <a:lumMod val="50000"/>
                    </a:srgbClr>
                  </a:solidFill>
                  <a:latin typeface="Calibri"/>
                </a:endParaRPr>
              </a:p>
            </p:txBody>
          </p:sp>
        </p:grpSp>
        <p:sp>
          <p:nvSpPr>
            <p:cNvPr id="25" name="Овал 24"/>
            <p:cNvSpPr/>
            <p:nvPr/>
          </p:nvSpPr>
          <p:spPr bwMode="auto">
            <a:xfrm>
              <a:off x="6072362" y="3194234"/>
              <a:ext cx="98336" cy="92814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26" name="Овал 25"/>
            <p:cNvSpPr/>
            <p:nvPr/>
          </p:nvSpPr>
          <p:spPr bwMode="auto">
            <a:xfrm>
              <a:off x="6632886" y="3370662"/>
              <a:ext cx="98336" cy="92816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28" name="Rectangle 18"/>
            <p:cNvSpPr txBox="1">
              <a:spLocks noChangeArrowheads="1"/>
            </p:cNvSpPr>
            <p:nvPr/>
          </p:nvSpPr>
          <p:spPr bwMode="auto">
            <a:xfrm>
              <a:off x="5870827" y="3534647"/>
              <a:ext cx="767019" cy="1298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ru-RU"/>
              </a:defPPr>
              <a:lvl1pPr defTabSz="895529">
                <a:lnSpc>
                  <a:spcPct val="100000"/>
                </a:lnSpc>
                <a:spcBef>
                  <a:spcPct val="0"/>
                </a:spcBef>
                <a:buClr>
                  <a:srgbClr val="44546A"/>
                </a:buClr>
                <a:buFont typeface="Arial" panose="020B0604020202020204" pitchFamily="34" charset="0"/>
                <a:buNone/>
                <a:defRPr sz="1100" kern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93675" indent="-19208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alibri" panose="020F0502020204030204" pitchFamily="34" charset="0"/>
                </a:defRPr>
              </a:lvl2pPr>
              <a:lvl3pPr marL="457200" indent="-26193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614363" indent="-1555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749300" indent="-1301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 marL="12065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6pPr>
              <a:lvl7pPr marL="16637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7pPr>
              <a:lvl8pPr marL="21209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8pPr>
              <a:lvl9pPr marL="25781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9pPr>
            </a:lstStyle>
            <a:p>
              <a:pPr defTabSz="545683">
                <a:defRPr/>
              </a:pPr>
              <a:r>
                <a:rPr lang="ru-RU" altLang="ru-RU" sz="867" dirty="0">
                  <a:solidFill>
                    <a:prstClr val="black"/>
                  </a:solidFill>
                </a:rPr>
                <a:t>Семей</a:t>
              </a:r>
              <a:endParaRPr lang="en-US" altLang="ru-RU" sz="542" dirty="0">
                <a:solidFill>
                  <a:prstClr val="black"/>
                </a:solidFill>
              </a:endParaRPr>
            </a:p>
          </p:txBody>
        </p:sp>
        <p:sp>
          <p:nvSpPr>
            <p:cNvPr id="46" name="Овал 45"/>
            <p:cNvSpPr/>
            <p:nvPr/>
          </p:nvSpPr>
          <p:spPr bwMode="auto">
            <a:xfrm>
              <a:off x="6337878" y="2083063"/>
              <a:ext cx="98335" cy="92814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48" name="Rectangle 18"/>
            <p:cNvSpPr txBox="1">
              <a:spLocks noChangeArrowheads="1"/>
            </p:cNvSpPr>
            <p:nvPr/>
          </p:nvSpPr>
          <p:spPr bwMode="auto">
            <a:xfrm>
              <a:off x="5782659" y="2071555"/>
              <a:ext cx="817080" cy="113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ru-RU"/>
              </a:defPPr>
              <a:lvl1pPr defTabSz="895529">
                <a:lnSpc>
                  <a:spcPct val="100000"/>
                </a:lnSpc>
                <a:spcBef>
                  <a:spcPct val="0"/>
                </a:spcBef>
                <a:buClr>
                  <a:srgbClr val="44546A"/>
                </a:buClr>
                <a:buFont typeface="Arial" panose="020B0604020202020204" pitchFamily="34" charset="0"/>
                <a:buNone/>
                <a:defRPr sz="1100" kern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93675" indent="-19208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alibri" panose="020F0502020204030204" pitchFamily="34" charset="0"/>
                </a:defRPr>
              </a:lvl2pPr>
              <a:lvl3pPr marL="457200" indent="-26193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614363" indent="-1555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749300" indent="-1301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 marL="12065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6pPr>
              <a:lvl7pPr marL="16637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7pPr>
              <a:lvl8pPr marL="21209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8pPr>
              <a:lvl9pPr marL="25781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9pPr>
            </a:lstStyle>
            <a:p>
              <a:pPr defTabSz="545683">
                <a:defRPr/>
              </a:pPr>
              <a:r>
                <a:rPr lang="ru-RU" altLang="ru-RU" sz="758" dirty="0">
                  <a:solidFill>
                    <a:prstClr val="black"/>
                  </a:solidFill>
                </a:rPr>
                <a:t>Новосибирск</a:t>
              </a:r>
              <a:endParaRPr lang="en-US" altLang="ru-RU" sz="542" dirty="0">
                <a:solidFill>
                  <a:prstClr val="black"/>
                </a:solidFill>
              </a:endParaRPr>
            </a:p>
          </p:txBody>
        </p:sp>
        <p:sp>
          <p:nvSpPr>
            <p:cNvPr id="49" name="Rectangle 18"/>
            <p:cNvSpPr txBox="1">
              <a:spLocks noChangeArrowheads="1"/>
            </p:cNvSpPr>
            <p:nvPr/>
          </p:nvSpPr>
          <p:spPr bwMode="auto">
            <a:xfrm>
              <a:off x="6543988" y="2461994"/>
              <a:ext cx="817080" cy="113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ru-RU"/>
              </a:defPPr>
              <a:lvl1pPr defTabSz="895529">
                <a:lnSpc>
                  <a:spcPct val="100000"/>
                </a:lnSpc>
                <a:spcBef>
                  <a:spcPct val="0"/>
                </a:spcBef>
                <a:buClr>
                  <a:srgbClr val="44546A"/>
                </a:buClr>
                <a:buFont typeface="Arial" panose="020B0604020202020204" pitchFamily="34" charset="0"/>
                <a:buNone/>
                <a:defRPr sz="1100" kern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93675" indent="-19208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alibri" panose="020F0502020204030204" pitchFamily="34" charset="0"/>
                </a:defRPr>
              </a:lvl2pPr>
              <a:lvl3pPr marL="457200" indent="-26193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614363" indent="-1555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749300" indent="-1301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 marL="12065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6pPr>
              <a:lvl7pPr marL="16637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7pPr>
              <a:lvl8pPr marL="21209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8pPr>
              <a:lvl9pPr marL="25781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9pPr>
            </a:lstStyle>
            <a:p>
              <a:pPr defTabSz="545683">
                <a:defRPr/>
              </a:pPr>
              <a:r>
                <a:rPr lang="ru-RU" altLang="ru-RU" sz="758" dirty="0">
                  <a:solidFill>
                    <a:prstClr val="black"/>
                  </a:solidFill>
                </a:rPr>
                <a:t>Барнаул</a:t>
              </a:r>
              <a:endParaRPr lang="en-US" altLang="ru-RU" sz="542" dirty="0">
                <a:solidFill>
                  <a:prstClr val="black"/>
                </a:solidFill>
              </a:endParaRPr>
            </a:p>
          </p:txBody>
        </p:sp>
        <p:sp>
          <p:nvSpPr>
            <p:cNvPr id="50" name="Овал 49"/>
            <p:cNvSpPr/>
            <p:nvPr/>
          </p:nvSpPr>
          <p:spPr bwMode="auto">
            <a:xfrm>
              <a:off x="6420122" y="2462762"/>
              <a:ext cx="98335" cy="94503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  <p:cxnSp>
          <p:nvCxnSpPr>
            <p:cNvPr id="53" name="Прямая соединительная линия 52"/>
            <p:cNvCxnSpPr>
              <a:stCxn id="46" idx="4"/>
            </p:cNvCxnSpPr>
            <p:nvPr/>
          </p:nvCxnSpPr>
          <p:spPr>
            <a:xfrm>
              <a:off x="6386155" y="2175881"/>
              <a:ext cx="69729" cy="293633"/>
            </a:xfrm>
            <a:prstGeom prst="line">
              <a:avLst/>
            </a:prstGeom>
            <a:ln w="317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/>
            <p:cNvCxnSpPr>
              <a:stCxn id="50" idx="4"/>
              <a:endCxn id="25" idx="7"/>
            </p:cNvCxnSpPr>
            <p:nvPr/>
          </p:nvCxnSpPr>
          <p:spPr>
            <a:xfrm flipH="1">
              <a:off x="6156297" y="2557265"/>
              <a:ext cx="312993" cy="650562"/>
            </a:xfrm>
            <a:prstGeom prst="line">
              <a:avLst/>
            </a:prstGeom>
            <a:ln w="31750">
              <a:solidFill>
                <a:srgbClr val="0070C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>
              <a:endCxn id="61" idx="0"/>
            </p:cNvCxnSpPr>
            <p:nvPr/>
          </p:nvCxnSpPr>
          <p:spPr>
            <a:xfrm flipH="1">
              <a:off x="6024992" y="3046101"/>
              <a:ext cx="203985" cy="373498"/>
            </a:xfrm>
            <a:prstGeom prst="line">
              <a:avLst/>
            </a:prstGeom>
            <a:ln w="31750">
              <a:solidFill>
                <a:srgbClr val="0070C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Овал 60"/>
            <p:cNvSpPr/>
            <p:nvPr/>
          </p:nvSpPr>
          <p:spPr bwMode="auto">
            <a:xfrm>
              <a:off x="5974931" y="3419599"/>
              <a:ext cx="100123" cy="92814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410736" y="1537314"/>
              <a:ext cx="3135288" cy="324409"/>
            </a:xfrm>
            <a:prstGeom prst="rect">
              <a:avLst/>
            </a:prstGeom>
            <a:noFill/>
          </p:spPr>
          <p:txBody>
            <a:bodyPr wrap="square" lIns="99058" tIns="49529" rIns="99058" bIns="49529">
              <a:spAutoFit/>
            </a:bodyPr>
            <a:lstStyle/>
            <a:p>
              <a:pPr defTabSz="557181">
                <a:defRPr/>
              </a:pPr>
              <a:r>
                <a:rPr lang="ru-RU" sz="1517" dirty="0">
                  <a:solidFill>
                    <a:srgbClr val="5B9BD5">
                      <a:lumMod val="75000"/>
                    </a:srgbClr>
                  </a:solidFill>
                  <a:cs typeface="Arial" panose="020B0604020202020204" pitchFamily="34" charset="0"/>
                </a:rPr>
                <a:t>Р </a:t>
              </a:r>
              <a:r>
                <a:rPr lang="ru-RU" sz="1300" dirty="0">
                  <a:solidFill>
                    <a:srgbClr val="5B9BD5">
                      <a:lumMod val="75000"/>
                    </a:srgbClr>
                  </a:solidFill>
                  <a:cs typeface="Arial" panose="020B0604020202020204" pitchFamily="34" charset="0"/>
                </a:rPr>
                <a:t>О С С И Й С К А Я   Ф Е Д Е Р А Ц И Я</a:t>
              </a:r>
            </a:p>
          </p:txBody>
        </p:sp>
        <p:cxnSp>
          <p:nvCxnSpPr>
            <p:cNvPr id="75" name="Прямая соединительная линия 74"/>
            <p:cNvCxnSpPr/>
            <p:nvPr/>
          </p:nvCxnSpPr>
          <p:spPr>
            <a:xfrm flipV="1">
              <a:off x="6062538" y="3434789"/>
              <a:ext cx="548892" cy="52314"/>
            </a:xfrm>
            <a:prstGeom prst="line">
              <a:avLst/>
            </a:prstGeom>
            <a:ln w="31750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 rot="17797914">
              <a:off x="5958806" y="2644077"/>
              <a:ext cx="620653" cy="197041"/>
            </a:xfrm>
            <a:prstGeom prst="rect">
              <a:avLst/>
            </a:prstGeom>
            <a:noFill/>
          </p:spPr>
          <p:txBody>
            <a:bodyPr wrap="square" lIns="99058" tIns="49529" rIns="99058" bIns="49529" rtlCol="0">
              <a:spAutoFit/>
            </a:bodyPr>
            <a:lstStyle/>
            <a:p>
              <a:r>
                <a:rPr lang="ru-RU" sz="758" dirty="0"/>
                <a:t>323 </a:t>
              </a:r>
              <a:r>
                <a:rPr lang="ru-RU" sz="867" dirty="0"/>
                <a:t>км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 rot="17856249">
              <a:off x="5787729" y="3114310"/>
              <a:ext cx="501452" cy="168846"/>
            </a:xfrm>
            <a:prstGeom prst="rect">
              <a:avLst/>
            </a:prstGeom>
            <a:noFill/>
          </p:spPr>
          <p:txBody>
            <a:bodyPr wrap="square" lIns="99058" tIns="49529" rIns="99058" bIns="49529" rtlCol="0">
              <a:spAutoFit/>
            </a:bodyPr>
            <a:lstStyle/>
            <a:p>
              <a:r>
                <a:rPr lang="ru-RU" sz="650" dirty="0"/>
                <a:t>126 км</a:t>
              </a:r>
            </a:p>
          </p:txBody>
        </p:sp>
        <p:sp>
          <p:nvSpPr>
            <p:cNvPr id="95" name="TextBox 94"/>
            <p:cNvSpPr txBox="1"/>
            <p:nvPr/>
          </p:nvSpPr>
          <p:spPr>
            <a:xfrm rot="21253248">
              <a:off x="6203515" y="3410474"/>
              <a:ext cx="529158" cy="210762"/>
            </a:xfrm>
            <a:prstGeom prst="rect">
              <a:avLst/>
            </a:prstGeom>
            <a:noFill/>
          </p:spPr>
          <p:txBody>
            <a:bodyPr wrap="square" lIns="99058" tIns="49529" rIns="99058" bIns="49529" rtlCol="0">
              <a:spAutoFit/>
            </a:bodyPr>
            <a:lstStyle/>
            <a:p>
              <a:r>
                <a:rPr lang="ru-RU" sz="758" dirty="0"/>
                <a:t>218 км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201872" y="2997924"/>
              <a:ext cx="540022" cy="324221"/>
            </a:xfrm>
            <a:prstGeom prst="rect">
              <a:avLst/>
            </a:prstGeom>
            <a:noFill/>
          </p:spPr>
          <p:txBody>
            <a:bodyPr wrap="square" lIns="99058" tIns="49529" rIns="99058" bIns="49529" rtlCol="0">
              <a:spAutoFit/>
            </a:bodyPr>
            <a:lstStyle/>
            <a:p>
              <a:r>
                <a:rPr lang="ru-RU" sz="758" dirty="0"/>
                <a:t>Веселоярск</a:t>
              </a: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6677944" y="3370429"/>
              <a:ext cx="1303394" cy="227105"/>
            </a:xfrm>
            <a:prstGeom prst="rect">
              <a:avLst/>
            </a:prstGeom>
            <a:noFill/>
          </p:spPr>
          <p:txBody>
            <a:bodyPr wrap="square" lIns="99058" tIns="49529" rIns="99058" bIns="49529" rtlCol="0">
              <a:spAutoFit/>
            </a:bodyPr>
            <a:lstStyle/>
            <a:p>
              <a:r>
                <a:rPr lang="ru-RU" sz="867" dirty="0"/>
                <a:t>Усть-Каменогорск</a:t>
              </a:r>
            </a:p>
          </p:txBody>
        </p:sp>
        <p:cxnSp>
          <p:nvCxnSpPr>
            <p:cNvPr id="66" name="Прямая соединительная линия 65"/>
            <p:cNvCxnSpPr/>
            <p:nvPr/>
          </p:nvCxnSpPr>
          <p:spPr>
            <a:xfrm>
              <a:off x="5330444" y="3240861"/>
              <a:ext cx="661025" cy="211088"/>
            </a:xfrm>
            <a:prstGeom prst="line">
              <a:avLst/>
            </a:prstGeom>
            <a:ln w="28575"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Овал 66"/>
            <p:cNvSpPr/>
            <p:nvPr/>
          </p:nvSpPr>
          <p:spPr bwMode="auto">
            <a:xfrm>
              <a:off x="5240808" y="3175288"/>
              <a:ext cx="87313" cy="8890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68" name="Rectangle 18"/>
            <p:cNvSpPr txBox="1">
              <a:spLocks noChangeArrowheads="1"/>
            </p:cNvSpPr>
            <p:nvPr/>
          </p:nvSpPr>
          <p:spPr bwMode="auto">
            <a:xfrm>
              <a:off x="4987178" y="3046101"/>
              <a:ext cx="530881" cy="1298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ru-RU"/>
              </a:defPPr>
              <a:lvl1pPr defTabSz="895529">
                <a:lnSpc>
                  <a:spcPct val="100000"/>
                </a:lnSpc>
                <a:spcBef>
                  <a:spcPct val="0"/>
                </a:spcBef>
                <a:buClr>
                  <a:srgbClr val="44546A"/>
                </a:buClr>
                <a:buFont typeface="Arial" panose="020B0604020202020204" pitchFamily="34" charset="0"/>
                <a:buNone/>
                <a:defRPr sz="1100" kern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93675" indent="-19208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alibri" panose="020F0502020204030204" pitchFamily="34" charset="0"/>
                </a:defRPr>
              </a:lvl2pPr>
              <a:lvl3pPr marL="457200" indent="-26193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614363" indent="-1555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749300" indent="-1301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 marL="12065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6pPr>
              <a:lvl7pPr marL="16637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7pPr>
              <a:lvl8pPr marL="21209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8pPr>
              <a:lvl9pPr marL="25781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9pPr>
            </a:lstStyle>
            <a:p>
              <a:pPr defTabSz="545683">
                <a:defRPr/>
              </a:pPr>
              <a:r>
                <a:rPr lang="ru-RU" altLang="ru-RU" sz="867" dirty="0">
                  <a:solidFill>
                    <a:prstClr val="black"/>
                  </a:solidFill>
                </a:rPr>
                <a:t>Павлодар</a:t>
              </a:r>
              <a:endParaRPr lang="en-US" altLang="ru-RU" sz="867" dirty="0">
                <a:solidFill>
                  <a:prstClr val="black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 rot="985741">
              <a:off x="5460416" y="3330107"/>
              <a:ext cx="421127" cy="210762"/>
            </a:xfrm>
            <a:prstGeom prst="rect">
              <a:avLst/>
            </a:prstGeom>
            <a:noFill/>
          </p:spPr>
          <p:txBody>
            <a:bodyPr wrap="square" lIns="99058" tIns="49529" rIns="99058" bIns="49529" rtlCol="0">
              <a:spAutoFit/>
            </a:bodyPr>
            <a:lstStyle/>
            <a:p>
              <a:r>
                <a:rPr lang="ru-RU" sz="758" dirty="0"/>
                <a:t>335 км</a:t>
              </a:r>
            </a:p>
          </p:txBody>
        </p:sp>
        <p:sp>
          <p:nvSpPr>
            <p:cNvPr id="83" name="Rectangle 18"/>
            <p:cNvSpPr txBox="1">
              <a:spLocks noChangeArrowheads="1"/>
            </p:cNvSpPr>
            <p:nvPr/>
          </p:nvSpPr>
          <p:spPr bwMode="auto">
            <a:xfrm>
              <a:off x="4075046" y="1873744"/>
              <a:ext cx="817080" cy="113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ru-RU"/>
              </a:defPPr>
              <a:lvl1pPr defTabSz="895529">
                <a:lnSpc>
                  <a:spcPct val="100000"/>
                </a:lnSpc>
                <a:spcBef>
                  <a:spcPct val="0"/>
                </a:spcBef>
                <a:buClr>
                  <a:srgbClr val="44546A"/>
                </a:buClr>
                <a:buFont typeface="Arial" panose="020B0604020202020204" pitchFamily="34" charset="0"/>
                <a:buNone/>
                <a:defRPr sz="1100" kern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93675" indent="-19208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alibri" panose="020F0502020204030204" pitchFamily="34" charset="0"/>
                </a:defRPr>
              </a:lvl2pPr>
              <a:lvl3pPr marL="457200" indent="-261938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614363" indent="-1555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749300" indent="-130175" defTabSz="8953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 marL="12065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6pPr>
              <a:lvl7pPr marL="16637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7pPr>
              <a:lvl8pPr marL="21209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8pPr>
              <a:lvl9pPr marL="2578100" indent="-130175" defTabSz="89535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9pPr>
            </a:lstStyle>
            <a:p>
              <a:pPr defTabSz="545683">
                <a:defRPr/>
              </a:pPr>
              <a:r>
                <a:rPr lang="ru-RU" altLang="ru-RU" sz="758" dirty="0">
                  <a:solidFill>
                    <a:prstClr val="black"/>
                  </a:solidFill>
                </a:rPr>
                <a:t>Ишим</a:t>
              </a:r>
            </a:p>
          </p:txBody>
        </p:sp>
        <p:sp>
          <p:nvSpPr>
            <p:cNvPr id="92" name="Овал 91"/>
            <p:cNvSpPr/>
            <p:nvPr/>
          </p:nvSpPr>
          <p:spPr bwMode="auto">
            <a:xfrm>
              <a:off x="3931592" y="1874780"/>
              <a:ext cx="98335" cy="94503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9058" tIns="49529" rIns="99058" bIns="49529" anchor="ctr"/>
            <a:lstStyle/>
            <a:p>
              <a:pPr algn="ctr" defTabSz="557181">
                <a:defRPr/>
              </a:pPr>
              <a:endParaRPr lang="ru-RU" sz="650" kern="0">
                <a:solidFill>
                  <a:srgbClr val="A5A5A5">
                    <a:lumMod val="50000"/>
                  </a:srgbClr>
                </a:solidFill>
                <a:latin typeface="Calibri"/>
              </a:endParaRPr>
            </a:p>
          </p:txBody>
        </p:sp>
      </p:grpSp>
      <p:sp>
        <p:nvSpPr>
          <p:cNvPr id="47" name="Овал 46"/>
          <p:cNvSpPr/>
          <p:nvPr/>
        </p:nvSpPr>
        <p:spPr bwMode="auto">
          <a:xfrm>
            <a:off x="9076411" y="2195604"/>
            <a:ext cx="116511" cy="95411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74294" tIns="37146" rIns="74294" bIns="37146" anchor="ctr"/>
          <a:lstStyle/>
          <a:p>
            <a:pPr algn="ctr" defTabSz="557181">
              <a:defRPr/>
            </a:pPr>
            <a:endParaRPr lang="ru-RU" sz="650" kern="0">
              <a:solidFill>
                <a:srgbClr val="A5A5A5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54" name="Овал 53"/>
          <p:cNvSpPr/>
          <p:nvPr/>
        </p:nvSpPr>
        <p:spPr bwMode="auto">
          <a:xfrm>
            <a:off x="7183225" y="2850800"/>
            <a:ext cx="122638" cy="112153"/>
          </a:xfrm>
          <a:prstGeom prst="ellipse">
            <a:avLst/>
          </a:prstGeom>
          <a:solidFill>
            <a:srgbClr val="FFFF0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74295" tIns="37148" rIns="74295" bIns="37148" anchor="ctr"/>
          <a:lstStyle/>
          <a:p>
            <a:pPr algn="ctr" defTabSz="557181">
              <a:defRPr/>
            </a:pPr>
            <a:endParaRPr lang="ru-RU" sz="650" kern="0">
              <a:solidFill>
                <a:srgbClr val="A5A5A5">
                  <a:lumMod val="50000"/>
                </a:srgbClr>
              </a:solidFill>
              <a:latin typeface="Calibri"/>
            </a:endParaRPr>
          </a:p>
        </p:txBody>
      </p:sp>
      <p:cxnSp>
        <p:nvCxnSpPr>
          <p:cNvPr id="55" name="Прямая соединительная линия 54"/>
          <p:cNvCxnSpPr>
            <a:stCxn id="54" idx="6"/>
            <a:endCxn id="67" idx="3"/>
          </p:cNvCxnSpPr>
          <p:nvPr/>
        </p:nvCxnSpPr>
        <p:spPr>
          <a:xfrm flipV="1">
            <a:off x="7305862" y="2416969"/>
            <a:ext cx="702130" cy="489907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18"/>
          <p:cNvSpPr txBox="1">
            <a:spLocks noChangeArrowheads="1"/>
          </p:cNvSpPr>
          <p:nvPr/>
        </p:nvSpPr>
        <p:spPr bwMode="auto">
          <a:xfrm>
            <a:off x="7372702" y="2872786"/>
            <a:ext cx="629003" cy="133434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45683">
              <a:defRPr/>
            </a:pPr>
            <a:r>
              <a:rPr lang="ru-RU" altLang="ru-RU" sz="867" dirty="0">
                <a:solidFill>
                  <a:prstClr val="black"/>
                </a:solidFill>
              </a:rPr>
              <a:t>Темиртау</a:t>
            </a:r>
            <a:endParaRPr lang="en-US" altLang="ru-RU" sz="867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98968" y="3262343"/>
            <a:ext cx="3984166" cy="1183017"/>
          </a:xfrm>
          <a:prstGeom prst="rect">
            <a:avLst/>
          </a:prstGeom>
          <a:solidFill>
            <a:schemeClr val="bg1"/>
          </a:solidFill>
        </p:spPr>
        <p:txBody>
          <a:bodyPr wrap="square" lIns="74295" tIns="37148" rIns="74295" bIns="37148" rtlCol="0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</a:rPr>
              <a:t>Прогнозный объем потребления газа СКО и ВКО – 2,66 </a:t>
            </a:r>
            <a:r>
              <a:rPr lang="ru-RU" sz="1200" b="1" dirty="0" smtClean="0">
                <a:latin typeface="Arial" panose="020B0604020202020204" pitchFamily="34" charset="0"/>
              </a:rPr>
              <a:t>млрд.м3/год </a:t>
            </a:r>
            <a:r>
              <a:rPr lang="ru-RU" sz="1200" dirty="0" smtClean="0">
                <a:latin typeface="Arial" panose="020B0604020202020204" pitchFamily="34" charset="0"/>
              </a:rPr>
              <a:t>в </a:t>
            </a:r>
            <a:r>
              <a:rPr lang="ru-RU" sz="1200" dirty="0" err="1" smtClean="0">
                <a:latin typeface="Arial" panose="020B0604020202020204" pitchFamily="34" charset="0"/>
              </a:rPr>
              <a:t>т.ч</a:t>
            </a:r>
            <a:r>
              <a:rPr lang="ru-RU" sz="1200" dirty="0" smtClean="0">
                <a:latin typeface="Arial" panose="020B0604020202020204" pitchFamily="34" charset="0"/>
              </a:rPr>
              <a:t>. </a:t>
            </a:r>
            <a:r>
              <a:rPr lang="ru-RU" sz="1200" dirty="0">
                <a:latin typeface="Arial" panose="020B0604020202020204" pitchFamily="34" charset="0"/>
              </a:rPr>
              <a:t>в разрезе регионов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</a:rPr>
              <a:t>Северо-Казахстанская область – 0,15 млрд.м3/год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</a:rPr>
              <a:t>Павлодарская область – 0,64 млрд.м3/год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</a:rPr>
              <a:t>Восточно-Казахстанская область – 1,87 млрд.м3/год   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8096294" y="2358441"/>
            <a:ext cx="766359" cy="201712"/>
          </a:xfrm>
          <a:prstGeom prst="line">
            <a:avLst/>
          </a:prstGeom>
          <a:ln w="317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H="1">
            <a:off x="9003310" y="2560154"/>
            <a:ext cx="613484" cy="22719"/>
          </a:xfrm>
          <a:prstGeom prst="line">
            <a:avLst/>
          </a:prstGeom>
          <a:ln w="317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 rot="19733663">
            <a:off x="7480778" y="2408474"/>
            <a:ext cx="501684" cy="191653"/>
          </a:xfrm>
          <a:prstGeom prst="rect">
            <a:avLst/>
          </a:prstGeom>
          <a:noFill/>
        </p:spPr>
        <p:txBody>
          <a:bodyPr wrap="square" lIns="74294" tIns="37146" rIns="74294" bIns="37146" rtlCol="0">
            <a:spAutoFit/>
          </a:bodyPr>
          <a:lstStyle/>
          <a:p>
            <a:r>
              <a:rPr lang="ru-RU" sz="758" dirty="0"/>
              <a:t>450 км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90775" y="802912"/>
            <a:ext cx="3849039" cy="1152624"/>
          </a:xfrm>
          <a:prstGeom prst="rect">
            <a:avLst/>
          </a:prstGeom>
          <a:noFill/>
        </p:spPr>
        <p:txBody>
          <a:bodyPr wrap="square" lIns="74295" tIns="37148" rIns="74295" bIns="37148" rtlCol="0">
            <a:spAutoFit/>
          </a:bodyPr>
          <a:lstStyle/>
          <a:p>
            <a:r>
              <a:rPr lang="ru-RU" sz="867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Маршруты поставок газа из России</a:t>
            </a:r>
          </a:p>
          <a:p>
            <a:r>
              <a:rPr lang="ru-RU" sz="867" u="sng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Для восточных регионов:</a:t>
            </a:r>
          </a:p>
          <a:p>
            <a:r>
              <a:rPr lang="ru-RU" sz="867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1) Барнаул - </a:t>
            </a:r>
            <a:r>
              <a:rPr lang="ru-RU" sz="867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Веселоярск</a:t>
            </a:r>
            <a:r>
              <a:rPr lang="ru-RU" sz="867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 (РФ) – (РК) Семей- Усть-Каменогорск – Павлодар </a:t>
            </a:r>
            <a:r>
              <a:rPr lang="ru-RU" sz="8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(ориентировочная протяженность 1002 км)</a:t>
            </a:r>
            <a:r>
              <a:rPr lang="ru-RU" sz="867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 ;</a:t>
            </a:r>
          </a:p>
          <a:p>
            <a:r>
              <a:rPr lang="ru-RU" sz="867" u="sng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Для северных регионов:</a:t>
            </a:r>
            <a:endParaRPr lang="ru-RU" sz="867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ru-RU" sz="867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2) Ишим – Петропавловск –Кокшетау </a:t>
            </a:r>
            <a:r>
              <a:rPr lang="ru-RU" sz="9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(ориентировочная протяженность 370 км)</a:t>
            </a:r>
            <a:endParaRPr lang="ru-RU" sz="867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228600" indent="-228600">
              <a:buAutoNum type="arabicParenR"/>
            </a:pPr>
            <a:endParaRPr lang="ru-RU" sz="867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 flipV="1">
            <a:off x="404516" y="2304792"/>
            <a:ext cx="642572" cy="8069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 flipV="1">
            <a:off x="483865" y="1312355"/>
            <a:ext cx="310057" cy="1148"/>
          </a:xfrm>
          <a:prstGeom prst="line">
            <a:avLst/>
          </a:prstGeom>
          <a:ln w="317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>
            <a:endCxn id="54" idx="3"/>
          </p:cNvCxnSpPr>
          <p:nvPr/>
        </p:nvCxnSpPr>
        <p:spPr>
          <a:xfrm flipV="1">
            <a:off x="6367445" y="2946529"/>
            <a:ext cx="833740" cy="1319509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>
            <a:stCxn id="21" idx="5"/>
            <a:endCxn id="54" idx="1"/>
          </p:cNvCxnSpPr>
          <p:nvPr/>
        </p:nvCxnSpPr>
        <p:spPr>
          <a:xfrm>
            <a:off x="7058431" y="2581821"/>
            <a:ext cx="142755" cy="285405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>
            <a:stCxn id="81" idx="5"/>
            <a:endCxn id="21" idx="1"/>
          </p:cNvCxnSpPr>
          <p:nvPr/>
        </p:nvCxnSpPr>
        <p:spPr>
          <a:xfrm>
            <a:off x="6561617" y="1939112"/>
            <a:ext cx="410096" cy="563405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>
            <a:stCxn id="82" idx="4"/>
            <a:endCxn id="81" idx="0"/>
          </p:cNvCxnSpPr>
          <p:nvPr/>
        </p:nvCxnSpPr>
        <p:spPr>
          <a:xfrm>
            <a:off x="6489138" y="1464041"/>
            <a:ext cx="29121" cy="379342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Овал 80"/>
          <p:cNvSpPr/>
          <p:nvPr/>
        </p:nvSpPr>
        <p:spPr bwMode="auto">
          <a:xfrm>
            <a:off x="6456938" y="1843383"/>
            <a:ext cx="122638" cy="112153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74295" tIns="37148" rIns="74295" bIns="37148" anchor="ctr"/>
          <a:lstStyle/>
          <a:p>
            <a:pPr algn="ctr" defTabSz="557181">
              <a:defRPr/>
            </a:pPr>
            <a:endParaRPr lang="ru-RU" sz="650" kern="0">
              <a:solidFill>
                <a:srgbClr val="A5A5A5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82" name="Овал 81"/>
          <p:cNvSpPr/>
          <p:nvPr/>
        </p:nvSpPr>
        <p:spPr bwMode="auto">
          <a:xfrm>
            <a:off x="6427817" y="1351889"/>
            <a:ext cx="122638" cy="112153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74295" tIns="37148" rIns="74295" bIns="37148" anchor="ctr"/>
          <a:lstStyle/>
          <a:p>
            <a:pPr algn="ctr" defTabSz="557181">
              <a:defRPr/>
            </a:pPr>
            <a:endParaRPr lang="ru-RU" sz="650" kern="0">
              <a:solidFill>
                <a:srgbClr val="A5A5A5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86" name="Rectangle 18"/>
          <p:cNvSpPr txBox="1">
            <a:spLocks noChangeArrowheads="1"/>
          </p:cNvSpPr>
          <p:nvPr/>
        </p:nvSpPr>
        <p:spPr bwMode="auto">
          <a:xfrm>
            <a:off x="6557239" y="1381568"/>
            <a:ext cx="1038865" cy="133434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45683">
              <a:defRPr/>
            </a:pPr>
            <a:r>
              <a:rPr lang="ru-RU" altLang="ru-RU" sz="867" dirty="0" err="1">
                <a:solidFill>
                  <a:prstClr val="black"/>
                </a:solidFill>
              </a:rPr>
              <a:t>Петропавл</a:t>
            </a:r>
            <a:endParaRPr lang="en-US" altLang="ru-RU" sz="867" dirty="0">
              <a:solidFill>
                <a:prstClr val="black"/>
              </a:solidFill>
            </a:endParaRPr>
          </a:p>
        </p:txBody>
      </p:sp>
      <p:sp>
        <p:nvSpPr>
          <p:cNvPr id="87" name="Rectangle 18"/>
          <p:cNvSpPr txBox="1">
            <a:spLocks noChangeArrowheads="1"/>
          </p:cNvSpPr>
          <p:nvPr/>
        </p:nvSpPr>
        <p:spPr bwMode="auto">
          <a:xfrm>
            <a:off x="6629909" y="1830501"/>
            <a:ext cx="629003" cy="133434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45683">
              <a:defRPr/>
            </a:pPr>
            <a:r>
              <a:rPr lang="ru-RU" altLang="ru-RU" sz="867" dirty="0">
                <a:solidFill>
                  <a:prstClr val="black"/>
                </a:solidFill>
              </a:rPr>
              <a:t>Кокшетау</a:t>
            </a:r>
            <a:endParaRPr lang="en-US" altLang="ru-RU" sz="867" dirty="0">
              <a:solidFill>
                <a:prstClr val="black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 rot="3183252">
            <a:off x="6653038" y="2035952"/>
            <a:ext cx="417114" cy="191653"/>
          </a:xfrm>
          <a:prstGeom prst="rect">
            <a:avLst/>
          </a:prstGeom>
          <a:noFill/>
        </p:spPr>
        <p:txBody>
          <a:bodyPr wrap="square" lIns="74294" tIns="37146" rIns="74294" bIns="37146" rtlCol="0">
            <a:spAutoFit/>
          </a:bodyPr>
          <a:lstStyle/>
          <a:p>
            <a:r>
              <a:rPr lang="en-US" sz="758" dirty="0"/>
              <a:t>II </a:t>
            </a:r>
            <a:r>
              <a:rPr lang="ru-RU" sz="758" dirty="0"/>
              <a:t>этап</a:t>
            </a:r>
          </a:p>
        </p:txBody>
      </p:sp>
      <p:sp>
        <p:nvSpPr>
          <p:cNvPr id="90" name="TextBox 89"/>
          <p:cNvSpPr txBox="1"/>
          <p:nvPr/>
        </p:nvSpPr>
        <p:spPr>
          <a:xfrm rot="18164364">
            <a:off x="6189614" y="3351482"/>
            <a:ext cx="1072679" cy="191653"/>
          </a:xfrm>
          <a:prstGeom prst="rect">
            <a:avLst/>
          </a:prstGeom>
          <a:noFill/>
        </p:spPr>
        <p:txBody>
          <a:bodyPr wrap="square" lIns="74294" tIns="37146" rIns="74294" bIns="37146" rtlCol="0">
            <a:spAutoFit/>
          </a:bodyPr>
          <a:lstStyle/>
          <a:p>
            <a:r>
              <a:rPr lang="ru-RU" sz="758" dirty="0"/>
              <a:t>МГ «Сарыарка» </a:t>
            </a:r>
            <a:r>
              <a:rPr lang="en-US" sz="758" dirty="0"/>
              <a:t>I </a:t>
            </a:r>
            <a:r>
              <a:rPr lang="ru-RU" sz="758" dirty="0"/>
              <a:t>этап</a:t>
            </a:r>
          </a:p>
        </p:txBody>
      </p:sp>
      <p:sp>
        <p:nvSpPr>
          <p:cNvPr id="91" name="TextBox 90"/>
          <p:cNvSpPr txBox="1"/>
          <p:nvPr/>
        </p:nvSpPr>
        <p:spPr>
          <a:xfrm rot="16200000">
            <a:off x="6127640" y="1515064"/>
            <a:ext cx="458643" cy="191653"/>
          </a:xfrm>
          <a:prstGeom prst="rect">
            <a:avLst/>
          </a:prstGeom>
          <a:noFill/>
        </p:spPr>
        <p:txBody>
          <a:bodyPr wrap="square" lIns="74294" tIns="37146" rIns="74294" bIns="37146" rtlCol="0">
            <a:spAutoFit/>
          </a:bodyPr>
          <a:lstStyle/>
          <a:p>
            <a:r>
              <a:rPr lang="en-US" sz="758" dirty="0"/>
              <a:t>III </a:t>
            </a:r>
            <a:r>
              <a:rPr lang="ru-RU" sz="758" dirty="0"/>
              <a:t>этап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A59E695E-A8C6-4300-A50B-13339A072A06}"/>
              </a:ext>
            </a:extLst>
          </p:cNvPr>
          <p:cNvSpPr/>
          <p:nvPr/>
        </p:nvSpPr>
        <p:spPr>
          <a:xfrm>
            <a:off x="-1536" y="-4343"/>
            <a:ext cx="12193536" cy="5514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1" tIns="37146" rIns="74291" bIns="37146" rtlCol="0" anchor="ctr"/>
          <a:lstStyle/>
          <a:p>
            <a:pPr algn="ctr"/>
            <a:endParaRPr lang="x-none">
              <a:solidFill>
                <a:prstClr val="white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0758692-E049-438D-AAD8-458EEA6F0EF9}"/>
              </a:ext>
            </a:extLst>
          </p:cNvPr>
          <p:cNvSpPr txBox="1"/>
          <p:nvPr/>
        </p:nvSpPr>
        <p:spPr>
          <a:xfrm>
            <a:off x="0" y="60240"/>
            <a:ext cx="9616793" cy="382794"/>
          </a:xfrm>
          <a:prstGeom prst="rect">
            <a:avLst/>
          </a:prstGeom>
          <a:noFill/>
        </p:spPr>
        <p:txBody>
          <a:bodyPr wrap="square" lIns="74291" tIns="37146" rIns="74291" bIns="37146" rtlCol="0">
            <a:spAutoFit/>
          </a:bodyPr>
          <a:lstStyle/>
          <a:p>
            <a:pPr marL="288896"/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фикация </a:t>
            </a:r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верных и восточных регионов Казахстана </a:t>
            </a:r>
            <a:endParaRPr lang="kk-KZ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4" name="Таблица 83">
            <a:extLst>
              <a:ext uri="{FF2B5EF4-FFF2-40B4-BE49-F238E27FC236}">
                <a16:creationId xmlns:a16="http://schemas.microsoft.com/office/drawing/2014/main" id="{E9230E28-0D25-4E81-BFEC-6AB5E157E1D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3011" y="4798421"/>
          <a:ext cx="5390071" cy="1699809"/>
        </p:xfrm>
        <a:graphic>
          <a:graphicData uri="http://schemas.openxmlformats.org/drawingml/2006/table">
            <a:tbl>
              <a:tblPr/>
              <a:tblGrid>
                <a:gridCol w="855256">
                  <a:extLst>
                    <a:ext uri="{9D8B030D-6E8A-4147-A177-3AD203B41FA5}">
                      <a16:colId xmlns:a16="http://schemas.microsoft.com/office/drawing/2014/main" val="3601186272"/>
                    </a:ext>
                  </a:extLst>
                </a:gridCol>
                <a:gridCol w="2018756">
                  <a:extLst>
                    <a:ext uri="{9D8B030D-6E8A-4147-A177-3AD203B41FA5}">
                      <a16:colId xmlns:a16="http://schemas.microsoft.com/office/drawing/2014/main" val="2569865267"/>
                    </a:ext>
                  </a:extLst>
                </a:gridCol>
                <a:gridCol w="1252691">
                  <a:extLst>
                    <a:ext uri="{9D8B030D-6E8A-4147-A177-3AD203B41FA5}">
                      <a16:colId xmlns:a16="http://schemas.microsoft.com/office/drawing/2014/main" val="3940589798"/>
                    </a:ext>
                  </a:extLst>
                </a:gridCol>
                <a:gridCol w="1263368">
                  <a:extLst>
                    <a:ext uri="{9D8B030D-6E8A-4147-A177-3AD203B41FA5}">
                      <a16:colId xmlns:a16="http://schemas.microsoft.com/office/drawing/2014/main" val="1364881281"/>
                    </a:ext>
                  </a:extLst>
                </a:gridCol>
              </a:tblGrid>
              <a:tr h="22831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9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ок МГ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9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ласти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ительность на полное развитие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оптимистичный </a:t>
                      </a:r>
                      <a:r>
                        <a:rPr lang="ru-RU" sz="9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ноз по ТЭО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051733"/>
                  </a:ext>
                </a:extLst>
              </a:tr>
              <a:tr h="144543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. тыс.м3/час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9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довой</a:t>
                      </a:r>
                      <a:r>
                        <a:rPr lang="ru-RU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лн.м3/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521251"/>
                  </a:ext>
                </a:extLst>
              </a:tr>
              <a:tr h="156286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</a:t>
                      </a:r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агандинская 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6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5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4876575"/>
                  </a:ext>
                </a:extLst>
              </a:tr>
              <a:tr h="144939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молинская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923841"/>
                  </a:ext>
                </a:extLst>
              </a:tr>
              <a:tr h="126823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молинская от сетей </a:t>
                      </a:r>
                      <a:r>
                        <a:rPr lang="ru-RU" sz="90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Нур</a:t>
                      </a:r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Султан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5841356"/>
                  </a:ext>
                </a:extLst>
              </a:tr>
              <a:tr h="122293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Нур</a:t>
                      </a:r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Султан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5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95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3125193"/>
                  </a:ext>
                </a:extLst>
              </a:tr>
              <a:tr h="117986">
                <a:tc v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9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селлорМиттал</a:t>
                      </a:r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миртау»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ru-RU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aa-ET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25171"/>
                  </a:ext>
                </a:extLst>
              </a:tr>
              <a:tr h="1179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 </a:t>
                      </a:r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молинская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6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2392201"/>
                  </a:ext>
                </a:extLst>
              </a:tr>
              <a:tr h="1714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 </a:t>
                      </a:r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36000" algn="l" rtl="0" fontAlgn="ctr"/>
                      <a:r>
                        <a:rPr lang="ru-RU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веро-Казахстанская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1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1</a:t>
                      </a:r>
                      <a:endParaRPr lang="aa-ET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231285"/>
                  </a:ext>
                </a:extLst>
              </a:tr>
              <a:tr h="208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aa-ET" sz="9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aa-ET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ru-RU" sz="9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ТОГО </a:t>
                      </a:r>
                      <a:r>
                        <a:rPr lang="ru-RU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ru-RU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3</a:t>
                      </a:r>
                      <a:r>
                        <a:rPr lang="aa-ET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b"/>
                      <a:r>
                        <a:rPr lang="aa-ET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</a:t>
                      </a:r>
                      <a:r>
                        <a:rPr lang="ru-RU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  <a:endParaRPr lang="aa-ET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232252"/>
                  </a:ext>
                </a:extLst>
              </a:tr>
            </a:tbl>
          </a:graphicData>
        </a:graphic>
      </p:graphicFrame>
      <p:sp>
        <p:nvSpPr>
          <p:cNvPr id="88" name="Заголовок 1"/>
          <p:cNvSpPr txBox="1">
            <a:spLocks/>
          </p:cNvSpPr>
          <p:nvPr/>
        </p:nvSpPr>
        <p:spPr bwMode="auto">
          <a:xfrm>
            <a:off x="169461" y="4473876"/>
            <a:ext cx="3885038" cy="40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400050" indent="-4000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" hangingPunct="1">
              <a:defRPr/>
            </a:pPr>
            <a:r>
              <a:rPr lang="ru-RU" sz="1100" b="1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Основные технические показатели </a:t>
            </a:r>
            <a:r>
              <a:rPr lang="ru-RU" sz="1100" b="1" dirty="0">
                <a:solidFill>
                  <a:srgbClr val="000000"/>
                </a:solidFill>
                <a:cs typeface="Times New Roman" pitchFamily="18" charset="0"/>
              </a:rPr>
              <a:t>МГ «Сарыарка» </a:t>
            </a:r>
            <a:endParaRPr lang="ru-RU" sz="1100" b="1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8297" y="2356665"/>
            <a:ext cx="4453895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FF0000"/>
                </a:solidFill>
                <a:latin typeface="Arial" panose="020B0604020202020204" pitchFamily="34" charset="0"/>
              </a:rPr>
              <a:t>Вариант Темиртау - Павлодар - Семей - Усть-Каменогорск</a:t>
            </a:r>
          </a:p>
          <a:p>
            <a:r>
              <a:rPr lang="ru-RU" sz="900" i="1" dirty="0">
                <a:solidFill>
                  <a:srgbClr val="C00000"/>
                </a:solidFill>
                <a:latin typeface="Arial" panose="020B0604020202020204" pitchFamily="34" charset="0"/>
              </a:rPr>
              <a:t>(ориентировочная протяженность 1003 км</a:t>
            </a:r>
            <a:r>
              <a:rPr lang="ru-RU" sz="900" i="1" dirty="0" smtClean="0">
                <a:solidFill>
                  <a:srgbClr val="C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ru-RU" sz="800" i="1" dirty="0">
                <a:solidFill>
                  <a:srgbClr val="C00000"/>
                </a:solidFill>
                <a:latin typeface="Arial" panose="020B0604020202020204" pitchFamily="34" charset="0"/>
              </a:rPr>
              <a:t>Примечание: Газификация </a:t>
            </a:r>
            <a:r>
              <a:rPr lang="ru-RU" sz="800" i="1" dirty="0" smtClean="0">
                <a:solidFill>
                  <a:srgbClr val="C00000"/>
                </a:solidFill>
                <a:latin typeface="Arial" panose="020B0604020202020204" pitchFamily="34" charset="0"/>
              </a:rPr>
              <a:t>Павлодарской и Восточно-Казахстанской областей </a:t>
            </a:r>
            <a:r>
              <a:rPr lang="ru-RU" sz="800" i="1" dirty="0">
                <a:solidFill>
                  <a:srgbClr val="C00000"/>
                </a:solidFill>
                <a:latin typeface="Arial" panose="020B0604020202020204" pitchFamily="34" charset="0"/>
              </a:rPr>
              <a:t>не предусмотрена в ТЭО МГ «</a:t>
            </a:r>
            <a:r>
              <a:rPr lang="ru-RU" sz="800" i="1" dirty="0" err="1">
                <a:solidFill>
                  <a:srgbClr val="C00000"/>
                </a:solidFill>
                <a:latin typeface="Arial" panose="020B0604020202020204" pitchFamily="34" charset="0"/>
              </a:rPr>
              <a:t>Сарыарка</a:t>
            </a:r>
            <a:r>
              <a:rPr lang="ru-RU" sz="800" i="1" dirty="0">
                <a:solidFill>
                  <a:srgbClr val="C00000"/>
                </a:solidFill>
                <a:latin typeface="Arial" panose="020B0604020202020204" pitchFamily="34" charset="0"/>
              </a:rPr>
              <a:t>», </a:t>
            </a:r>
          </a:p>
          <a:p>
            <a:r>
              <a:rPr lang="ru-RU" sz="800" i="1" dirty="0">
                <a:solidFill>
                  <a:srgbClr val="C00000"/>
                </a:solidFill>
                <a:latin typeface="Arial" panose="020B0604020202020204" pitchFamily="34" charset="0"/>
              </a:rPr>
              <a:t>в перспективе возможно потребуется увеличение мощности МГ «</a:t>
            </a:r>
            <a:r>
              <a:rPr lang="ru-RU" sz="800" i="1" dirty="0" err="1">
                <a:solidFill>
                  <a:srgbClr val="C00000"/>
                </a:solidFill>
                <a:latin typeface="Arial" panose="020B0604020202020204" pitchFamily="34" charset="0"/>
              </a:rPr>
              <a:t>Сарыарка</a:t>
            </a:r>
            <a:r>
              <a:rPr lang="ru-RU" sz="800" i="1" dirty="0">
                <a:solidFill>
                  <a:srgbClr val="C00000"/>
                </a:solidFill>
                <a:latin typeface="Arial" panose="020B0604020202020204" pitchFamily="34" charset="0"/>
              </a:rPr>
              <a:t>»</a:t>
            </a:r>
          </a:p>
          <a:p>
            <a:endParaRPr lang="ru-RU" sz="900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 flipH="1">
            <a:off x="9310053" y="1838948"/>
            <a:ext cx="171697" cy="29283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>
            <a:stCxn id="92" idx="4"/>
          </p:cNvCxnSpPr>
          <p:nvPr/>
        </p:nvCxnSpPr>
        <p:spPr>
          <a:xfrm flipH="1">
            <a:off x="6489135" y="1105954"/>
            <a:ext cx="2820" cy="277692"/>
          </a:xfrm>
          <a:prstGeom prst="line">
            <a:avLst/>
          </a:prstGeom>
          <a:ln w="317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 стрелкой 137"/>
          <p:cNvCxnSpPr/>
          <p:nvPr/>
        </p:nvCxnSpPr>
        <p:spPr>
          <a:xfrm>
            <a:off x="6394212" y="1133716"/>
            <a:ext cx="7349" cy="15859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138"/>
          <p:cNvCxnSpPr/>
          <p:nvPr/>
        </p:nvCxnSpPr>
        <p:spPr>
          <a:xfrm flipV="1">
            <a:off x="477531" y="1828911"/>
            <a:ext cx="310057" cy="1148"/>
          </a:xfrm>
          <a:prstGeom prst="line">
            <a:avLst/>
          </a:prstGeom>
          <a:ln w="317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301838" y="2077019"/>
            <a:ext cx="2564715" cy="208456"/>
          </a:xfrm>
          <a:prstGeom prst="rect">
            <a:avLst/>
          </a:prstGeom>
          <a:noFill/>
        </p:spPr>
        <p:txBody>
          <a:bodyPr wrap="square" lIns="74295" tIns="37148" rIns="74295" bIns="37148" rtlCol="0">
            <a:spAutoFit/>
          </a:bodyPr>
          <a:lstStyle/>
          <a:p>
            <a:r>
              <a:rPr lang="ru-RU" sz="867" dirty="0">
                <a:solidFill>
                  <a:srgbClr val="C00000"/>
                </a:solidFill>
                <a:latin typeface="Arial" panose="020B0604020202020204" pitchFamily="34" charset="0"/>
              </a:rPr>
              <a:t>Маршрут поставки Казахстанского газа</a:t>
            </a: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12"/>
          </p:nvPr>
        </p:nvSpPr>
        <p:spPr>
          <a:xfrm>
            <a:off x="9395901" y="6563794"/>
            <a:ext cx="2743200" cy="365125"/>
          </a:xfrm>
        </p:spPr>
        <p:txBody>
          <a:bodyPr/>
          <a:lstStyle/>
          <a:p>
            <a:fld id="{AF6E1F7E-BE95-4303-9F7A-4C05385CC0FB}" type="slidenum">
              <a:rPr lang="ru-RU" sz="1000" smtClean="0">
                <a:latin typeface="Arial" panose="020B0604020202020204" pitchFamily="34" charset="0"/>
                <a:cs typeface="Arial" panose="020B0604020202020204" pitchFamily="34" charset="0"/>
              </a:rPr>
              <a:t>22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528661" y="4893132"/>
            <a:ext cx="5479729" cy="1754326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ВЫШЕНИЯ ЭФФЕКТИВНОСТИ ИНВЕСТИЦИЙ В ГАЗИФИКАЦИЮ СЕВЕРНЫХ РЕГИОНОВ И В ЦЕЛОМ КАЗАХСТАНА БУДЕТ ПРИМЕНЕН РАЦИОНАЛЬНЫЙ ПОДХОД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СЕЛЕННЫЕ ПУНКТЫ И ПРОМЫШЛЕННОСТЬ С НИЗКИМ ОБЪЕМОМ ПОТРЕБЛЕНИЯ БУДУТ ВЫБОРОЧНО ГАЗИФИЦИРОВАНЫ </a:t>
            </a:r>
            <a:r>
              <a:rPr lang="en-US" sz="1200" dirty="0" smtClean="0">
                <a:solidFill>
                  <a:srgbClr val="0094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NG/LNG </a:t>
            </a:r>
            <a:r>
              <a:rPr lang="ru-RU" sz="1200" dirty="0" smtClean="0">
                <a:solidFill>
                  <a:srgbClr val="0094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М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СПЕКТИВЕ, С УЧЕТОМ ФОРМИРОВАНИЯ УСТОЙЧИВОГО И СТАБИЛЬНОГО ПОТРЕБЛЕНИЯ БУДЕТ ОБЕСПЕЧЕН ПЕРЕХОД НА ТРУБОПРОВОДНЫЙ ГАЗ (ОПЫТ ИМЕЕТСЯ)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21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69838" y="2663574"/>
            <a:ext cx="1609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ГПЗ </a:t>
            </a:r>
          </a:p>
          <a:p>
            <a:pPr algn="ctr"/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м/р «</a:t>
            </a:r>
            <a:r>
              <a:rPr lang="ru-RU" sz="1200" b="1" dirty="0" err="1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http://www.intergas.kz/upload/userfiles/image/kaztransgas_buildin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839" y="4335810"/>
            <a:ext cx="1221887" cy="1313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52122" y="1989035"/>
            <a:ext cx="5261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lang="ru-RU" sz="32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8034" y="4474366"/>
            <a:ext cx="5261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ru-RU" sz="32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6365" y="1671115"/>
            <a:ext cx="1846459" cy="954707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4491581" y="4120227"/>
            <a:ext cx="3781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договора аренды здания с КГИП</a:t>
            </a:r>
            <a:endParaRPr lang="ru-RU" sz="16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5350" y="1079622"/>
            <a:ext cx="26187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C</a:t>
            </a:r>
          </a:p>
          <a:p>
            <a:pPr algn="ctr"/>
            <a:r>
              <a:rPr lang="en-US" sz="1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</a:t>
            </a:r>
            <a:endParaRPr lang="ru-RU" sz="14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617358" y="1766281"/>
            <a:ext cx="37602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ет долю </a:t>
            </a:r>
            <a:r>
              <a:rPr lang="ru-RU" sz="16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говору ГПХ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565338" y="5083867"/>
            <a:ext cx="1258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ГИП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2370" y="4240942"/>
            <a:ext cx="817473" cy="796989"/>
          </a:xfrm>
          <a:prstGeom prst="rect">
            <a:avLst/>
          </a:prstGeom>
        </p:spPr>
      </p:pic>
      <p:cxnSp>
        <p:nvCxnSpPr>
          <p:cNvPr id="6" name="Прямая со стрелкой 5"/>
          <p:cNvCxnSpPr/>
          <p:nvPr/>
        </p:nvCxnSpPr>
        <p:spPr>
          <a:xfrm flipV="1">
            <a:off x="4517218" y="2367736"/>
            <a:ext cx="4009363" cy="3661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/>
          <p:nvPr/>
        </p:nvCxnSpPr>
        <p:spPr>
          <a:xfrm flipV="1">
            <a:off x="4591721" y="4893332"/>
            <a:ext cx="3909223" cy="2333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9542124" y="2336102"/>
            <a:ext cx="1258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ГИП</a:t>
            </a:r>
            <a:endParaRPr lang="ru-RU" sz="28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156" y="1493177"/>
            <a:ext cx="817473" cy="796989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59E695E-A8C6-4300-A50B-13339A072A06}"/>
              </a:ext>
            </a:extLst>
          </p:cNvPr>
          <p:cNvSpPr/>
          <p:nvPr/>
        </p:nvSpPr>
        <p:spPr>
          <a:xfrm>
            <a:off x="-1536" y="-4343"/>
            <a:ext cx="12193536" cy="5514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1" tIns="37146" rIns="74291" bIns="37146" rtlCol="0" anchor="ctr"/>
          <a:lstStyle/>
          <a:p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активов</a:t>
            </a:r>
            <a:endParaRPr lang="x-none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Номер слайда 22"/>
          <p:cNvSpPr>
            <a:spLocks noGrp="1"/>
          </p:cNvSpPr>
          <p:nvPr>
            <p:ph type="sldNum" sz="quarter" idx="12"/>
          </p:nvPr>
        </p:nvSpPr>
        <p:spPr>
          <a:xfrm>
            <a:off x="9341933" y="6476497"/>
            <a:ext cx="2743200" cy="365125"/>
          </a:xfrm>
        </p:spPr>
        <p:txBody>
          <a:bodyPr/>
          <a:lstStyle/>
          <a:p>
            <a:fld id="{AF6E1F7E-BE95-4303-9F7A-4C05385CC0FB}" type="slidenum">
              <a:rPr lang="ru-RU" sz="1000" smtClean="0">
                <a:latin typeface="Arial" panose="020B0604020202020204" pitchFamily="34" charset="0"/>
                <a:cs typeface="Arial" panose="020B0604020202020204" pitchFamily="34" charset="0"/>
              </a:rPr>
              <a:t>23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58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86469" y="2199760"/>
            <a:ext cx="11985764" cy="2118119"/>
          </a:xfrm>
          <a:prstGeom prst="round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9367" y="4555773"/>
            <a:ext cx="12177435" cy="230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1671" y="1061777"/>
            <a:ext cx="12177435" cy="9823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24257" y="676265"/>
            <a:ext cx="10440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1A416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ЙСТВУЮЩАЯ СХЕМА ПЕРЕДАЧИ ОБЪЕКТОВ </a:t>
            </a:r>
            <a:r>
              <a:rPr lang="ru-RU" sz="1600" b="1" u="sng" dirty="0">
                <a:solidFill>
                  <a:srgbClr val="1A416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АЗОСНАБЖЕНИЯ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6468" y="4650302"/>
            <a:ext cx="11985764" cy="21236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spcAft>
                <a:spcPts val="640"/>
              </a:spcAft>
            </a:pPr>
            <a:r>
              <a:rPr lang="ru-RU" sz="16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на </a:t>
            </a:r>
            <a:r>
              <a:rPr lang="ru-RU" sz="16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тапе </a:t>
            </a:r>
            <a:r>
              <a:rPr lang="ru-RU" sz="16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ектирования </a:t>
            </a:r>
            <a:r>
              <a:rPr lang="ru-RU" sz="16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строительства: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ru-RU" sz="1600" dirty="0" smtClean="0">
              <a:solidFill>
                <a:srgbClr val="333333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640"/>
              </a:spcAft>
              <a:buFontTx/>
              <a:buChar char="-"/>
            </a:pP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ередать 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ункции строительства 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выделение бюджетных средств в Q</a:t>
            </a:r>
            <a:r>
              <a:rPr lang="en-US" sz="1600" dirty="0" err="1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zaq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</a:t>
            </a:r>
            <a:r>
              <a:rPr lang="en-US" sz="1600" dirty="0" err="1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z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изменения в Б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юджетный Кодекс, Законы «О </a:t>
            </a:r>
            <a:r>
              <a:rPr lang="ru-RU" sz="1600" dirty="0" err="1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.закупках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, «О газе и газоснабжении»). </a:t>
            </a:r>
            <a:r>
              <a:rPr lang="ru-RU" sz="1600" b="1" dirty="0" smtClean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блема: некачественное </a:t>
            </a:r>
            <a:r>
              <a:rPr lang="ru-RU" sz="1600" b="1" dirty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ланирование и строительство.</a:t>
            </a:r>
            <a:r>
              <a:rPr lang="ru-RU" sz="1600" i="1" dirty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spcAft>
                <a:spcPts val="640"/>
              </a:spcAft>
              <a:buFontTx/>
              <a:buChar char="-"/>
            </a:pP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ли предоставить 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Q</a:t>
            </a:r>
            <a:r>
              <a:rPr lang="en-US" sz="1600" dirty="0" err="1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zaq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</a:t>
            </a:r>
            <a:r>
              <a:rPr lang="en-US" sz="1600" dirty="0" err="1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z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раво на тех. сопровождение при строительстве объектов газоснабжения.</a:t>
            </a:r>
          </a:p>
          <a:p>
            <a:pPr algn="just">
              <a:spcAft>
                <a:spcPts val="640"/>
              </a:spcAft>
            </a:pPr>
            <a:r>
              <a:rPr lang="ru-RU" sz="16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 </a:t>
            </a:r>
            <a:r>
              <a:rPr lang="ru-RU" sz="16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тапе эксплуатации: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ru-RU" sz="1600" dirty="0" smtClean="0">
              <a:solidFill>
                <a:srgbClr val="333333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640"/>
              </a:spcAft>
              <a:buFontTx/>
              <a:buChar char="-"/>
            </a:pP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сширить основания 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зменения утвержденного тарифа до истечения его срока действия 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изменения 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он «О     естественных монополиях»).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6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блема: Отсутствие средств на эксплуатацию</a:t>
            </a:r>
            <a:r>
              <a:rPr lang="ru-RU" sz="16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72510" y="4348656"/>
            <a:ext cx="21387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latin typeface="Arial" panose="020B0604020202020204" pitchFamily="34" charset="0"/>
                <a:cs typeface="Arial" panose="020B0604020202020204" pitchFamily="34" charset="0"/>
              </a:rPr>
              <a:t>ПУТИ </a:t>
            </a:r>
            <a:r>
              <a:rPr lang="ru-RU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Я:</a:t>
            </a:r>
            <a:endParaRPr lang="ru-RU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51460" y="1186675"/>
            <a:ext cx="1969873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300" b="1" dirty="0">
                <a:latin typeface="Arial" panose="020B0604020202020204" pitchFamily="34" charset="0"/>
                <a:cs typeface="Arial" panose="020B0604020202020204" pitchFamily="34" charset="0"/>
              </a:rPr>
              <a:t>МЕСТНЫЙ ИСПОЛНИТЕЛЬНЫЙ</a:t>
            </a:r>
          </a:p>
          <a:p>
            <a:pPr algn="ctr"/>
            <a:r>
              <a:rPr lang="kk-KZ" sz="1300" b="1" dirty="0">
                <a:latin typeface="Arial" panose="020B0604020202020204" pitchFamily="34" charset="0"/>
                <a:cs typeface="Arial" panose="020B0604020202020204" pitchFamily="34" charset="0"/>
              </a:rPr>
              <a:t>ОРГАН</a:t>
            </a:r>
            <a:endParaRPr lang="x-none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трелка вниз 33"/>
          <p:cNvSpPr/>
          <p:nvPr/>
        </p:nvSpPr>
        <p:spPr>
          <a:xfrm rot="16200000">
            <a:off x="2388187" y="1335749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655562" y="1142550"/>
            <a:ext cx="23587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МИТЕТ ГОС.ИМУЩЕСТВА И ПРИВАТИЗАЦИИ МФ РК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 rot="16200000">
            <a:off x="5162835" y="1344058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435961" y="1372231"/>
            <a:ext cx="25148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kk-KZ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АМРУК-КАЗЫНА</a:t>
            </a:r>
            <a:r>
              <a:rPr lang="kk-KZ" sz="14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38386" y="2216387"/>
            <a:ext cx="3263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1A416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ЕКУЩАЯ </a:t>
            </a:r>
            <a:r>
              <a:rPr lang="ru-RU" sz="2000" b="1" u="sng" dirty="0" smtClean="0">
                <a:solidFill>
                  <a:srgbClr val="1A416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ИТУАЦИЯ</a:t>
            </a:r>
            <a:r>
              <a:rPr lang="ru-RU" sz="2000" b="1" u="sng" dirty="0">
                <a:solidFill>
                  <a:srgbClr val="1A416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47332" y="2647913"/>
            <a:ext cx="51302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иная с 2020 года приняты ПП РК о передаче объектов газоснабжения в собственность эксплуатирующим организациям</a:t>
            </a:r>
            <a:endParaRPr lang="x-non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983FF89-4C20-4F69-84D8-B9CF18772C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25" y="2813651"/>
            <a:ext cx="462465" cy="402479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272510" y="3166246"/>
            <a:ext cx="5333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8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ru-RU" sz="8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70763" y="3692069"/>
            <a:ext cx="50512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alt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переданные объекты газоснабжения на сегодняшний день</a:t>
            </a:r>
            <a:endParaRPr lang="kk-KZ" altLang="ru-RU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Группа 31">
            <a:extLst>
              <a:ext uri="{FF2B5EF4-FFF2-40B4-BE49-F238E27FC236}">
                <a16:creationId xmlns:a16="http://schemas.microsoft.com/office/drawing/2014/main" id="{5C4AD10E-42B2-4E39-B73A-090A7CACB42E}"/>
              </a:ext>
            </a:extLst>
          </p:cNvPr>
          <p:cNvGrpSpPr/>
          <p:nvPr/>
        </p:nvGrpSpPr>
        <p:grpSpPr>
          <a:xfrm>
            <a:off x="6079351" y="2636480"/>
            <a:ext cx="216000" cy="584775"/>
            <a:chOff x="3699093" y="1951120"/>
            <a:chExt cx="425451" cy="517525"/>
          </a:xfrm>
        </p:grpSpPr>
        <p:sp>
          <p:nvSpPr>
            <p:cNvPr id="27" name="Chevron2">
              <a:extLst>
                <a:ext uri="{FF2B5EF4-FFF2-40B4-BE49-F238E27FC236}">
                  <a16:creationId xmlns:a16="http://schemas.microsoft.com/office/drawing/2014/main" id="{602DA193-8F6E-4F39-B221-F25FA89222C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699093" y="1982869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8" name="Chevron2">
              <a:extLst>
                <a:ext uri="{FF2B5EF4-FFF2-40B4-BE49-F238E27FC236}">
                  <a16:creationId xmlns:a16="http://schemas.microsoft.com/office/drawing/2014/main" id="{EE7810E2-FC3B-4DCB-BB12-74AD16E05742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867369" y="1951120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6380783" y="2546061"/>
            <a:ext cx="223415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altLang="ru-RU" sz="20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1</a:t>
            </a:r>
            <a:r>
              <a:rPr lang="kk-KZ" altLang="ru-RU" sz="2000" b="1" i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д</a:t>
            </a:r>
            <a:r>
              <a:rPr lang="kk-KZ" alt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k-KZ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оимостью </a:t>
            </a:r>
            <a:r>
              <a:rPr lang="kk-KZ" altLang="ru-RU" sz="20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7,4</a:t>
            </a:r>
            <a:r>
              <a:rPr lang="kk-KZ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млрд. тенге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Группа 31">
            <a:extLst>
              <a:ext uri="{FF2B5EF4-FFF2-40B4-BE49-F238E27FC236}">
                <a16:creationId xmlns:a16="http://schemas.microsoft.com/office/drawing/2014/main" id="{5C4AD10E-42B2-4E39-B73A-090A7CACB42E}"/>
              </a:ext>
            </a:extLst>
          </p:cNvPr>
          <p:cNvGrpSpPr/>
          <p:nvPr/>
        </p:nvGrpSpPr>
        <p:grpSpPr>
          <a:xfrm>
            <a:off x="6079352" y="3666141"/>
            <a:ext cx="216000" cy="584775"/>
            <a:chOff x="3699093" y="1951120"/>
            <a:chExt cx="425451" cy="517525"/>
          </a:xfrm>
        </p:grpSpPr>
        <p:sp>
          <p:nvSpPr>
            <p:cNvPr id="31" name="Chevron2">
              <a:extLst>
                <a:ext uri="{FF2B5EF4-FFF2-40B4-BE49-F238E27FC236}">
                  <a16:creationId xmlns:a16="http://schemas.microsoft.com/office/drawing/2014/main" id="{602DA193-8F6E-4F39-B221-F25FA89222C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699093" y="1982869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2" name="Chevron2">
              <a:extLst>
                <a:ext uri="{FF2B5EF4-FFF2-40B4-BE49-F238E27FC236}">
                  <a16:creationId xmlns:a16="http://schemas.microsoft.com/office/drawing/2014/main" id="{EE7810E2-FC3B-4DCB-BB12-74AD16E05742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867369" y="1951120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6394975" y="3609993"/>
            <a:ext cx="21487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alt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6</a:t>
            </a:r>
            <a:r>
              <a:rPr lang="kk-KZ" alt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д. стоимостью </a:t>
            </a:r>
            <a:r>
              <a:rPr lang="kk-KZ" alt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4,7</a:t>
            </a:r>
            <a:r>
              <a:rPr lang="kk-KZ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млрд. тенге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8400625" y="2546634"/>
            <a:ext cx="3671607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лительные процедуры передачи объектов газоснабжения от МИО, в результате эксплуатирующие организации несут е</a:t>
            </a:r>
            <a:r>
              <a:rPr lang="kk-KZ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жегодные </a:t>
            </a:r>
            <a:r>
              <a:rPr lang="kk-KZ" altLang="ru-RU" sz="14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ытки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kk-KZ" altLang="ru-RU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о распред.сетям КТГА </a:t>
            </a:r>
            <a:r>
              <a:rPr lang="kk-KZ" altLang="ru-RU" sz="12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3 млрд. тенге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kk-KZ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о магистральным газопроводам </a:t>
            </a:r>
            <a:r>
              <a:rPr lang="ru-RU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и АГРС </a:t>
            </a:r>
            <a:r>
              <a:rPr lang="kk-KZ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ИЦА </a:t>
            </a:r>
            <a:r>
              <a:rPr lang="kk-KZ" sz="12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</a:t>
            </a:r>
            <a:r>
              <a:rPr lang="en-US" sz="12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kk-KZ" sz="12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тенге </a:t>
            </a:r>
            <a:endParaRPr lang="ru-RU" sz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Стрелка вниз 39"/>
          <p:cNvSpPr/>
          <p:nvPr/>
        </p:nvSpPr>
        <p:spPr>
          <a:xfrm rot="16200000">
            <a:off x="8120742" y="1353298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377787" y="1372298"/>
            <a:ext cx="14401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0252331" y="1364616"/>
            <a:ext cx="14401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ТГА/ИЦА</a:t>
            </a:r>
            <a:endParaRPr lang="x-non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Стрелка вниз 42"/>
          <p:cNvSpPr/>
          <p:nvPr/>
        </p:nvSpPr>
        <p:spPr>
          <a:xfrm rot="16200000">
            <a:off x="9991957" y="1342196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377787" y="2216908"/>
            <a:ext cx="34931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u="sng" dirty="0" smtClean="0">
                <a:solidFill>
                  <a:srgbClr val="1A416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ИСТЕМНАЯ ПРОБЛЕМА:</a:t>
            </a:r>
            <a:endParaRPr lang="ru-RU" sz="2000" b="1" u="sng" dirty="0">
              <a:solidFill>
                <a:srgbClr val="1A4164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4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A59E695E-A8C6-4300-A50B-13339A072A06}"/>
              </a:ext>
            </a:extLst>
          </p:cNvPr>
          <p:cNvSpPr/>
          <p:nvPr/>
        </p:nvSpPr>
        <p:spPr>
          <a:xfrm>
            <a:off x="-1536" y="-4343"/>
            <a:ext cx="12193536" cy="5514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1" tIns="37146" rIns="74291" bIns="37146" rtlCol="0" anchor="ctr"/>
          <a:lstStyle/>
          <a:p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а объектов газоснабжения</a:t>
            </a:r>
          </a:p>
        </p:txBody>
      </p:sp>
    </p:spTree>
    <p:extLst>
      <p:ext uri="{BB962C8B-B14F-4D97-AF65-F5344CB8AC3E}">
        <p14:creationId xmlns:p14="http://schemas.microsoft.com/office/powerpoint/2010/main" val="145644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002634"/>
              </p:ext>
            </p:extLst>
          </p:nvPr>
        </p:nvGraphicFramePr>
        <p:xfrm>
          <a:off x="1" y="742139"/>
          <a:ext cx="12119954" cy="5748693"/>
        </p:xfrm>
        <a:graphic>
          <a:graphicData uri="http://schemas.openxmlformats.org/drawingml/2006/table">
            <a:tbl>
              <a:tblPr/>
              <a:tblGrid>
                <a:gridCol w="478380">
                  <a:extLst>
                    <a:ext uri="{9D8B030D-6E8A-4147-A177-3AD203B41FA5}">
                      <a16:colId xmlns:a16="http://schemas.microsoft.com/office/drawing/2014/main" val="671565865"/>
                    </a:ext>
                  </a:extLst>
                </a:gridCol>
                <a:gridCol w="1755815">
                  <a:extLst>
                    <a:ext uri="{9D8B030D-6E8A-4147-A177-3AD203B41FA5}">
                      <a16:colId xmlns:a16="http://schemas.microsoft.com/office/drawing/2014/main" val="1202393119"/>
                    </a:ext>
                  </a:extLst>
                </a:gridCol>
                <a:gridCol w="3680235">
                  <a:extLst>
                    <a:ext uri="{9D8B030D-6E8A-4147-A177-3AD203B41FA5}">
                      <a16:colId xmlns:a16="http://schemas.microsoft.com/office/drawing/2014/main" val="1252708183"/>
                    </a:ext>
                  </a:extLst>
                </a:gridCol>
                <a:gridCol w="6205524">
                  <a:extLst>
                    <a:ext uri="{9D8B030D-6E8A-4147-A177-3AD203B41FA5}">
                      <a16:colId xmlns:a16="http://schemas.microsoft.com/office/drawing/2014/main" val="129952772"/>
                    </a:ext>
                  </a:extLst>
                </a:gridCol>
              </a:tblGrid>
              <a:tr h="5501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сторожде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мма, млрд тенге</a:t>
                      </a:r>
                    </a:p>
                    <a:p>
                      <a:pPr marL="0" marR="0" lvl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источник финансирования)</a:t>
                      </a:r>
                    </a:p>
                  </a:txBody>
                  <a:tcPr marL="9180" marR="9180" marT="918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ий статус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630984"/>
                  </a:ext>
                </a:extLst>
              </a:tr>
              <a:tr h="24727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дорожное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80</a:t>
                      </a:r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0 </a:t>
                      </a:r>
                      <a:endParaRPr lang="en-US" sz="1400" b="1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9525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собственный капитал </a:t>
                      </a:r>
                      <a:r>
                        <a:rPr lang="en-US" sz="1400" b="0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QazaqGaz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400" b="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заёмные средства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44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ГКП «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хотзоопром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 совместно с Комитетом лесного хозяйства и животного мира разработано ТЭО по выводу территории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9525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.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идорожное из Южно-Казахстанской государственной заповедной зоны (</a:t>
                      </a:r>
                      <a:r>
                        <a:rPr lang="ru-RU" sz="1400" b="0" i="1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согласовании в Комитете экологического регулирования и контроля Министерства экологии, геологии и природных ресурсов РК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– до 08.2022 г.</a:t>
                      </a:r>
                    </a:p>
                    <a:p>
                      <a:pPr marL="9525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лючено Соглашение о конфиденциальности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ежду ТОО «ММ» и ТОО «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уат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нерджи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,ТОО «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rasian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inen</a:t>
                      </a:r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id</a:t>
                      </a:r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td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»</a:t>
                      </a:r>
                      <a:r>
                        <a:rPr lang="en-US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en-US" alt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AY RAISE</a:t>
                      </a:r>
                      <a:r>
                        <a:rPr lang="ru-RU" alt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; ТОО «</a:t>
                      </a:r>
                      <a:r>
                        <a:rPr lang="ru-RU" altLang="ru-RU" sz="1400" b="0" i="0" u="none" strike="noStrike" kern="120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утс</a:t>
                      </a:r>
                      <a:r>
                        <a:rPr lang="ru-RU" alt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Ойл»</a:t>
                      </a:r>
                      <a:r>
                        <a:rPr lang="en-US" alt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возможному сотрудничеству 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0" i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эрри-финансирование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.</a:t>
                      </a: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807801"/>
                  </a:ext>
                </a:extLst>
              </a:tr>
              <a:tr h="1362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рихтау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7,9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kumimoji="0" lang="en-US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9525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собственный капитал </a:t>
                      </a:r>
                      <a:r>
                        <a:rPr kumimoji="0" lang="en-US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QazaqGaz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заёмные средств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just" fontAlgn="ctr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QazaqGaz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ыполнена технико-экономическая оценка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оекта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рихтау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результаты направлены в АО «НК КазМунайГаз».</a:t>
                      </a:r>
                    </a:p>
                    <a:p>
                      <a:pPr marL="95250" marR="0" lvl="0" indent="0" algn="just" defTabSz="9144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Проводятся переговоры по стоимости приобретения центрального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рихтау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раздела контракта на недропользование с АО «НК «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зМунайГаз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.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743845"/>
                  </a:ext>
                </a:extLst>
              </a:tr>
              <a:tr h="1362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жковское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kumimoji="0" lang="en-US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9525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собственный капитал </a:t>
                      </a:r>
                      <a:r>
                        <a:rPr kumimoji="0" lang="en-US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QazaqGaz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заёмные средств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 algn="just" fontAlgn="ctr"/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Mincho"/>
                          <a:cs typeface="Arial" panose="020B0604020202020204" pitchFamily="34" charset="0"/>
                        </a:rPr>
                        <a:t>QazaqGaz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ыполнена технико-экономическая оценка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оекта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.Рожковское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95250" indent="0" algn="just" fontAlgn="ctr"/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Проводятся переговоры с АО «НК «КазМунайГаз» по вариантам передачи контракта на недропользование по м.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жковское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80" marR="9180" marT="9180" marB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352439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16727" y="6490832"/>
            <a:ext cx="40334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чание: инвестиции оценены по курсу 430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долл. США</a:t>
            </a:r>
            <a:endParaRPr lang="ru-RU" sz="1000" i="1" dirty="0"/>
          </a:p>
        </p:txBody>
      </p:sp>
      <p:sp>
        <p:nvSpPr>
          <p:cNvPr id="6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5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59E695E-A8C6-4300-A50B-13339A072A06}"/>
              </a:ext>
            </a:extLst>
          </p:cNvPr>
          <p:cNvSpPr/>
          <p:nvPr/>
        </p:nvSpPr>
        <p:spPr>
          <a:xfrm>
            <a:off x="-1536" y="-4343"/>
            <a:ext cx="12193536" cy="5514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1" tIns="37146" rIns="74291" bIns="37146" rtlCol="0" anchor="ctr"/>
          <a:lstStyle/>
          <a:p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увеличения ресурсной базы АО НК «QazaqGaz» </a:t>
            </a:r>
          </a:p>
        </p:txBody>
      </p:sp>
    </p:spTree>
    <p:extLst>
      <p:ext uri="{BB962C8B-B14F-4D97-AF65-F5344CB8AC3E}">
        <p14:creationId xmlns:p14="http://schemas.microsoft.com/office/powerpoint/2010/main" val="100921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CE30EFA1-FF16-43A1-83BD-1EE4E41B5EA0}"/>
              </a:ext>
            </a:extLst>
          </p:cNvPr>
          <p:cNvSpPr/>
          <p:nvPr/>
        </p:nvSpPr>
        <p:spPr>
          <a:xfrm rot="5400000">
            <a:off x="3552083" y="3820353"/>
            <a:ext cx="252891" cy="5071052"/>
          </a:xfrm>
          <a:prstGeom prst="round2SameRect">
            <a:avLst>
              <a:gd name="adj1" fmla="val 14385"/>
              <a:gd name="adj2" fmla="val 0"/>
            </a:avLst>
          </a:prstGeom>
          <a:solidFill>
            <a:schemeClr val="accent2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just"/>
            <a:endParaRPr lang="ru-RU" sz="1400" b="1" i="1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CE30EFA1-FF16-43A1-83BD-1EE4E41B5EA0}"/>
              </a:ext>
            </a:extLst>
          </p:cNvPr>
          <p:cNvSpPr/>
          <p:nvPr/>
        </p:nvSpPr>
        <p:spPr>
          <a:xfrm rot="5400000">
            <a:off x="3330379" y="3298924"/>
            <a:ext cx="696294" cy="5071052"/>
          </a:xfrm>
          <a:prstGeom prst="round2SameRect">
            <a:avLst>
              <a:gd name="adj1" fmla="val 14385"/>
              <a:gd name="adj2" fmla="val 0"/>
            </a:avLst>
          </a:prstGeom>
          <a:solidFill>
            <a:schemeClr val="accent2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just"/>
            <a:endParaRPr lang="ru-RU" sz="1400" b="1" i="1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CE30EFA1-FF16-43A1-83BD-1EE4E41B5EA0}"/>
              </a:ext>
            </a:extLst>
          </p:cNvPr>
          <p:cNvSpPr/>
          <p:nvPr/>
        </p:nvSpPr>
        <p:spPr>
          <a:xfrm rot="5400000">
            <a:off x="3342731" y="2568144"/>
            <a:ext cx="671595" cy="5071052"/>
          </a:xfrm>
          <a:prstGeom prst="round2SameRect">
            <a:avLst>
              <a:gd name="adj1" fmla="val 14385"/>
              <a:gd name="adj2" fmla="val 0"/>
            </a:avLst>
          </a:prstGeom>
          <a:solidFill>
            <a:schemeClr val="accent2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just"/>
            <a:endParaRPr lang="ru-RU" sz="1400" b="1" i="1" dirty="0">
              <a:solidFill>
                <a:schemeClr val="tx1"/>
              </a:solidFill>
            </a:endParaRPr>
          </a:p>
        </p:txBody>
      </p:sp>
      <p:sp>
        <p:nvSpPr>
          <p:cNvPr id="17" name="Скругленная прямоугольная выноска 16"/>
          <p:cNvSpPr/>
          <p:nvPr/>
        </p:nvSpPr>
        <p:spPr>
          <a:xfrm rot="10800000">
            <a:off x="7349998" y="3111634"/>
            <a:ext cx="2701637" cy="604050"/>
          </a:xfrm>
          <a:prstGeom prst="wedgeRoundRectCallout">
            <a:avLst>
              <a:gd name="adj1" fmla="val 72958"/>
              <a:gd name="adj2" fmla="val 123051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361663" y="3037693"/>
            <a:ext cx="4598668" cy="3770263"/>
          </a:xfrm>
          <a:prstGeom prst="roundRect">
            <a:avLst>
              <a:gd name="adj" fmla="val 5202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CE30EFA1-FF16-43A1-83BD-1EE4E41B5EA0}"/>
              </a:ext>
            </a:extLst>
          </p:cNvPr>
          <p:cNvSpPr/>
          <p:nvPr/>
        </p:nvSpPr>
        <p:spPr>
          <a:xfrm rot="16200000">
            <a:off x="7619765" y="-1281244"/>
            <a:ext cx="523219" cy="6157912"/>
          </a:xfrm>
          <a:prstGeom prst="round2SameRect">
            <a:avLst>
              <a:gd name="adj1" fmla="val 30770"/>
              <a:gd name="adj2" fmla="val 0"/>
            </a:avLst>
          </a:prstGeom>
          <a:solidFill>
            <a:schemeClr val="tx2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just"/>
            <a:endParaRPr lang="ru-RU" sz="1400" b="1" i="1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7D31D66-8445-4E1C-B33B-5CA7D1A4F169}"/>
              </a:ext>
            </a:extLst>
          </p:cNvPr>
          <p:cNvSpPr/>
          <p:nvPr/>
        </p:nvSpPr>
        <p:spPr>
          <a:xfrm>
            <a:off x="0" y="0"/>
            <a:ext cx="12192000" cy="65562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Предложения к механизму ценообразования на газ в рамках совместной работы с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КСИИ </a:t>
            </a:r>
            <a:r>
              <a:rPr lang="ru-RU" sz="2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(ПРОЕКТ)</a:t>
            </a:r>
            <a:endParaRPr lang="ru-RU" sz="2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Прямоугольник 4"/>
              <p:cNvSpPr/>
              <p:nvPr/>
            </p:nvSpPr>
            <p:spPr>
              <a:xfrm>
                <a:off x="3618854" y="2288168"/>
                <a:ext cx="4856650" cy="4139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ru-RU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ru-RU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ru-RU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ru-RU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ru-RU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экспорт</m:t>
                              </m:r>
                            </m:sub>
                          </m:sSub>
                          <m:r>
                            <a:rPr lang="ru-RU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𝑄𝐺</m:t>
                              </m:r>
                            </m:sub>
                          </m:sSub>
                          <m:r>
                            <a:rPr lang="ru-RU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ru-RU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экспорт</m:t>
                              </m:r>
                            </m:sub>
                          </m:sSub>
                          <m:r>
                            <a:rPr lang="ru-RU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𝐼𝑛𝑣𝑒𝑠𝑡</m:t>
                              </m:r>
                            </m:e>
                            <m:sub>
                              <m:r>
                                <a:rPr lang="ru-RU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ru-RU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" name="Прямоугольник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18854" y="2288168"/>
                <a:ext cx="4856650" cy="413959"/>
              </a:xfrm>
              <a:prstGeom prst="rect">
                <a:avLst/>
              </a:prstGeom>
              <a:blipFill>
                <a:blip r:embed="rId2"/>
                <a:stretch>
                  <a:fillRect b="-735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Прямоугольник 5"/>
          <p:cNvSpPr/>
          <p:nvPr/>
        </p:nvSpPr>
        <p:spPr>
          <a:xfrm>
            <a:off x="232755" y="702460"/>
            <a:ext cx="11413375" cy="738664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DengXian"/>
              </a:rPr>
              <a:t>В целях повышения инвестиционной привлекательности газовой отрасли и стимулирования производства товарного газа, предлагается пересмотреть механизм ценообразования на газ для новых газовых проектов </a:t>
            </a:r>
            <a:r>
              <a:rPr lang="ru-RU" sz="1400" dirty="0" err="1">
                <a:latin typeface="Arial" panose="020B0604020202020204" pitchFamily="34" charset="0"/>
                <a:ea typeface="DengXian"/>
              </a:rPr>
              <a:t>недропользователей</a:t>
            </a:r>
            <a:r>
              <a:rPr lang="ru-RU" sz="1400" dirty="0">
                <a:latin typeface="Arial" panose="020B0604020202020204" pitchFamily="34" charset="0"/>
                <a:ea typeface="DengXian"/>
              </a:rPr>
              <a:t> и текущих контрагентов </a:t>
            </a:r>
            <a:r>
              <a:rPr lang="ru-RU" sz="1400" b="1" dirty="0">
                <a:latin typeface="Arial" panose="020B0604020202020204" pitchFamily="34" charset="0"/>
                <a:ea typeface="DengXian"/>
              </a:rPr>
              <a:t>при условии увеличения ими объемов поставки на более 20%.</a:t>
            </a:r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996937" y="1536103"/>
            <a:ext cx="59633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DengXian"/>
              </a:rPr>
              <a:t>Механизм ценообразования должен учитывать </a:t>
            </a:r>
            <a:r>
              <a:rPr lang="ru-RU" sz="1400" b="1" dirty="0">
                <a:latin typeface="Arial" panose="020B0604020202020204" pitchFamily="34" charset="0"/>
                <a:ea typeface="DengXian"/>
              </a:rPr>
              <a:t>индивидуальные особенности каждого отдельно взятого месторождения.</a:t>
            </a:r>
            <a:endParaRPr lang="ru-RU" sz="1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928729" y="1881713"/>
            <a:ext cx="23761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DengXian"/>
              </a:rPr>
              <a:t>Предлагаемая формула: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61663" y="3037693"/>
            <a:ext cx="4654840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b="1" i="1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Р</a:t>
            </a:r>
            <a:r>
              <a:rPr lang="ru-RU" sz="1100" i="1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– цена покупки газа у </a:t>
            </a:r>
            <a:r>
              <a:rPr lang="ru-RU" sz="1100" dirty="0" err="1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недропользователей</a:t>
            </a:r>
            <a:endParaRPr lang="ru-RU" sz="1100" dirty="0">
              <a:latin typeface="Arial" panose="020B0604020202020204" pitchFamily="34" charset="0"/>
              <a:ea typeface="DengXian"/>
              <a:cs typeface="Arial" panose="020B0604020202020204" pitchFamily="34" charset="0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100" b="1" i="1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экспорт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– экспортная цена на границе Казахстана с Китаем на </a:t>
            </a:r>
            <a:b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ГИС «Хоргос» по данным 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IHS </a:t>
            </a:r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Markit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en-US" sz="1100" b="1" i="1" baseline="-25000" dirty="0">
                <a:latin typeface="Arial" panose="020B0604020202020204" pitchFamily="34" charset="0"/>
                <a:cs typeface="Arial" panose="020B0604020202020204" pitchFamily="34" charset="0"/>
              </a:rPr>
              <a:t>QG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– маржа </a:t>
            </a:r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1100" b="1" i="1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экспорт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– сумма транспортных затрат для транспортировки тыс.м3 газа по системе трубопроводов ИЦА, ГБШ, АГП;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1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Invest</a:t>
            </a:r>
            <a:r>
              <a:rPr lang="en-US" sz="1100" b="1" i="1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– удельные затраты по строительству газотранспортной инфраструктуры от ГПЗ до магистрального газопровода (</a:t>
            </a:r>
            <a:r>
              <a:rPr lang="ru-RU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при необходимости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100" b="1" i="1" baseline="-25000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эффициент сложности разработки и переработки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(0&lt;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100" i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100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j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&lt; 1) с учетом следующих факторов: </a:t>
            </a:r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→ (1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N)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j →(1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N)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400"/>
              </a:spcBef>
            </a:pP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содержание серы (0,5% – 18%):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определяющее потребность в соответствующей наземной инфраструктуре для очистки и переработки газа;</a:t>
            </a:r>
          </a:p>
          <a:p>
            <a:pPr lvl="1">
              <a:spcBef>
                <a:spcPts val="400"/>
              </a:spcBef>
            </a:pPr>
            <a:r>
              <a:rPr lang="ru-RU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надсолевая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 или подсолевая залежь: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сложность бурения и добычи в зависимости залегания углеводородного сырья;</a:t>
            </a:r>
          </a:p>
          <a:p>
            <a:pPr lvl="1">
              <a:spcBef>
                <a:spcPts val="400"/>
              </a:spcBef>
            </a:pP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onshore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offshore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специфика разработки месторождения в зависимости от его локации;</a:t>
            </a:r>
          </a:p>
          <a:p>
            <a:pPr lvl="1">
              <a:spcBef>
                <a:spcPts val="400"/>
              </a:spcBef>
            </a:pP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профиль недропользования: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контрактные сроки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292920" y="4767870"/>
            <a:ext cx="492113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  <a:spcAft>
                <a:spcPts val="900"/>
              </a:spcAft>
              <a:tabLst>
                <a:tab pos="810260" algn="l"/>
              </a:tabLst>
            </a:pP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Определение веса (</a:t>
            </a:r>
            <a:r>
              <a:rPr lang="ru-RU" sz="1100" i="1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доли</a:t>
            </a: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) вышеуказанных факторов (</a:t>
            </a:r>
            <a:r>
              <a:rPr lang="ru-RU" sz="1100" i="1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блок добычи и производства</a:t>
            </a: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). Необходимо согласование уполномоченными государственными органами и </a:t>
            </a:r>
            <a:r>
              <a:rPr lang="ru-RU" sz="1100" dirty="0" err="1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недропользователями</a:t>
            </a: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 – членами АКСИИ.</a:t>
            </a:r>
          </a:p>
          <a:p>
            <a:pPr algn="just">
              <a:lnSpc>
                <a:spcPts val="1200"/>
              </a:lnSpc>
              <a:spcAft>
                <a:spcPts val="900"/>
              </a:spcAft>
              <a:tabLst>
                <a:tab pos="810260" algn="l"/>
              </a:tabLst>
            </a:pP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Кто будет определять и проверять правильность (достоверность) применения значений факторов или коэффициентов в конкретных случаях на конкретном месторождении (</a:t>
            </a:r>
            <a:r>
              <a:rPr lang="ru-RU" sz="1100" u="sng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государственные органы, экспертные организации</a:t>
            </a: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)?</a:t>
            </a:r>
          </a:p>
          <a:p>
            <a:pPr algn="just">
              <a:lnSpc>
                <a:spcPts val="1200"/>
              </a:lnSpc>
              <a:spcAft>
                <a:spcPts val="900"/>
              </a:spcAft>
              <a:tabLst>
                <a:tab pos="810260" algn="l"/>
              </a:tabLst>
            </a:pP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Необходимо определить размер маржи </a:t>
            </a:r>
            <a:r>
              <a:rPr lang="ru-RU" sz="1100" dirty="0" err="1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QazaqGaz</a:t>
            </a:r>
            <a:r>
              <a:rPr lang="ru-RU" sz="1100" dirty="0">
                <a:latin typeface="Arial" panose="020B0604020202020204" pitchFamily="34" charset="0"/>
                <a:ea typeface="DengXian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204249" y="4433543"/>
            <a:ext cx="10607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ea typeface="DengXian"/>
                <a:cs typeface="Times New Roman" panose="02020603050405020304" pitchFamily="18" charset="0"/>
              </a:rPr>
              <a:t>Вопросы:</a:t>
            </a:r>
            <a:endParaRPr lang="ru-RU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1143000" y="4890981"/>
            <a:ext cx="260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!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43000" y="5618056"/>
            <a:ext cx="260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!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143000" y="6155299"/>
            <a:ext cx="260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!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289067" y="3003142"/>
          <a:ext cx="2718262" cy="1047750"/>
        </p:xfrm>
        <a:graphic>
          <a:graphicData uri="http://schemas.openxmlformats.org/drawingml/2006/table">
            <a:tbl>
              <a:tblPr/>
              <a:tblGrid>
                <a:gridCol w="752464">
                  <a:extLst>
                    <a:ext uri="{9D8B030D-6E8A-4147-A177-3AD203B41FA5}">
                      <a16:colId xmlns:a16="http://schemas.microsoft.com/office/drawing/2014/main" val="2080112283"/>
                    </a:ext>
                  </a:extLst>
                </a:gridCol>
                <a:gridCol w="518942">
                  <a:extLst>
                    <a:ext uri="{9D8B030D-6E8A-4147-A177-3AD203B41FA5}">
                      <a16:colId xmlns:a16="http://schemas.microsoft.com/office/drawing/2014/main" val="24081362"/>
                    </a:ext>
                  </a:extLst>
                </a:gridCol>
                <a:gridCol w="496700">
                  <a:extLst>
                    <a:ext uri="{9D8B030D-6E8A-4147-A177-3AD203B41FA5}">
                      <a16:colId xmlns:a16="http://schemas.microsoft.com/office/drawing/2014/main" val="2540064323"/>
                    </a:ext>
                  </a:extLst>
                </a:gridCol>
                <a:gridCol w="406504">
                  <a:extLst>
                    <a:ext uri="{9D8B030D-6E8A-4147-A177-3AD203B41FA5}">
                      <a16:colId xmlns:a16="http://schemas.microsoft.com/office/drawing/2014/main" val="3542174755"/>
                    </a:ext>
                  </a:extLst>
                </a:gridCol>
                <a:gridCol w="543652">
                  <a:extLst>
                    <a:ext uri="{9D8B030D-6E8A-4147-A177-3AD203B41FA5}">
                      <a16:colId xmlns:a16="http://schemas.microsoft.com/office/drawing/2014/main" val="2148173109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7236475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04417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1329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285833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1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8493019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 flipH="1" flipV="1">
            <a:off x="3848456" y="3006826"/>
            <a:ext cx="191193" cy="1884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3854161" y="2793298"/>
            <a:ext cx="2686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/>
              <a:t>i</a:t>
            </a:r>
            <a:endParaRPr lang="ru-RU" sz="1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711286" y="2967923"/>
            <a:ext cx="2686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/>
              <a:t>j</a:t>
            </a:r>
            <a:endParaRPr lang="ru-RU" sz="14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059470" y="2442643"/>
            <a:ext cx="251465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Предельные значения объемов газа на </a:t>
            </a:r>
            <a:r>
              <a:rPr lang="ru-RU" sz="1100" b="1" dirty="0" err="1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вн</a:t>
            </a:r>
            <a:r>
              <a:rPr lang="ru-RU" sz="1100" b="1" dirty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. рынок и экспорт</a:t>
            </a:r>
            <a:endParaRPr lang="ru-RU" sz="1100" b="1" dirty="0">
              <a:solidFill>
                <a:schemeClr val="accent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281441" y="2977304"/>
            <a:ext cx="227432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</a:rPr>
              <a:t>При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</a:rPr>
              <a:t>C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II</a:t>
            </a: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fontAlgn="b"/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"/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"/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</a:rPr>
              <a:t>При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</a:rPr>
              <a:t>C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NN</a:t>
            </a:r>
          </a:p>
          <a:p>
            <a:pPr fontAlgn="b"/>
            <a:endParaRPr lang="en-US" sz="9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/>
          </p:nvPr>
        </p:nvGraphicFramePr>
        <p:xfrm>
          <a:off x="2081847" y="3013184"/>
          <a:ext cx="4699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9900">
                  <a:extLst>
                    <a:ext uri="{9D8B030D-6E8A-4147-A177-3AD203B41FA5}">
                      <a16:colId xmlns:a16="http://schemas.microsoft.com/office/drawing/2014/main" val="35810761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V </a:t>
                      </a:r>
                      <a:r>
                        <a:rPr lang="ru-RU" sz="1100" u="none" strike="noStrike" dirty="0" err="1">
                          <a:effectLst/>
                        </a:rPr>
                        <a:t>эксп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80615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V </a:t>
                      </a:r>
                      <a:r>
                        <a:rPr lang="ru-RU" sz="1100" u="none" strike="noStrike" dirty="0" err="1">
                          <a:effectLst/>
                        </a:rPr>
                        <a:t>в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19534359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2081847" y="3561430"/>
          <a:ext cx="4699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9900">
                  <a:extLst>
                    <a:ext uri="{9D8B030D-6E8A-4147-A177-3AD203B41FA5}">
                      <a16:colId xmlns:a16="http://schemas.microsoft.com/office/drawing/2014/main" val="146261825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V </a:t>
                      </a:r>
                      <a:r>
                        <a:rPr lang="ru-RU" sz="1100" u="none" strike="noStrike">
                          <a:effectLst/>
                        </a:rPr>
                        <a:t>эксп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317564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V </a:t>
                      </a:r>
                      <a:r>
                        <a:rPr lang="ru-RU" sz="1100" u="none" strike="noStrike" dirty="0" err="1">
                          <a:effectLst/>
                        </a:rPr>
                        <a:t>в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27558728"/>
                  </a:ext>
                </a:extLst>
              </a:tr>
            </a:tbl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/>
          </p:nvPr>
        </p:nvGraphicFramePr>
        <p:xfrm>
          <a:off x="2860720" y="3013184"/>
          <a:ext cx="4191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9100">
                  <a:extLst>
                    <a:ext uri="{9D8B030D-6E8A-4147-A177-3AD203B41FA5}">
                      <a16:colId xmlns:a16="http://schemas.microsoft.com/office/drawing/2014/main" val="102250794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3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117270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95560345"/>
                  </a:ext>
                </a:extLst>
              </a:tr>
            </a:tbl>
          </a:graphicData>
        </a:graphic>
      </p:graphicFrame>
      <p:graphicFrame>
        <p:nvGraphicFramePr>
          <p:cNvPr id="32" name="Таблица 31"/>
          <p:cNvGraphicFramePr>
            <a:graphicFrameLocks noGrp="1"/>
          </p:cNvGraphicFramePr>
          <p:nvPr>
            <p:extLst/>
          </p:nvPr>
        </p:nvGraphicFramePr>
        <p:xfrm>
          <a:off x="2860720" y="3560179"/>
          <a:ext cx="4191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9100">
                  <a:extLst>
                    <a:ext uri="{9D8B030D-6E8A-4147-A177-3AD203B41FA5}">
                      <a16:colId xmlns:a16="http://schemas.microsoft.com/office/drawing/2014/main" val="102250794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117270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95560345"/>
                  </a:ext>
                </a:extLst>
              </a:tr>
            </a:tbl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2571858" y="3064708"/>
            <a:ext cx="2888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=</a:t>
            </a:r>
            <a:endParaRPr lang="ru-RU" sz="1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2558198" y="3590091"/>
            <a:ext cx="2888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=</a:t>
            </a:r>
            <a:endParaRPr lang="ru-RU" sz="1400" dirty="0"/>
          </a:p>
        </p:txBody>
      </p:sp>
      <p:sp>
        <p:nvSpPr>
          <p:cNvPr id="35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6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88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B71DBE33-6DC3-483F-ABEE-C078D97B7A80}"/>
              </a:ext>
            </a:extLst>
          </p:cNvPr>
          <p:cNvCxnSpPr>
            <a:stCxn id="53" idx="3"/>
            <a:endCxn id="54" idx="1"/>
          </p:cNvCxnSpPr>
          <p:nvPr/>
        </p:nvCxnSpPr>
        <p:spPr>
          <a:xfrm>
            <a:off x="8354756" y="825773"/>
            <a:ext cx="2907551" cy="0"/>
          </a:xfrm>
          <a:prstGeom prst="straightConnector1">
            <a:avLst/>
          </a:prstGeom>
          <a:ln w="825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0E1654-2196-43FB-B13F-74521E05D80E}"/>
              </a:ext>
            </a:extLst>
          </p:cNvPr>
          <p:cNvSpPr/>
          <p:nvPr/>
        </p:nvSpPr>
        <p:spPr>
          <a:xfrm>
            <a:off x="7367251" y="4327762"/>
            <a:ext cx="4686202" cy="191595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инвесторов в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химию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793A8C9-2C6C-444B-BDFF-0D40B11AA7EE}"/>
              </a:ext>
            </a:extLst>
          </p:cNvPr>
          <p:cNvSpPr/>
          <p:nvPr/>
        </p:nvSpPr>
        <p:spPr>
          <a:xfrm>
            <a:off x="7367251" y="4058244"/>
            <a:ext cx="4686202" cy="205421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выгодных направлений развития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химии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ABFD9A8-A950-4C95-81F6-FDFD12FFC41B}"/>
              </a:ext>
            </a:extLst>
          </p:cNvPr>
          <p:cNvSpPr/>
          <p:nvPr/>
        </p:nvSpPr>
        <p:spPr>
          <a:xfrm>
            <a:off x="432262" y="4092759"/>
            <a:ext cx="2237399" cy="704883"/>
          </a:xfrm>
          <a:prstGeom prst="rect">
            <a:avLst/>
          </a:prstGeom>
          <a:solidFill>
            <a:srgbClr val="0A2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72">
              <a:solidFill>
                <a:srgbClr val="10A9B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D4BEB98-05AE-4116-9631-72FFDCAC9B9E}"/>
              </a:ext>
            </a:extLst>
          </p:cNvPr>
          <p:cNvSpPr/>
          <p:nvPr/>
        </p:nvSpPr>
        <p:spPr>
          <a:xfrm>
            <a:off x="7367251" y="3606380"/>
            <a:ext cx="4686202" cy="376975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ащивание мощностей с учетом </a:t>
            </a:r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енностей по 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зиту и экспорту со </a:t>
            </a:r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ами и партнерами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1D4AC92-C0A8-4EEE-800C-E3B77CE61C65}"/>
              </a:ext>
            </a:extLst>
          </p:cNvPr>
          <p:cNvSpPr/>
          <p:nvPr/>
        </p:nvSpPr>
        <p:spPr>
          <a:xfrm>
            <a:off x="7367251" y="3304308"/>
            <a:ext cx="4686202" cy="225279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</a:t>
            </a:r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ам и партнерам по 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ю транзита и экспорта газ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69D1FAD-E055-4FF6-89DC-07422916D1C5}"/>
              </a:ext>
            </a:extLst>
          </p:cNvPr>
          <p:cNvSpPr/>
          <p:nvPr/>
        </p:nvSpPr>
        <p:spPr>
          <a:xfrm>
            <a:off x="7333597" y="1397757"/>
            <a:ext cx="4719857" cy="204293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загрузки действующих мощностей ГПЗ – 5 млрд.м3 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64823D2-205C-47AB-A349-680B4743F4A7}"/>
              </a:ext>
            </a:extLst>
          </p:cNvPr>
          <p:cNvSpPr/>
          <p:nvPr/>
        </p:nvSpPr>
        <p:spPr>
          <a:xfrm>
            <a:off x="7333597" y="1647131"/>
            <a:ext cx="4719857" cy="201008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 </a:t>
            </a:r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ее подготовленных 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 </a:t>
            </a:r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быче 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FD7942B-E3C2-42DB-B738-FE40BE88F501}"/>
              </a:ext>
            </a:extLst>
          </p:cNvPr>
          <p:cNvSpPr/>
          <p:nvPr/>
        </p:nvSpPr>
        <p:spPr>
          <a:xfrm>
            <a:off x="432263" y="3404242"/>
            <a:ext cx="2211326" cy="597846"/>
          </a:xfrm>
          <a:prstGeom prst="rect">
            <a:avLst/>
          </a:prstGeom>
          <a:solidFill>
            <a:srgbClr val="0A2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7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1C7D049-8957-4BA1-AA4F-EDC7AACF1845}"/>
              </a:ext>
            </a:extLst>
          </p:cNvPr>
          <p:cNvSpPr/>
          <p:nvPr/>
        </p:nvSpPr>
        <p:spPr>
          <a:xfrm>
            <a:off x="432262" y="2521028"/>
            <a:ext cx="2237400" cy="727394"/>
          </a:xfrm>
          <a:prstGeom prst="rect">
            <a:avLst/>
          </a:prstGeom>
          <a:solidFill>
            <a:srgbClr val="0A2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72">
              <a:solidFill>
                <a:srgbClr val="10A9B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7ED990-6507-4F55-9B5C-1FE3B804C276}"/>
              </a:ext>
            </a:extLst>
          </p:cNvPr>
          <p:cNvSpPr txBox="1"/>
          <p:nvPr/>
        </p:nvSpPr>
        <p:spPr>
          <a:xfrm>
            <a:off x="927318" y="662004"/>
            <a:ext cx="1237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ласти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37BA2BE-BD09-4EE6-B7B5-A06923A8BD48}"/>
              </a:ext>
            </a:extLst>
          </p:cNvPr>
          <p:cNvSpPr txBox="1"/>
          <p:nvPr/>
        </p:nvSpPr>
        <p:spPr>
          <a:xfrm>
            <a:off x="2794407" y="1496801"/>
            <a:ext cx="72606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5</a:t>
            </a:r>
            <a:endParaRPr lang="ru-RU" sz="2400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B995DB9-3731-4076-A12C-3519EC444C91}"/>
              </a:ext>
            </a:extLst>
          </p:cNvPr>
          <p:cNvSpPr txBox="1"/>
          <p:nvPr/>
        </p:nvSpPr>
        <p:spPr>
          <a:xfrm>
            <a:off x="4002826" y="1475467"/>
            <a:ext cx="314845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рост производств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оварног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аза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счет запуск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наиболее подготовленных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ектов по добыче газа и за счет переработки газ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мест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жигания и обратной закачк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CA9F86-C896-4623-9223-D5CE0A23D5E4}"/>
              </a:ext>
            </a:extLst>
          </p:cNvPr>
          <p:cNvSpPr txBox="1"/>
          <p:nvPr/>
        </p:nvSpPr>
        <p:spPr>
          <a:xfrm>
            <a:off x="3468317" y="1594263"/>
            <a:ext cx="638375" cy="234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м3</a:t>
            </a:r>
            <a:b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  <a:endParaRPr lang="ru-RU" sz="762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C65ED2E-2678-49BA-ABA0-B2520C320B27}"/>
              </a:ext>
            </a:extLst>
          </p:cNvPr>
          <p:cNvSpPr txBox="1"/>
          <p:nvPr/>
        </p:nvSpPr>
        <p:spPr>
          <a:xfrm>
            <a:off x="3963344" y="2580200"/>
            <a:ext cx="29379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ровень газификации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B96149F-D097-46FA-846E-EA378DDEEA11}"/>
              </a:ext>
            </a:extLst>
          </p:cNvPr>
          <p:cNvSpPr txBox="1"/>
          <p:nvPr/>
        </p:nvSpPr>
        <p:spPr>
          <a:xfrm>
            <a:off x="3950902" y="2935129"/>
            <a:ext cx="33826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частные инвестиции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газификацию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 замещении безвозвратных трат бюджета на газификацию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E67754-BEA5-4A7C-A1B0-DA20283313BD}"/>
              </a:ext>
            </a:extLst>
          </p:cNvPr>
          <p:cNvSpPr txBox="1"/>
          <p:nvPr/>
        </p:nvSpPr>
        <p:spPr>
          <a:xfrm>
            <a:off x="2879700" y="2709659"/>
            <a:ext cx="6668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%</a:t>
            </a:r>
            <a:endParaRPr lang="ru-RU" sz="2400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5A0075-79FA-4FFF-8F82-B3F03782962B}"/>
              </a:ext>
            </a:extLst>
          </p:cNvPr>
          <p:cNvSpPr txBox="1"/>
          <p:nvPr/>
        </p:nvSpPr>
        <p:spPr>
          <a:xfrm>
            <a:off x="3950902" y="3348600"/>
            <a:ext cx="20626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рост экспорта газ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241F68-8ABD-474F-AC21-CD16483CD798}"/>
              </a:ext>
            </a:extLst>
          </p:cNvPr>
          <p:cNvSpPr txBox="1"/>
          <p:nvPr/>
        </p:nvSpPr>
        <p:spPr>
          <a:xfrm>
            <a:off x="3951934" y="3773863"/>
            <a:ext cx="32512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рост транзит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оссийского и туркменского газ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7154018-9F07-41B2-A74F-F42D2BC510F1}"/>
              </a:ext>
            </a:extLst>
          </p:cNvPr>
          <p:cNvSpPr txBox="1"/>
          <p:nvPr/>
        </p:nvSpPr>
        <p:spPr>
          <a:xfrm>
            <a:off x="3983255" y="4308990"/>
            <a:ext cx="321981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аз для наиболее рентабельных проектов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азохимии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п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ыночной цене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F29D38B-49E2-42A0-A1E8-ACA5646F5595}"/>
              </a:ext>
            </a:extLst>
          </p:cNvPr>
          <p:cNvSpPr/>
          <p:nvPr/>
        </p:nvSpPr>
        <p:spPr>
          <a:xfrm>
            <a:off x="427146" y="1092900"/>
            <a:ext cx="2237400" cy="1255150"/>
          </a:xfrm>
          <a:prstGeom prst="rect">
            <a:avLst/>
          </a:prstGeom>
          <a:solidFill>
            <a:srgbClr val="0A2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7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4E63D-2D52-496C-A3BC-EC541F30A2A8}"/>
              </a:ext>
            </a:extLst>
          </p:cNvPr>
          <p:cNvSpPr txBox="1"/>
          <p:nvPr/>
        </p:nvSpPr>
        <p:spPr>
          <a:xfrm>
            <a:off x="538569" y="1357627"/>
            <a:ext cx="20735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ресурсной </a:t>
            </a:r>
            <a:b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ы </a:t>
            </a:r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ного газа </a:t>
            </a:r>
            <a:r>
              <a:rPr lang="ru-RU" sz="1200" b="1" i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обыча, переработка)</a:t>
            </a:r>
            <a:endParaRPr lang="ru-RU" sz="1200" b="1" i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FC22399-B257-45A6-9DB9-77EE158D1EBE}"/>
              </a:ext>
            </a:extLst>
          </p:cNvPr>
          <p:cNvSpPr txBox="1"/>
          <p:nvPr/>
        </p:nvSpPr>
        <p:spPr>
          <a:xfrm>
            <a:off x="523918" y="2663079"/>
            <a:ext cx="21264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</a:t>
            </a:r>
          </a:p>
          <a:p>
            <a: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его рынка газа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D950E5-CED8-4593-9E39-42DA4278C0A4}"/>
              </a:ext>
            </a:extLst>
          </p:cNvPr>
          <p:cNvSpPr txBox="1"/>
          <p:nvPr/>
        </p:nvSpPr>
        <p:spPr>
          <a:xfrm>
            <a:off x="2978869" y="672947"/>
            <a:ext cx="30800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Целевые показател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030 г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4141070-0CB4-44F7-AA5E-BF48029EF602}"/>
              </a:ext>
            </a:extLst>
          </p:cNvPr>
          <p:cNvSpPr txBox="1"/>
          <p:nvPr/>
        </p:nvSpPr>
        <p:spPr>
          <a:xfrm>
            <a:off x="7924228" y="861751"/>
            <a:ext cx="2286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аправления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вития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D0D999-9197-47AE-A5C9-DFE782745497}"/>
              </a:ext>
            </a:extLst>
          </p:cNvPr>
          <p:cNvSpPr txBox="1"/>
          <p:nvPr/>
        </p:nvSpPr>
        <p:spPr>
          <a:xfrm>
            <a:off x="528358" y="3468195"/>
            <a:ext cx="17844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транзита и экспорта газа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024E8AA-B4C0-4D98-A46C-630E78D47185}"/>
              </a:ext>
            </a:extLst>
          </p:cNvPr>
          <p:cNvSpPr txBox="1"/>
          <p:nvPr/>
        </p:nvSpPr>
        <p:spPr>
          <a:xfrm>
            <a:off x="7333598" y="1122306"/>
            <a:ext cx="4719856" cy="230832"/>
          </a:xfrm>
          <a:prstGeom prst="rect">
            <a:avLst/>
          </a:prstGeom>
          <a:solidFill>
            <a:srgbClr val="E7E6E6"/>
          </a:solidFill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ой базы для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я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добычи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167BA79-1315-4016-9C5F-E2741197D738}"/>
              </a:ext>
            </a:extLst>
          </p:cNvPr>
          <p:cNvSpPr txBox="1"/>
          <p:nvPr/>
        </p:nvSpPr>
        <p:spPr>
          <a:xfrm>
            <a:off x="7333597" y="1894184"/>
            <a:ext cx="4719857" cy="160419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роекты переработки газа вместо сжигания и обратной закачки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D99EC67F-8EB8-460D-892C-B306D2D24ECE}"/>
              </a:ext>
            </a:extLst>
          </p:cNvPr>
          <p:cNvSpPr/>
          <p:nvPr/>
        </p:nvSpPr>
        <p:spPr>
          <a:xfrm>
            <a:off x="7333595" y="2528748"/>
            <a:ext cx="4719857" cy="180585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справедливая реформа ценообразования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639703F-4BE2-441F-87D2-F240F6F7DA35}"/>
              </a:ext>
            </a:extLst>
          </p:cNvPr>
          <p:cNvSpPr/>
          <p:nvPr/>
        </p:nvSpPr>
        <p:spPr>
          <a:xfrm>
            <a:off x="7333595" y="2758039"/>
            <a:ext cx="4719858" cy="134536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рационального потребления газа на внутреннем рынке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D0F58A22-B286-4EC5-AFE6-B3CB1CA59439}"/>
              </a:ext>
            </a:extLst>
          </p:cNvPr>
          <p:cNvSpPr/>
          <p:nvPr/>
        </p:nvSpPr>
        <p:spPr>
          <a:xfrm>
            <a:off x="7333595" y="2982609"/>
            <a:ext cx="4719858" cy="14814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частного бизнеса к газификации и распределению газ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171B987-3FFD-4E86-8FB8-18302F4D968B}"/>
              </a:ext>
            </a:extLst>
          </p:cNvPr>
          <p:cNvSpPr txBox="1"/>
          <p:nvPr/>
        </p:nvSpPr>
        <p:spPr>
          <a:xfrm>
            <a:off x="2823545" y="3291857"/>
            <a:ext cx="451252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</a:t>
            </a:r>
            <a:endParaRPr lang="ru-RU" sz="1981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4E758AD-8275-4F65-9609-E6C649FBDBDA}"/>
              </a:ext>
            </a:extLst>
          </p:cNvPr>
          <p:cNvSpPr txBox="1"/>
          <p:nvPr/>
        </p:nvSpPr>
        <p:spPr>
          <a:xfrm>
            <a:off x="3209807" y="3313253"/>
            <a:ext cx="638375" cy="234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м3</a:t>
            </a:r>
            <a:b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  <a:endParaRPr lang="ru-RU" sz="762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CB3EBE6-0D23-400D-B151-47653A7F1C32}"/>
              </a:ext>
            </a:extLst>
          </p:cNvPr>
          <p:cNvSpPr txBox="1"/>
          <p:nvPr/>
        </p:nvSpPr>
        <p:spPr>
          <a:xfrm>
            <a:off x="2703589" y="3719690"/>
            <a:ext cx="491338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0</a:t>
            </a:r>
            <a:endParaRPr lang="ru-RU" sz="1981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92D633B-D124-401D-BF36-F3BA5401C681}"/>
              </a:ext>
            </a:extLst>
          </p:cNvPr>
          <p:cNvSpPr txBox="1"/>
          <p:nvPr/>
        </p:nvSpPr>
        <p:spPr>
          <a:xfrm>
            <a:off x="3197254" y="3761115"/>
            <a:ext cx="638375" cy="234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м3</a:t>
            </a:r>
            <a:b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  <a:endParaRPr lang="ru-RU" sz="762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72AB305-7E9B-4CA6-9B71-AF8FE667F446}"/>
              </a:ext>
            </a:extLst>
          </p:cNvPr>
          <p:cNvSpPr txBox="1"/>
          <p:nvPr/>
        </p:nvSpPr>
        <p:spPr>
          <a:xfrm>
            <a:off x="2777784" y="4263303"/>
            <a:ext cx="726069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81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5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68324CA-213D-4C65-B917-566B71484147}"/>
              </a:ext>
            </a:extLst>
          </p:cNvPr>
          <p:cNvSpPr txBox="1"/>
          <p:nvPr/>
        </p:nvSpPr>
        <p:spPr>
          <a:xfrm>
            <a:off x="3250161" y="4326394"/>
            <a:ext cx="638375" cy="234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м3</a:t>
            </a:r>
            <a:b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62" b="1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  <a:endParaRPr lang="ru-RU" sz="762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7A5EE0-1272-4BC6-B0F5-E89F61B08BE0}"/>
              </a:ext>
            </a:extLst>
          </p:cNvPr>
          <p:cNvSpPr txBox="1"/>
          <p:nvPr/>
        </p:nvSpPr>
        <p:spPr>
          <a:xfrm>
            <a:off x="7797805" y="687273"/>
            <a:ext cx="556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  <a:endParaRPr lang="ru-RU" sz="12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491C47C-47F2-4689-9C82-91D24C436D56}"/>
              </a:ext>
            </a:extLst>
          </p:cNvPr>
          <p:cNvSpPr txBox="1"/>
          <p:nvPr/>
        </p:nvSpPr>
        <p:spPr>
          <a:xfrm>
            <a:off x="11262307" y="687273"/>
            <a:ext cx="556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3C784725-4C24-4EA9-ABE4-B6DDC17C58A3}"/>
              </a:ext>
            </a:extLst>
          </p:cNvPr>
          <p:cNvCxnSpPr/>
          <p:nvPr/>
        </p:nvCxnSpPr>
        <p:spPr>
          <a:xfrm>
            <a:off x="7367251" y="912049"/>
            <a:ext cx="4386061" cy="26673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78C8340F-DD06-41B3-BBA8-DBDE77B9747A}"/>
              </a:ext>
            </a:extLst>
          </p:cNvPr>
          <p:cNvCxnSpPr/>
          <p:nvPr/>
        </p:nvCxnSpPr>
        <p:spPr>
          <a:xfrm flipV="1">
            <a:off x="2770502" y="914400"/>
            <a:ext cx="4361818" cy="41613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84C90CCA-05AC-43C3-AA25-DF07980C044F}"/>
              </a:ext>
            </a:extLst>
          </p:cNvPr>
          <p:cNvSpPr txBox="1"/>
          <p:nvPr/>
        </p:nvSpPr>
        <p:spPr>
          <a:xfrm>
            <a:off x="3963344" y="2755847"/>
            <a:ext cx="15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ход н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безубыточность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B793A8C9-2C6C-444B-BDFF-0D40B11AA7EE}"/>
              </a:ext>
            </a:extLst>
          </p:cNvPr>
          <p:cNvSpPr/>
          <p:nvPr/>
        </p:nvSpPr>
        <p:spPr>
          <a:xfrm>
            <a:off x="7367251" y="4573197"/>
            <a:ext cx="4686202" cy="204104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новой энергетики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ABFD9A8-A950-4C95-81F6-FDFD12FFC41B}"/>
              </a:ext>
            </a:extLst>
          </p:cNvPr>
          <p:cNvSpPr/>
          <p:nvPr/>
        </p:nvSpPr>
        <p:spPr>
          <a:xfrm>
            <a:off x="459191" y="4890878"/>
            <a:ext cx="2210471" cy="880190"/>
          </a:xfrm>
          <a:prstGeom prst="rect">
            <a:avLst/>
          </a:prstGeom>
          <a:solidFill>
            <a:srgbClr val="0A2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72">
              <a:solidFill>
                <a:srgbClr val="10A9B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-17131" y="4943102"/>
            <a:ext cx="4924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  <a:endParaRPr lang="ru-RU" sz="3600" b="1" dirty="0">
              <a:solidFill>
                <a:schemeClr val="bg1">
                  <a:lumMod val="6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7D0D999-9197-47AE-A5C9-DFE782745497}"/>
              </a:ext>
            </a:extLst>
          </p:cNvPr>
          <p:cNvSpPr txBox="1"/>
          <p:nvPr/>
        </p:nvSpPr>
        <p:spPr>
          <a:xfrm>
            <a:off x="583852" y="4286153"/>
            <a:ext cx="1792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kk-KZ" sz="1200" b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химии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78C8340F-DD06-41B3-BBA8-DBDE77B9747A}"/>
              </a:ext>
            </a:extLst>
          </p:cNvPr>
          <p:cNvCxnSpPr/>
          <p:nvPr/>
        </p:nvCxnSpPr>
        <p:spPr>
          <a:xfrm>
            <a:off x="2691902" y="4047935"/>
            <a:ext cx="4608702" cy="13901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id="{78C8340F-DD06-41B3-BBA8-DBDE77B9747A}"/>
              </a:ext>
            </a:extLst>
          </p:cNvPr>
          <p:cNvCxnSpPr/>
          <p:nvPr/>
        </p:nvCxnSpPr>
        <p:spPr>
          <a:xfrm>
            <a:off x="2721498" y="4829535"/>
            <a:ext cx="4551270" cy="17009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78C8340F-DD06-41B3-BBA8-DBDE77B9747A}"/>
              </a:ext>
            </a:extLst>
          </p:cNvPr>
          <p:cNvCxnSpPr/>
          <p:nvPr/>
        </p:nvCxnSpPr>
        <p:spPr>
          <a:xfrm>
            <a:off x="2729809" y="2496610"/>
            <a:ext cx="4542959" cy="17104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78C8340F-DD06-41B3-BBA8-DBDE77B9747A}"/>
              </a:ext>
            </a:extLst>
          </p:cNvPr>
          <p:cNvCxnSpPr/>
          <p:nvPr/>
        </p:nvCxnSpPr>
        <p:spPr>
          <a:xfrm>
            <a:off x="2718303" y="3255434"/>
            <a:ext cx="4542959" cy="17104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7D0D999-9197-47AE-A5C9-DFE782745497}"/>
              </a:ext>
            </a:extLst>
          </p:cNvPr>
          <p:cNvSpPr txBox="1"/>
          <p:nvPr/>
        </p:nvSpPr>
        <p:spPr>
          <a:xfrm>
            <a:off x="538126" y="4983683"/>
            <a:ext cx="21277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ая и операционная эффективность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2E0E1654-2196-43FB-B13F-74521E05D80E}"/>
              </a:ext>
            </a:extLst>
          </p:cNvPr>
          <p:cNvSpPr/>
          <p:nvPr/>
        </p:nvSpPr>
        <p:spPr>
          <a:xfrm>
            <a:off x="7376062" y="5284586"/>
            <a:ext cx="4676857" cy="19013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зрачность корпоративного управления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B793A8C9-2C6C-444B-BDFF-0D40B11AA7EE}"/>
              </a:ext>
            </a:extLst>
          </p:cNvPr>
          <p:cNvSpPr/>
          <p:nvPr/>
        </p:nvSpPr>
        <p:spPr>
          <a:xfrm>
            <a:off x="7367251" y="5068885"/>
            <a:ext cx="4686202" cy="168319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принципов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G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B793A8C9-2C6C-444B-BDFF-0D40B11AA7EE}"/>
              </a:ext>
            </a:extLst>
          </p:cNvPr>
          <p:cNvSpPr/>
          <p:nvPr/>
        </p:nvSpPr>
        <p:spPr>
          <a:xfrm>
            <a:off x="7379259" y="5523981"/>
            <a:ext cx="4673467" cy="154778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трансформация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7154018-9F07-41B2-A74F-F42D2BC510F1}"/>
              </a:ext>
            </a:extLst>
          </p:cNvPr>
          <p:cNvSpPr txBox="1"/>
          <p:nvPr/>
        </p:nvSpPr>
        <p:spPr>
          <a:xfrm>
            <a:off x="4017266" y="5259602"/>
            <a:ext cx="316803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ESG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ейтинг </a:t>
            </a:r>
            <a:r>
              <a:rPr lang="ru-R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stainalytics</a:t>
            </a:r>
            <a:r>
              <a:rPr lang="ru-R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72AB305-7E9B-4CA6-9B71-AF8FE667F446}"/>
              </a:ext>
            </a:extLst>
          </p:cNvPr>
          <p:cNvSpPr txBox="1"/>
          <p:nvPr/>
        </p:nvSpPr>
        <p:spPr>
          <a:xfrm>
            <a:off x="2798436" y="5193858"/>
            <a:ext cx="726069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981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68324CA-213D-4C65-B917-566B71484147}"/>
              </a:ext>
            </a:extLst>
          </p:cNvPr>
          <p:cNvSpPr txBox="1"/>
          <p:nvPr/>
        </p:nvSpPr>
        <p:spPr>
          <a:xfrm>
            <a:off x="3320980" y="5295519"/>
            <a:ext cx="638375" cy="117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62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Risk</a:t>
            </a:r>
            <a:endParaRPr lang="ru-RU" sz="762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72AB305-7E9B-4CA6-9B71-AF8FE667F446}"/>
              </a:ext>
            </a:extLst>
          </p:cNvPr>
          <p:cNvSpPr txBox="1"/>
          <p:nvPr/>
        </p:nvSpPr>
        <p:spPr>
          <a:xfrm>
            <a:off x="2831892" y="5469277"/>
            <a:ext cx="726069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endParaRPr lang="ru-RU" sz="1981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-53660" y="4107831"/>
            <a:ext cx="4924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  <a:endParaRPr lang="ru-RU" sz="3600" b="1" dirty="0">
              <a:solidFill>
                <a:schemeClr val="bg1">
                  <a:lumMod val="6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-33252" y="3382180"/>
            <a:ext cx="4924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  <a:endParaRPr lang="ru-RU" sz="3600" b="1" dirty="0">
              <a:solidFill>
                <a:schemeClr val="bg1">
                  <a:lumMod val="6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-20821" y="2631133"/>
            <a:ext cx="4924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  <a:endParaRPr lang="ru-RU" sz="3600" b="1" dirty="0">
              <a:solidFill>
                <a:schemeClr val="bg1">
                  <a:lumMod val="6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-43780" y="1319118"/>
            <a:ext cx="4924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  <a:endParaRPr lang="ru-RU" sz="3600" b="1" dirty="0">
              <a:solidFill>
                <a:schemeClr val="bg1">
                  <a:lumMod val="6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7154018-9F07-41B2-A74F-F42D2BC510F1}"/>
              </a:ext>
            </a:extLst>
          </p:cNvPr>
          <p:cNvSpPr txBox="1"/>
          <p:nvPr/>
        </p:nvSpPr>
        <p:spPr>
          <a:xfrm>
            <a:off x="4011810" y="5554703"/>
            <a:ext cx="316803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ейтинг корпоративного управления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167BA79-1315-4016-9C5F-E2741197D738}"/>
              </a:ext>
            </a:extLst>
          </p:cNvPr>
          <p:cNvSpPr txBox="1"/>
          <p:nvPr/>
        </p:nvSpPr>
        <p:spPr>
          <a:xfrm>
            <a:off x="7333596" y="2099791"/>
            <a:ext cx="4719857" cy="361193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chemeClr val="tx1"/>
                </a:solidFill>
              </a:rPr>
              <a:t>Разработка справедливой формулы ценообразования для </a:t>
            </a:r>
            <a:r>
              <a:rPr lang="ru-RU" dirty="0" err="1" smtClean="0">
                <a:solidFill>
                  <a:schemeClr val="tx1"/>
                </a:solidFill>
              </a:rPr>
              <a:t>недропользователей</a:t>
            </a:r>
            <a:r>
              <a:rPr lang="ru-RU" dirty="0" smtClean="0">
                <a:solidFill>
                  <a:schemeClr val="tx1"/>
                </a:solidFill>
              </a:rPr>
              <a:t> на дополнительные объемы газ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B793A8C9-2C6C-444B-BDFF-0D40B11AA7EE}"/>
              </a:ext>
            </a:extLst>
          </p:cNvPr>
          <p:cNvSpPr/>
          <p:nvPr/>
        </p:nvSpPr>
        <p:spPr>
          <a:xfrm>
            <a:off x="7367251" y="4853248"/>
            <a:ext cx="4686202" cy="154092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и преумножение человеческого капитала</a:t>
            </a: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72AB305-7E9B-4CA6-9B71-AF8FE667F446}"/>
              </a:ext>
            </a:extLst>
          </p:cNvPr>
          <p:cNvSpPr txBox="1"/>
          <p:nvPr/>
        </p:nvSpPr>
        <p:spPr>
          <a:xfrm>
            <a:off x="2831892" y="4889031"/>
            <a:ext cx="726069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981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7154018-9F07-41B2-A74F-F42D2BC510F1}"/>
              </a:ext>
            </a:extLst>
          </p:cNvPr>
          <p:cNvSpPr txBox="1"/>
          <p:nvPr/>
        </p:nvSpPr>
        <p:spPr>
          <a:xfrm>
            <a:off x="4017266" y="4964501"/>
            <a:ext cx="316803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екс социальной стабильности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72AB305-7E9B-4CA6-9B71-AF8FE667F446}"/>
              </a:ext>
            </a:extLst>
          </p:cNvPr>
          <p:cNvSpPr txBox="1"/>
          <p:nvPr/>
        </p:nvSpPr>
        <p:spPr>
          <a:xfrm>
            <a:off x="6532970" y="5224051"/>
            <a:ext cx="726069" cy="304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981" b="1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</a:t>
            </a:r>
            <a:endParaRPr lang="ru-RU" sz="1981" b="1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DCED958B-DDAA-4FCC-A4CB-23091A191732}"/>
              </a:ext>
            </a:extLst>
          </p:cNvPr>
          <p:cNvSpPr/>
          <p:nvPr/>
        </p:nvSpPr>
        <p:spPr>
          <a:xfrm>
            <a:off x="398488" y="6175911"/>
            <a:ext cx="10011098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69875" lvl="0" algn="just"/>
            <a:r>
              <a:rPr lang="ru-RU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о предложение в Ассоциацию «Казахстанский совет иностранных</a:t>
            </a:r>
            <a:r>
              <a:rPr lang="en-US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оров» (АКСИИ) принять участие в формировании </a:t>
            </a:r>
            <a:r>
              <a:rPr lang="en-US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и </a:t>
            </a:r>
            <a:r>
              <a:rPr lang="ru-RU" sz="1400" b="1" i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перехода</a:t>
            </a:r>
            <a:r>
              <a:rPr lang="ru-RU" sz="1400" b="1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захстана </a:t>
            </a:r>
            <a:r>
              <a:rPr lang="ru-RU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rgy Transition Strategy of Kazakhstan</a:t>
            </a:r>
            <a:r>
              <a:rPr lang="ru-RU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400" i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6"/>
            <a:ext cx="12191999" cy="5674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«</a:t>
            </a:r>
            <a:r>
              <a:rPr lang="ru-RU" sz="20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рған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azaqGaz»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23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6DB91694-FCF2-4F97-B4ED-C6EB2BF0294D}"/>
              </a:ext>
            </a:extLst>
          </p:cNvPr>
          <p:cNvSpPr/>
          <p:nvPr/>
        </p:nvSpPr>
        <p:spPr>
          <a:xfrm>
            <a:off x="8005116" y="3059474"/>
            <a:ext cx="4107695" cy="1019820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k-KZ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ринято решение о передаче проекта </a:t>
            </a:r>
            <a:r>
              <a:rPr lang="kk-KZ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троительства ГПЗ «Кашаган» в АО «НК «</a:t>
            </a:r>
            <a:r>
              <a:rPr lang="en-US" altLang="zh-CN" sz="1100" b="1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QazaqGaz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». Работа по загрузке действующих и развитию новых газоперерабатывающих мощностей продолжается (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в 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т.ч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: 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Кашаган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Карачаганак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Жанажол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Чинаревский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ГПЗ, 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КазГерМунай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85FB205F-3C1D-4E43-BDFC-4CFBBF7DD3AB}"/>
              </a:ext>
            </a:extLst>
          </p:cNvPr>
          <p:cNvSpPr/>
          <p:nvPr/>
        </p:nvSpPr>
        <p:spPr>
          <a:xfrm>
            <a:off x="1883406" y="2684880"/>
            <a:ext cx="4077139" cy="547680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дтвержден дополнительный объем газа с месторождения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Южный Аксай</a:t>
            </a:r>
            <a:r>
              <a:rPr lang="en-US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на внутренний рынок (</a:t>
            </a:r>
            <a:r>
              <a:rPr lang="ru-RU" altLang="zh-CN" sz="1100" b="1" i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КазГерМунай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) 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150" name="Picture 6" descr="Contract Icon Png #100080 - Free Icons Library">
            <a:extLst>
              <a:ext uri="{FF2B5EF4-FFF2-40B4-BE49-F238E27FC236}">
                <a16:creationId xmlns:a16="http://schemas.microsoft.com/office/drawing/2014/main" id="{E23F7926-7FBA-4B77-94B7-89D94BB1E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73" y="2780520"/>
            <a:ext cx="361103" cy="34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BBA39309-B1AE-4260-856F-642DBE670AE4}"/>
              </a:ext>
            </a:extLst>
          </p:cNvPr>
          <p:cNvSpPr/>
          <p:nvPr/>
        </p:nvSpPr>
        <p:spPr>
          <a:xfrm>
            <a:off x="1868652" y="2234092"/>
            <a:ext cx="4091893" cy="332273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k-KZ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Направлен дополнительный объем газа ТШО </a:t>
            </a:r>
            <a:r>
              <a:rPr lang="kk-KZ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на внутренний рынок</a:t>
            </a:r>
            <a:r>
              <a:rPr lang="en-US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из экспортных объемов ТШО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8" name="矩形 46">
            <a:extLst>
              <a:ext uri="{FF2B5EF4-FFF2-40B4-BE49-F238E27FC236}">
                <a16:creationId xmlns:a16="http://schemas.microsoft.com/office/drawing/2014/main" id="{0B91131F-D186-4A3B-B55A-93F17C1D83A2}"/>
              </a:ext>
            </a:extLst>
          </p:cNvPr>
          <p:cNvSpPr/>
          <p:nvPr/>
        </p:nvSpPr>
        <p:spPr>
          <a:xfrm>
            <a:off x="647362" y="2208629"/>
            <a:ext cx="1355761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zh-CN" b="1" i="0" u="none" strike="noStrike" kern="0" cap="none" spc="0" normalizeH="0" baseline="0" noProof="0" dirty="0" smtClean="0">
                <a:ln>
                  <a:noFill/>
                </a:ln>
                <a:solidFill>
                  <a:srgbClr val="2E6CA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</a:t>
            </a:r>
            <a:r>
              <a:rPr kumimoji="0" lang="en-US" altLang="zh-CN" b="1" i="0" u="none" strike="noStrike" kern="0" cap="none" spc="0" normalizeH="0" baseline="0" noProof="0" dirty="0" smtClean="0">
                <a:ln>
                  <a:noFill/>
                </a:ln>
                <a:solidFill>
                  <a:srgbClr val="2E6CA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kk-KZ" altLang="zh-CN" b="1" i="0" u="none" strike="noStrike" kern="0" cap="none" spc="0" normalizeH="0" baseline="0" noProof="0" dirty="0" smtClean="0">
                <a:ln>
                  <a:noFill/>
                </a:ln>
                <a:solidFill>
                  <a:srgbClr val="2E6CA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600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zh-CN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2E6CA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н.м</a:t>
            </a:r>
            <a:r>
              <a:rPr kumimoji="0" lang="kk-KZ" altLang="zh-CN" sz="1200" b="1" i="1" u="none" strike="noStrike" kern="0" cap="none" spc="0" normalizeH="0" baseline="30000" noProof="0" dirty="0" smtClean="0">
                <a:ln>
                  <a:noFill/>
                </a:ln>
                <a:solidFill>
                  <a:srgbClr val="2E6CA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kumimoji="0" lang="zh-CN" altLang="en-US" sz="1200" b="1" i="1" u="none" strike="noStrike" kern="0" cap="none" spc="0" normalizeH="0" baseline="30000" noProof="0" dirty="0">
              <a:ln>
                <a:noFill/>
              </a:ln>
              <a:solidFill>
                <a:srgbClr val="2E6CA4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48736C52-B4BE-4395-96F5-1722BA2C8E3F}"/>
              </a:ext>
            </a:extLst>
          </p:cNvPr>
          <p:cNvSpPr/>
          <p:nvPr/>
        </p:nvSpPr>
        <p:spPr>
          <a:xfrm>
            <a:off x="1852845" y="1608253"/>
            <a:ext cx="4107697" cy="471660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одан газ населению. Введены в эксплуатацию газораспределительные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ети в Туркестанской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бласти (</a:t>
            </a:r>
            <a:r>
              <a:rPr lang="ru-RU" altLang="zh-CN" sz="1100" b="1" i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долгострой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lang="ru-RU" altLang="zh-CN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9E99A5B1-D02E-4D91-B954-A354C700E4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343" y="1670952"/>
            <a:ext cx="346639" cy="346262"/>
          </a:xfrm>
          <a:prstGeom prst="rect">
            <a:avLst/>
          </a:prstGeom>
        </p:spPr>
      </p:pic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98E8FFC8-B708-4F88-A1DB-110B4DA1DB50}"/>
              </a:ext>
            </a:extLst>
          </p:cNvPr>
          <p:cNvSpPr/>
          <p:nvPr/>
        </p:nvSpPr>
        <p:spPr>
          <a:xfrm>
            <a:off x="1860749" y="945085"/>
            <a:ext cx="4107697" cy="523599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беспечено бесперебойное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и безаварийное газоснабжение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в </a:t>
            </a:r>
            <a:r>
              <a:rPr lang="ru-RU" altLang="zh-CN" sz="1100" b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сенне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– зимний отопительный период 2021-22гг.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C612BAC2-FB0B-4611-8133-B1BAD63152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672" y="965435"/>
            <a:ext cx="317996" cy="346262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EBBD92A8-9DC8-4869-8C51-71752DCF6A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10" y="2208308"/>
            <a:ext cx="352589" cy="352589"/>
          </a:xfrm>
          <a:prstGeom prst="rect">
            <a:avLst/>
          </a:prstGeom>
        </p:spPr>
      </p:pic>
      <p:sp>
        <p:nvSpPr>
          <p:cNvPr id="112" name="矩形 46">
            <a:extLst>
              <a:ext uri="{FF2B5EF4-FFF2-40B4-BE49-F238E27FC236}">
                <a16:creationId xmlns:a16="http://schemas.microsoft.com/office/drawing/2014/main" id="{E92A2F1A-483C-4C21-8F2C-53B7888E81C4}"/>
              </a:ext>
            </a:extLst>
          </p:cNvPr>
          <p:cNvSpPr/>
          <p:nvPr/>
        </p:nvSpPr>
        <p:spPr>
          <a:xfrm>
            <a:off x="614415" y="2732791"/>
            <a:ext cx="1355761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</a:t>
            </a:r>
            <a:r>
              <a:rPr lang="en-US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00 </a:t>
            </a:r>
            <a:endParaRPr lang="kk-KZ" altLang="zh-CN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н</a:t>
            </a:r>
            <a:r>
              <a:rPr lang="ru-RU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</a:t>
            </a:r>
            <a:r>
              <a:rPr lang="kk-KZ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</a:t>
            </a:r>
            <a:r>
              <a:rPr lang="kk-KZ" altLang="zh-CN" sz="1200" b="1" i="1" kern="0" baseline="3000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lang="zh-CN" altLang="en-US" sz="1200" b="1" i="1" kern="0" baseline="3000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3" name="矩形 46">
            <a:extLst>
              <a:ext uri="{FF2B5EF4-FFF2-40B4-BE49-F238E27FC236}">
                <a16:creationId xmlns:a16="http://schemas.microsoft.com/office/drawing/2014/main" id="{2491D1A2-D5F4-4096-AC66-4FD3D255232B}"/>
              </a:ext>
            </a:extLst>
          </p:cNvPr>
          <p:cNvSpPr/>
          <p:nvPr/>
        </p:nvSpPr>
        <p:spPr>
          <a:xfrm>
            <a:off x="6731168" y="3290349"/>
            <a:ext cx="1414385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</a:t>
            </a:r>
            <a:r>
              <a:rPr lang="en-US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kk-KZ" altLang="zh-CN" sz="1600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kk-KZ" altLang="zh-CN" sz="1600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рд.м</a:t>
            </a:r>
            <a:r>
              <a:rPr lang="kk-KZ" altLang="zh-CN" sz="1200" b="1" i="1" kern="0" baseline="3000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lang="zh-CN" altLang="en-US" sz="1200" b="1" i="1" kern="0" baseline="3000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6" name="矩形 46">
            <a:extLst>
              <a:ext uri="{FF2B5EF4-FFF2-40B4-BE49-F238E27FC236}">
                <a16:creationId xmlns:a16="http://schemas.microsoft.com/office/drawing/2014/main" id="{D04F2072-DB32-43B8-BC4B-0F65F578893D}"/>
              </a:ext>
            </a:extLst>
          </p:cNvPr>
          <p:cNvSpPr/>
          <p:nvPr/>
        </p:nvSpPr>
        <p:spPr>
          <a:xfrm>
            <a:off x="6689607" y="4225663"/>
            <a:ext cx="1414385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 </a:t>
            </a:r>
            <a:r>
              <a:rPr lang="ru-RU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ru-RU" altLang="zh-CN" sz="14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рд</a:t>
            </a:r>
            <a:r>
              <a:rPr lang="ru-RU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</a:t>
            </a:r>
            <a:r>
              <a:rPr lang="kk-KZ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</a:t>
            </a:r>
            <a:r>
              <a:rPr lang="kk-KZ" altLang="zh-CN" sz="1200" b="1" i="1" kern="0" baseline="3000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lang="zh-CN" altLang="en-US" sz="1200" b="1" i="1" kern="0" baseline="3000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0" name="Прямоугольник 109">
            <a:extLst>
              <a:ext uri="{FF2B5EF4-FFF2-40B4-BE49-F238E27FC236}">
                <a16:creationId xmlns:a16="http://schemas.microsoft.com/office/drawing/2014/main" id="{D0793D88-D439-4346-8068-D616061D66A9}"/>
              </a:ext>
            </a:extLst>
          </p:cNvPr>
          <p:cNvSpPr/>
          <p:nvPr/>
        </p:nvSpPr>
        <p:spPr>
          <a:xfrm>
            <a:off x="235343" y="1493212"/>
            <a:ext cx="2087430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2</a:t>
            </a:r>
            <a:r>
              <a:rPr lang="ru-RU" altLang="zh-CN" sz="1600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en-US" altLang="zh-CN" sz="1600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ru-RU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населенных </a:t>
            </a:r>
            <a:endParaRPr lang="ru-RU" altLang="zh-CN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ru-RU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ункта</a:t>
            </a:r>
            <a:endParaRPr lang="zh-CN" altLang="en-US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id="{B6B9DCFB-A25A-4D48-BB36-65255284FFDE}"/>
              </a:ext>
            </a:extLst>
          </p:cNvPr>
          <p:cNvSpPr/>
          <p:nvPr/>
        </p:nvSpPr>
        <p:spPr>
          <a:xfrm>
            <a:off x="780864" y="951582"/>
            <a:ext cx="1088760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0 </a:t>
            </a:r>
            <a:endParaRPr lang="ru-RU" altLang="zh-CN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ru-RU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аварий</a:t>
            </a:r>
            <a:endParaRPr lang="zh-CN" altLang="en-US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6A8A7158-137D-4C41-AF79-DE8B2D84F8BC}"/>
              </a:ext>
            </a:extLst>
          </p:cNvPr>
          <p:cNvCxnSpPr>
            <a:cxnSpLocks/>
          </p:cNvCxnSpPr>
          <p:nvPr/>
        </p:nvCxnSpPr>
        <p:spPr>
          <a:xfrm flipH="1">
            <a:off x="6115953" y="778424"/>
            <a:ext cx="18840" cy="5495429"/>
          </a:xfrm>
          <a:prstGeom prst="line">
            <a:avLst/>
          </a:prstGeom>
          <a:ln w="38100">
            <a:solidFill>
              <a:srgbClr val="2D4B70">
                <a:alpha val="7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9BD3D9A5-01BA-4037-88D0-2501879875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6292577" y="3250441"/>
            <a:ext cx="530724" cy="669810"/>
          </a:xfrm>
          <a:prstGeom prst="rect">
            <a:avLst/>
          </a:prstGeom>
        </p:spPr>
      </p:pic>
      <p:sp>
        <p:nvSpPr>
          <p:cNvPr id="69" name="Номер слайда 1"/>
          <p:cNvSpPr txBox="1">
            <a:spLocks/>
          </p:cNvSpPr>
          <p:nvPr/>
        </p:nvSpPr>
        <p:spPr>
          <a:xfrm>
            <a:off x="11777932" y="6498134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E2F1020F-F89E-4217-B04E-D8781FD52A1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10" y="3502020"/>
            <a:ext cx="446903" cy="306136"/>
          </a:xfrm>
          <a:prstGeom prst="rect">
            <a:avLst/>
          </a:prstGeom>
        </p:spPr>
      </p:pic>
      <p:sp>
        <p:nvSpPr>
          <p:cNvPr id="59" name="矩形 46">
            <a:extLst>
              <a:ext uri="{FF2B5EF4-FFF2-40B4-BE49-F238E27FC236}">
                <a16:creationId xmlns:a16="http://schemas.microsoft.com/office/drawing/2014/main" id="{E92A2F1A-483C-4C21-8F2C-53B7888E81C4}"/>
              </a:ext>
            </a:extLst>
          </p:cNvPr>
          <p:cNvSpPr/>
          <p:nvPr/>
        </p:nvSpPr>
        <p:spPr>
          <a:xfrm>
            <a:off x="629122" y="3393562"/>
            <a:ext cx="1355761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</a:t>
            </a:r>
            <a:r>
              <a:rPr lang="en-US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670</a:t>
            </a:r>
            <a:endParaRPr lang="kk-KZ" altLang="zh-CN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н</a:t>
            </a:r>
            <a:r>
              <a:rPr lang="ru-RU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</a:t>
            </a:r>
            <a:r>
              <a:rPr lang="kk-KZ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</a:t>
            </a:r>
            <a:r>
              <a:rPr lang="kk-KZ" altLang="zh-CN" sz="1200" b="1" i="1" kern="0" baseline="3000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lang="zh-CN" altLang="en-US" sz="1200" b="1" i="1" kern="0" baseline="3000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85FB205F-3C1D-4E43-BDFC-4CFBBF7DD3AB}"/>
              </a:ext>
            </a:extLst>
          </p:cNvPr>
          <p:cNvSpPr/>
          <p:nvPr/>
        </p:nvSpPr>
        <p:spPr>
          <a:xfrm>
            <a:off x="1894623" y="3380843"/>
            <a:ext cx="4077139" cy="547680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Достигнуто соглашение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 поставке туркменского газа в период с марта по 31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августа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022 года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7EA524F0-1252-4553-9B39-311E2990934A}"/>
              </a:ext>
            </a:extLst>
          </p:cNvPr>
          <p:cNvSpPr/>
          <p:nvPr/>
        </p:nvSpPr>
        <p:spPr>
          <a:xfrm>
            <a:off x="8030414" y="4178285"/>
            <a:ext cx="4107696" cy="622757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Увеличена приемка газа на ОГПЗ</a:t>
            </a:r>
            <a:r>
              <a:rPr lang="en-US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 КПО для обеспечения внутреннего </a:t>
            </a:r>
            <a:r>
              <a:rPr lang="ru-RU" altLang="zh-CN" sz="10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рынка</a:t>
            </a:r>
            <a:r>
              <a:rPr lang="en-US" altLang="zh-CN" sz="10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(</a:t>
            </a:r>
            <a:r>
              <a:rPr lang="ru-RU" altLang="zh-CN" sz="1000" i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о итогам 2021 г. ОГПЗ</a:t>
            </a:r>
            <a:r>
              <a:rPr lang="en-US" altLang="zh-CN" sz="1000" i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000" i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граничил приемку газа на 1,2 млрд.м3, при этом финансовые потери составили порядка 200 млн. </a:t>
            </a:r>
            <a:r>
              <a:rPr lang="ru-RU" altLang="zh-CN" sz="1000" i="1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долл</a:t>
            </a:r>
            <a:r>
              <a:rPr lang="ru-RU" altLang="zh-CN" sz="1000" i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США </a:t>
            </a:r>
            <a:r>
              <a:rPr lang="en-US" altLang="zh-CN" sz="10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lang="ru-RU" altLang="zh-CN" sz="10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0" name="Freeform 5"/>
          <p:cNvSpPr>
            <a:spLocks noEditPoints="1"/>
          </p:cNvSpPr>
          <p:nvPr/>
        </p:nvSpPr>
        <p:spPr bwMode="auto">
          <a:xfrm>
            <a:off x="6333432" y="4255797"/>
            <a:ext cx="450459" cy="464327"/>
          </a:xfrm>
          <a:custGeom>
            <a:avLst/>
            <a:gdLst>
              <a:gd name="T0" fmla="*/ 45 w 218"/>
              <a:gd name="T1" fmla="*/ 106 h 272"/>
              <a:gd name="T2" fmla="*/ 45 w 218"/>
              <a:gd name="T3" fmla="*/ 163 h 272"/>
              <a:gd name="T4" fmla="*/ 173 w 218"/>
              <a:gd name="T5" fmla="*/ 163 h 272"/>
              <a:gd name="T6" fmla="*/ 173 w 218"/>
              <a:gd name="T7" fmla="*/ 106 h 272"/>
              <a:gd name="T8" fmla="*/ 173 w 218"/>
              <a:gd name="T9" fmla="*/ 163 h 272"/>
              <a:gd name="T10" fmla="*/ 160 w 218"/>
              <a:gd name="T11" fmla="*/ 173 h 272"/>
              <a:gd name="T12" fmla="*/ 128 w 218"/>
              <a:gd name="T13" fmla="*/ 223 h 272"/>
              <a:gd name="T14" fmla="*/ 110 w 218"/>
              <a:gd name="T15" fmla="*/ 238 h 272"/>
              <a:gd name="T16" fmla="*/ 92 w 218"/>
              <a:gd name="T17" fmla="*/ 228 h 272"/>
              <a:gd name="T18" fmla="*/ 90 w 218"/>
              <a:gd name="T19" fmla="*/ 205 h 272"/>
              <a:gd name="T20" fmla="*/ 32 w 218"/>
              <a:gd name="T21" fmla="*/ 173 h 272"/>
              <a:gd name="T22" fmla="*/ 0 w 218"/>
              <a:gd name="T23" fmla="*/ 246 h 272"/>
              <a:gd name="T24" fmla="*/ 8 w 218"/>
              <a:gd name="T25" fmla="*/ 254 h 272"/>
              <a:gd name="T26" fmla="*/ 16 w 218"/>
              <a:gd name="T27" fmla="*/ 272 h 272"/>
              <a:gd name="T28" fmla="*/ 74 w 218"/>
              <a:gd name="T29" fmla="*/ 235 h 272"/>
              <a:gd name="T30" fmla="*/ 102 w 218"/>
              <a:gd name="T31" fmla="*/ 254 h 272"/>
              <a:gd name="T32" fmla="*/ 128 w 218"/>
              <a:gd name="T33" fmla="*/ 246 h 272"/>
              <a:gd name="T34" fmla="*/ 144 w 218"/>
              <a:gd name="T35" fmla="*/ 272 h 272"/>
              <a:gd name="T36" fmla="*/ 202 w 218"/>
              <a:gd name="T37" fmla="*/ 246 h 272"/>
              <a:gd name="T38" fmla="*/ 210 w 218"/>
              <a:gd name="T39" fmla="*/ 254 h 272"/>
              <a:gd name="T40" fmla="*/ 218 w 218"/>
              <a:gd name="T41" fmla="*/ 205 h 272"/>
              <a:gd name="T42" fmla="*/ 173 w 218"/>
              <a:gd name="T43" fmla="*/ 45 h 272"/>
              <a:gd name="T44" fmla="*/ 94 w 218"/>
              <a:gd name="T45" fmla="*/ 89 h 272"/>
              <a:gd name="T46" fmla="*/ 72 w 218"/>
              <a:gd name="T47" fmla="*/ 83 h 272"/>
              <a:gd name="T48" fmla="*/ 106 w 218"/>
              <a:gd name="T49" fmla="*/ 0 h 272"/>
              <a:gd name="T50" fmla="*/ 88 w 218"/>
              <a:gd name="T51" fmla="*/ 45 h 272"/>
              <a:gd name="T52" fmla="*/ 69 w 218"/>
              <a:gd name="T53" fmla="*/ 45 h 272"/>
              <a:gd name="T54" fmla="*/ 88 w 218"/>
              <a:gd name="T55" fmla="*/ 45 h 272"/>
              <a:gd name="T56" fmla="*/ 107 w 218"/>
              <a:gd name="T57" fmla="*/ 35 h 272"/>
              <a:gd name="T58" fmla="*/ 107 w 218"/>
              <a:gd name="T59" fmla="*/ 54 h 272"/>
              <a:gd name="T60" fmla="*/ 146 w 218"/>
              <a:gd name="T61" fmla="*/ 45 h 272"/>
              <a:gd name="T62" fmla="*/ 126 w 218"/>
              <a:gd name="T63" fmla="*/ 45 h 272"/>
              <a:gd name="T64" fmla="*/ 146 w 218"/>
              <a:gd name="T65" fmla="*/ 45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" h="272">
                <a:moveTo>
                  <a:pt x="16" y="134"/>
                </a:moveTo>
                <a:cubicBezTo>
                  <a:pt x="16" y="118"/>
                  <a:pt x="29" y="106"/>
                  <a:pt x="45" y="106"/>
                </a:cubicBezTo>
                <a:cubicBezTo>
                  <a:pt x="61" y="106"/>
                  <a:pt x="74" y="118"/>
                  <a:pt x="74" y="134"/>
                </a:cubicBezTo>
                <a:cubicBezTo>
                  <a:pt x="74" y="150"/>
                  <a:pt x="61" y="163"/>
                  <a:pt x="45" y="163"/>
                </a:cubicBezTo>
                <a:cubicBezTo>
                  <a:pt x="29" y="163"/>
                  <a:pt x="16" y="150"/>
                  <a:pt x="16" y="134"/>
                </a:cubicBezTo>
                <a:close/>
                <a:moveTo>
                  <a:pt x="173" y="163"/>
                </a:moveTo>
                <a:cubicBezTo>
                  <a:pt x="189" y="163"/>
                  <a:pt x="202" y="150"/>
                  <a:pt x="202" y="134"/>
                </a:cubicBezTo>
                <a:cubicBezTo>
                  <a:pt x="202" y="118"/>
                  <a:pt x="189" y="106"/>
                  <a:pt x="173" y="106"/>
                </a:cubicBezTo>
                <a:cubicBezTo>
                  <a:pt x="157" y="106"/>
                  <a:pt x="144" y="118"/>
                  <a:pt x="144" y="134"/>
                </a:cubicBezTo>
                <a:cubicBezTo>
                  <a:pt x="144" y="150"/>
                  <a:pt x="157" y="163"/>
                  <a:pt x="173" y="163"/>
                </a:cubicBezTo>
                <a:close/>
                <a:moveTo>
                  <a:pt x="186" y="173"/>
                </a:moveTo>
                <a:cubicBezTo>
                  <a:pt x="160" y="173"/>
                  <a:pt x="160" y="173"/>
                  <a:pt x="160" y="173"/>
                </a:cubicBezTo>
                <a:cubicBezTo>
                  <a:pt x="142" y="173"/>
                  <a:pt x="128" y="187"/>
                  <a:pt x="128" y="205"/>
                </a:cubicBezTo>
                <a:cubicBezTo>
                  <a:pt x="128" y="223"/>
                  <a:pt x="128" y="223"/>
                  <a:pt x="128" y="223"/>
                </a:cubicBezTo>
                <a:cubicBezTo>
                  <a:pt x="128" y="225"/>
                  <a:pt x="127" y="227"/>
                  <a:pt x="125" y="228"/>
                </a:cubicBezTo>
                <a:cubicBezTo>
                  <a:pt x="110" y="238"/>
                  <a:pt x="110" y="238"/>
                  <a:pt x="110" y="238"/>
                </a:cubicBezTo>
                <a:cubicBezTo>
                  <a:pt x="109" y="239"/>
                  <a:pt x="108" y="239"/>
                  <a:pt x="106" y="238"/>
                </a:cubicBezTo>
                <a:cubicBezTo>
                  <a:pt x="92" y="228"/>
                  <a:pt x="92" y="228"/>
                  <a:pt x="92" y="228"/>
                </a:cubicBezTo>
                <a:cubicBezTo>
                  <a:pt x="91" y="227"/>
                  <a:pt x="90" y="225"/>
                  <a:pt x="90" y="223"/>
                </a:cubicBezTo>
                <a:cubicBezTo>
                  <a:pt x="90" y="205"/>
                  <a:pt x="90" y="205"/>
                  <a:pt x="90" y="205"/>
                </a:cubicBezTo>
                <a:cubicBezTo>
                  <a:pt x="90" y="187"/>
                  <a:pt x="75" y="173"/>
                  <a:pt x="58" y="173"/>
                </a:cubicBezTo>
                <a:cubicBezTo>
                  <a:pt x="32" y="173"/>
                  <a:pt x="32" y="173"/>
                  <a:pt x="32" y="173"/>
                </a:cubicBezTo>
                <a:cubicBezTo>
                  <a:pt x="14" y="173"/>
                  <a:pt x="0" y="187"/>
                  <a:pt x="0" y="205"/>
                </a:cubicBezTo>
                <a:cubicBezTo>
                  <a:pt x="0" y="246"/>
                  <a:pt x="0" y="246"/>
                  <a:pt x="0" y="246"/>
                </a:cubicBezTo>
                <a:cubicBezTo>
                  <a:pt x="0" y="251"/>
                  <a:pt x="4" y="254"/>
                  <a:pt x="8" y="254"/>
                </a:cubicBezTo>
                <a:cubicBezTo>
                  <a:pt x="8" y="254"/>
                  <a:pt x="8" y="254"/>
                  <a:pt x="8" y="254"/>
                </a:cubicBezTo>
                <a:cubicBezTo>
                  <a:pt x="12" y="254"/>
                  <a:pt x="16" y="251"/>
                  <a:pt x="16" y="246"/>
                </a:cubicBezTo>
                <a:cubicBezTo>
                  <a:pt x="16" y="272"/>
                  <a:pt x="16" y="272"/>
                  <a:pt x="16" y="272"/>
                </a:cubicBezTo>
                <a:cubicBezTo>
                  <a:pt x="74" y="272"/>
                  <a:pt x="74" y="272"/>
                  <a:pt x="74" y="272"/>
                </a:cubicBezTo>
                <a:cubicBezTo>
                  <a:pt x="74" y="235"/>
                  <a:pt x="74" y="235"/>
                  <a:pt x="74" y="235"/>
                </a:cubicBezTo>
                <a:cubicBezTo>
                  <a:pt x="90" y="246"/>
                  <a:pt x="90" y="246"/>
                  <a:pt x="90" y="246"/>
                </a:cubicBezTo>
                <a:cubicBezTo>
                  <a:pt x="102" y="254"/>
                  <a:pt x="102" y="254"/>
                  <a:pt x="102" y="254"/>
                </a:cubicBezTo>
                <a:cubicBezTo>
                  <a:pt x="106" y="257"/>
                  <a:pt x="112" y="257"/>
                  <a:pt x="116" y="254"/>
                </a:cubicBezTo>
                <a:cubicBezTo>
                  <a:pt x="128" y="246"/>
                  <a:pt x="128" y="246"/>
                  <a:pt x="128" y="246"/>
                </a:cubicBezTo>
                <a:cubicBezTo>
                  <a:pt x="144" y="235"/>
                  <a:pt x="144" y="235"/>
                  <a:pt x="144" y="235"/>
                </a:cubicBezTo>
                <a:cubicBezTo>
                  <a:pt x="144" y="272"/>
                  <a:pt x="144" y="272"/>
                  <a:pt x="144" y="272"/>
                </a:cubicBezTo>
                <a:cubicBezTo>
                  <a:pt x="202" y="272"/>
                  <a:pt x="202" y="272"/>
                  <a:pt x="202" y="272"/>
                </a:cubicBezTo>
                <a:cubicBezTo>
                  <a:pt x="202" y="246"/>
                  <a:pt x="202" y="246"/>
                  <a:pt x="202" y="246"/>
                </a:cubicBezTo>
                <a:cubicBezTo>
                  <a:pt x="202" y="251"/>
                  <a:pt x="205" y="254"/>
                  <a:pt x="210" y="254"/>
                </a:cubicBezTo>
                <a:cubicBezTo>
                  <a:pt x="210" y="254"/>
                  <a:pt x="210" y="254"/>
                  <a:pt x="210" y="254"/>
                </a:cubicBezTo>
                <a:cubicBezTo>
                  <a:pt x="214" y="254"/>
                  <a:pt x="218" y="251"/>
                  <a:pt x="218" y="246"/>
                </a:cubicBezTo>
                <a:cubicBezTo>
                  <a:pt x="218" y="205"/>
                  <a:pt x="218" y="205"/>
                  <a:pt x="218" y="205"/>
                </a:cubicBezTo>
                <a:cubicBezTo>
                  <a:pt x="218" y="187"/>
                  <a:pt x="203" y="173"/>
                  <a:pt x="186" y="173"/>
                </a:cubicBezTo>
                <a:close/>
                <a:moveTo>
                  <a:pt x="173" y="45"/>
                </a:moveTo>
                <a:cubicBezTo>
                  <a:pt x="173" y="70"/>
                  <a:pt x="143" y="90"/>
                  <a:pt x="106" y="90"/>
                </a:cubicBezTo>
                <a:cubicBezTo>
                  <a:pt x="102" y="90"/>
                  <a:pt x="98" y="89"/>
                  <a:pt x="94" y="89"/>
                </a:cubicBezTo>
                <a:cubicBezTo>
                  <a:pt x="84" y="99"/>
                  <a:pt x="66" y="101"/>
                  <a:pt x="66" y="101"/>
                </a:cubicBezTo>
                <a:cubicBezTo>
                  <a:pt x="69" y="95"/>
                  <a:pt x="71" y="89"/>
                  <a:pt x="72" y="83"/>
                </a:cubicBezTo>
                <a:cubicBezTo>
                  <a:pt x="52" y="76"/>
                  <a:pt x="38" y="61"/>
                  <a:pt x="38" y="45"/>
                </a:cubicBezTo>
                <a:cubicBezTo>
                  <a:pt x="38" y="20"/>
                  <a:pt x="68" y="0"/>
                  <a:pt x="106" y="0"/>
                </a:cubicBezTo>
                <a:cubicBezTo>
                  <a:pt x="143" y="0"/>
                  <a:pt x="173" y="20"/>
                  <a:pt x="173" y="45"/>
                </a:cubicBezTo>
                <a:close/>
                <a:moveTo>
                  <a:pt x="88" y="45"/>
                </a:moveTo>
                <a:cubicBezTo>
                  <a:pt x="88" y="39"/>
                  <a:pt x="84" y="35"/>
                  <a:pt x="78" y="35"/>
                </a:cubicBezTo>
                <a:cubicBezTo>
                  <a:pt x="73" y="35"/>
                  <a:pt x="69" y="39"/>
                  <a:pt x="69" y="45"/>
                </a:cubicBezTo>
                <a:cubicBezTo>
                  <a:pt x="69" y="50"/>
                  <a:pt x="73" y="54"/>
                  <a:pt x="78" y="54"/>
                </a:cubicBezTo>
                <a:cubicBezTo>
                  <a:pt x="84" y="54"/>
                  <a:pt x="88" y="50"/>
                  <a:pt x="88" y="45"/>
                </a:cubicBezTo>
                <a:close/>
                <a:moveTo>
                  <a:pt x="117" y="45"/>
                </a:moveTo>
                <a:cubicBezTo>
                  <a:pt x="117" y="39"/>
                  <a:pt x="113" y="35"/>
                  <a:pt x="107" y="35"/>
                </a:cubicBezTo>
                <a:cubicBezTo>
                  <a:pt x="102" y="35"/>
                  <a:pt x="98" y="39"/>
                  <a:pt x="98" y="45"/>
                </a:cubicBezTo>
                <a:cubicBezTo>
                  <a:pt x="98" y="50"/>
                  <a:pt x="102" y="54"/>
                  <a:pt x="107" y="54"/>
                </a:cubicBezTo>
                <a:cubicBezTo>
                  <a:pt x="113" y="54"/>
                  <a:pt x="117" y="50"/>
                  <a:pt x="117" y="45"/>
                </a:cubicBezTo>
                <a:close/>
                <a:moveTo>
                  <a:pt x="146" y="45"/>
                </a:moveTo>
                <a:cubicBezTo>
                  <a:pt x="146" y="39"/>
                  <a:pt x="141" y="35"/>
                  <a:pt x="136" y="35"/>
                </a:cubicBezTo>
                <a:cubicBezTo>
                  <a:pt x="131" y="35"/>
                  <a:pt x="126" y="39"/>
                  <a:pt x="126" y="45"/>
                </a:cubicBezTo>
                <a:cubicBezTo>
                  <a:pt x="126" y="50"/>
                  <a:pt x="131" y="54"/>
                  <a:pt x="136" y="54"/>
                </a:cubicBezTo>
                <a:cubicBezTo>
                  <a:pt x="141" y="54"/>
                  <a:pt x="146" y="50"/>
                  <a:pt x="146" y="4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18C2368F-6398-4A8F-8B18-34890BB522AC}"/>
              </a:ext>
            </a:extLst>
          </p:cNvPr>
          <p:cNvSpPr/>
          <p:nvPr/>
        </p:nvSpPr>
        <p:spPr>
          <a:xfrm>
            <a:off x="1883630" y="4168407"/>
            <a:ext cx="4062954" cy="488743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птимизированы </a:t>
            </a:r>
            <a:r>
              <a:rPr lang="ru-RU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расходы (ОАР – 24%,  </a:t>
            </a:r>
            <a:r>
              <a:rPr lang="ru-RU" sz="1100" b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адм</a:t>
            </a:r>
            <a:r>
              <a:rPr lang="ru-RU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КВЛ – 71%)</a:t>
            </a:r>
            <a:endParaRPr lang="ru-RU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32C52F3C-1CF8-4928-9470-640BF336F385}"/>
              </a:ext>
            </a:extLst>
          </p:cNvPr>
          <p:cNvSpPr/>
          <p:nvPr/>
        </p:nvSpPr>
        <p:spPr>
          <a:xfrm>
            <a:off x="436817" y="4186294"/>
            <a:ext cx="1572426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 9,4 </a:t>
            </a:r>
          </a:p>
          <a:p>
            <a:pPr algn="ctr"/>
            <a:r>
              <a:rPr lang="ru-RU" altLang="zh-CN" sz="1200" b="1" i="1" kern="0" dirty="0" err="1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рд.тг</a:t>
            </a:r>
            <a:endParaRPr lang="ru-RU" altLang="zh-CN" sz="1200" b="1" i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75" name="Picture 12" descr="calculator Icon - Free Icons">
            <a:extLst>
              <a:ext uri="{FF2B5EF4-FFF2-40B4-BE49-F238E27FC236}">
                <a16:creationId xmlns:a16="http://schemas.microsoft.com/office/drawing/2014/main" id="{9072AEE7-8482-4A04-BDAD-726A3D517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71" y="4299336"/>
            <a:ext cx="348623" cy="348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B7FF7D54-3112-4B08-878B-7FA9C13DEF96}"/>
              </a:ext>
            </a:extLst>
          </p:cNvPr>
          <p:cNvSpPr/>
          <p:nvPr/>
        </p:nvSpPr>
        <p:spPr>
          <a:xfrm>
            <a:off x="8034838" y="2282302"/>
            <a:ext cx="4062954" cy="651026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Увеличен тариф на услуги по транзиту российского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и среднеазиатского газа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 2 до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,42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долл. США за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000м3/100км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A4CCE7F6-BFBE-4AA2-8522-610368496C8F}"/>
              </a:ext>
            </a:extLst>
          </p:cNvPr>
          <p:cNvSpPr/>
          <p:nvPr/>
        </p:nvSpPr>
        <p:spPr>
          <a:xfrm>
            <a:off x="6654118" y="2467413"/>
            <a:ext cx="1449874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 9,3 </a:t>
            </a:r>
          </a:p>
          <a:p>
            <a:pPr algn="ctr"/>
            <a:r>
              <a:rPr lang="kk-KZ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рд. тг</a:t>
            </a:r>
            <a:endParaRPr lang="zh-CN" altLang="en-US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E3766281-387E-403C-A794-A3E4EE4EF70B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681" y="2605186"/>
            <a:ext cx="328723" cy="328723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AEBA8DA-CE1E-4E45-B269-43E93E80A6DC}"/>
              </a:ext>
            </a:extLst>
          </p:cNvPr>
          <p:cNvSpPr/>
          <p:nvPr/>
        </p:nvSpPr>
        <p:spPr>
          <a:xfrm>
            <a:off x="8025158" y="783076"/>
            <a:ext cx="4000124" cy="332273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Без происшествий</a:t>
            </a:r>
            <a:endParaRPr lang="ru-RU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8852D5B-C747-4625-A171-5B93F2B66DD1}"/>
              </a:ext>
            </a:extLst>
          </p:cNvPr>
          <p:cNvSpPr/>
          <p:nvPr/>
        </p:nvSpPr>
        <p:spPr>
          <a:xfrm>
            <a:off x="6909000" y="716795"/>
            <a:ext cx="1003800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0 </a:t>
            </a:r>
            <a:endParaRPr lang="kk-KZ" altLang="zh-CN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LTIFR</a:t>
            </a:r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zh-CN" altLang="en-US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8D395AAF-B556-4968-9785-7B231490AC0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577" y="778424"/>
            <a:ext cx="365761" cy="389615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69DD0F6-0B7D-45E5-9A58-DAA0DCDF50B6}"/>
              </a:ext>
            </a:extLst>
          </p:cNvPr>
          <p:cNvSpPr/>
          <p:nvPr/>
        </p:nvSpPr>
        <p:spPr>
          <a:xfrm>
            <a:off x="1891308" y="4966686"/>
            <a:ext cx="4077138" cy="332273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Идентифицированы посреднические схемы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0" name="Picture 2" descr="People Transparent Icon - Web Icons PNG">
            <a:extLst>
              <a:ext uri="{FF2B5EF4-FFF2-40B4-BE49-F238E27FC236}">
                <a16:creationId xmlns:a16="http://schemas.microsoft.com/office/drawing/2014/main" id="{52145E3F-7848-4685-B3D6-C4D65929D4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31" y="4934259"/>
            <a:ext cx="417006" cy="41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5F44CE3D-A66D-4ECA-933D-E2FA6C9006D0}"/>
              </a:ext>
            </a:extLst>
          </p:cNvPr>
          <p:cNvSpPr/>
          <p:nvPr/>
        </p:nvSpPr>
        <p:spPr>
          <a:xfrm>
            <a:off x="655264" y="4866256"/>
            <a:ext cx="1355764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ru-RU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3</a:t>
            </a:r>
            <a:r>
              <a:rPr lang="kk-KZ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рд.тг</a:t>
            </a:r>
            <a:endParaRPr lang="zh-CN" altLang="en-US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75D97669-BB49-4A04-82BE-DADC6D2D7061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19" y="5718855"/>
            <a:ext cx="355557" cy="373748"/>
          </a:xfrm>
          <a:prstGeom prst="rect">
            <a:avLst/>
          </a:prstGeom>
        </p:spPr>
      </p:pic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6CBAFCB-B82B-4E05-BE93-706D12F85E5F}"/>
              </a:ext>
            </a:extLst>
          </p:cNvPr>
          <p:cNvSpPr/>
          <p:nvPr/>
        </p:nvSpPr>
        <p:spPr>
          <a:xfrm>
            <a:off x="510232" y="5575087"/>
            <a:ext cx="1516762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zh-CN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1 </a:t>
            </a:r>
          </a:p>
          <a:p>
            <a:pPr algn="ctr"/>
            <a:r>
              <a:rPr lang="ru-RU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категорий потребителей</a:t>
            </a:r>
            <a:endParaRPr lang="zh-CN" altLang="en-US" sz="1200" b="1" i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D33FDEC-F876-4E4B-A80A-FCC253194725}"/>
              </a:ext>
            </a:extLst>
          </p:cNvPr>
          <p:cNvSpPr/>
          <p:nvPr/>
        </p:nvSpPr>
        <p:spPr>
          <a:xfrm>
            <a:off x="1905490" y="5596745"/>
            <a:ext cx="4062954" cy="633975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k-KZ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Р</a:t>
            </a:r>
            <a:r>
              <a:rPr lang="kk-KZ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азработан и внесен комплекс мер по социально </a:t>
            </a:r>
            <a:r>
              <a:rPr lang="kk-KZ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– </a:t>
            </a:r>
            <a:r>
              <a:rPr lang="kk-KZ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праведливой реформе ценообразования, без эффекта на социально-незащищенные слои населения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EA553C64-BFDD-4DA0-A5A9-13029467EBAC}"/>
              </a:ext>
            </a:extLst>
          </p:cNvPr>
          <p:cNvSpPr/>
          <p:nvPr/>
        </p:nvSpPr>
        <p:spPr>
          <a:xfrm>
            <a:off x="8042559" y="4900540"/>
            <a:ext cx="4062954" cy="414716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Решены вопросы с трудовыми</a:t>
            </a:r>
            <a:r>
              <a:rPr lang="en-US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коллективами в </a:t>
            </a:r>
            <a:r>
              <a:rPr lang="ru-RU" sz="1100" b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ангистауской</a:t>
            </a:r>
            <a:r>
              <a:rPr lang="ru-RU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и Актюбинской</a:t>
            </a:r>
            <a:r>
              <a:rPr lang="en-US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бластях </a:t>
            </a:r>
            <a:endParaRPr lang="ru-RU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389268E8-C429-4B3E-B5DA-90ED379805EA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912" y="4853856"/>
            <a:ext cx="388811" cy="310575"/>
          </a:xfrm>
          <a:prstGeom prst="rect">
            <a:avLst/>
          </a:prstGeom>
        </p:spPr>
      </p:pic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72577A88-3C05-4327-8CE9-BCB417B70D68}"/>
              </a:ext>
            </a:extLst>
          </p:cNvPr>
          <p:cNvSpPr/>
          <p:nvPr/>
        </p:nvSpPr>
        <p:spPr>
          <a:xfrm>
            <a:off x="6471195" y="4777550"/>
            <a:ext cx="186864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83%</a:t>
            </a:r>
            <a:r>
              <a:rPr lang="en-US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ru-RU" altLang="zh-CN" b="1" kern="0" dirty="0" smtClean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kk-KZ" altLang="zh-CN" sz="1200" b="1" i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индекс </a:t>
            </a:r>
            <a:r>
              <a:rPr lang="ru-RU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</a:t>
            </a:r>
            <a:r>
              <a:rPr lang="kk-KZ" altLang="zh-CN" sz="1200" b="1" i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оц. стабильности</a:t>
            </a:r>
            <a:endParaRPr lang="zh-CN" altLang="en-US" sz="1200" b="1" i="1" kern="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53" name="Picture 10" descr="Увеличивать – Бесплатные иконки: бизнес">
            <a:extLst>
              <a:ext uri="{FF2B5EF4-FFF2-40B4-BE49-F238E27FC236}">
                <a16:creationId xmlns:a16="http://schemas.microsoft.com/office/drawing/2014/main" id="{415EACF9-3FB3-4298-AA57-AE5A088001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700" y="5881194"/>
            <a:ext cx="361830" cy="36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A4CB56D7-7E15-4E1C-8FD4-A955042355AF}"/>
              </a:ext>
            </a:extLst>
          </p:cNvPr>
          <p:cNvSpPr/>
          <p:nvPr/>
        </p:nvSpPr>
        <p:spPr>
          <a:xfrm>
            <a:off x="8042559" y="5402220"/>
            <a:ext cx="4062954" cy="414716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Увеличена заработная плата производственного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ерсонала группы компаний </a:t>
            </a:r>
            <a:r>
              <a:rPr lang="en-US" altLang="zh-CN" sz="1100" b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QazaqGaz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AB84801B-D4F1-4CEB-9BBD-19CABD8112D5}"/>
              </a:ext>
            </a:extLst>
          </p:cNvPr>
          <p:cNvSpPr/>
          <p:nvPr/>
        </p:nvSpPr>
        <p:spPr>
          <a:xfrm>
            <a:off x="6971194" y="5487954"/>
            <a:ext cx="78258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&gt; 30</a:t>
            </a:r>
            <a:r>
              <a:rPr lang="kk-KZ" altLang="zh-CN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%</a:t>
            </a:r>
            <a:endParaRPr lang="zh-CN" altLang="en-US" b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96655408-9FA4-4B03-976E-4E1346BB0651}"/>
              </a:ext>
            </a:extLst>
          </p:cNvPr>
          <p:cNvSpPr/>
          <p:nvPr/>
        </p:nvSpPr>
        <p:spPr>
          <a:xfrm>
            <a:off x="8040274" y="5879474"/>
            <a:ext cx="4062954" cy="506991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4 мая утверждены оптовые цены с повышением в среднем по РК на 7,6% на период с 01.07.2022 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г. по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0.06.2023 г.</a:t>
            </a:r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BA3B8A49-B99D-44EF-8862-90AE2C27153D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593" y="5387571"/>
            <a:ext cx="373299" cy="393267"/>
          </a:xfrm>
          <a:prstGeom prst="rect">
            <a:avLst/>
          </a:prstGeom>
        </p:spPr>
      </p:pic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C4AEBD7B-37B2-41AA-9B7F-BDB9A07E8E57}"/>
              </a:ext>
            </a:extLst>
          </p:cNvPr>
          <p:cNvSpPr/>
          <p:nvPr/>
        </p:nvSpPr>
        <p:spPr>
          <a:xfrm>
            <a:off x="6689806" y="5899759"/>
            <a:ext cx="937262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altLang="zh-CN" sz="1100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</a:t>
            </a:r>
            <a:r>
              <a:rPr lang="ru-RU" altLang="zh-CN" sz="11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нижение </a:t>
            </a:r>
          </a:p>
          <a:p>
            <a:r>
              <a:rPr lang="ru-RU" altLang="zh-CN" sz="11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убытков на 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7329189" y="6146212"/>
            <a:ext cx="7216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k-KZ" altLang="zh-CN" sz="1100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млрд.тг</a:t>
            </a:r>
            <a:endParaRPr lang="zh-CN" altLang="en-US" sz="1100" b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881922D5-EB0A-4556-882B-AD0C6D9C11E6}"/>
              </a:ext>
            </a:extLst>
          </p:cNvPr>
          <p:cNvSpPr/>
          <p:nvPr/>
        </p:nvSpPr>
        <p:spPr>
          <a:xfrm>
            <a:off x="7458896" y="5859716"/>
            <a:ext cx="35412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8</a:t>
            </a:r>
            <a:r>
              <a:rPr lang="ru-RU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ru-RU" b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3045DCD5-B0F0-4285-A7CC-B4070CB14196}"/>
              </a:ext>
            </a:extLst>
          </p:cNvPr>
          <p:cNvSpPr/>
          <p:nvPr/>
        </p:nvSpPr>
        <p:spPr>
          <a:xfrm>
            <a:off x="7969904" y="1237882"/>
            <a:ext cx="4110632" cy="414716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altLang="zh-CN" sz="1100" b="1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д</a:t>
            </a:r>
            <a:r>
              <a:rPr lang="ru-RU" altLang="zh-CN" sz="1100" b="1" kern="0" dirty="0" err="1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ебюрократизирован</a:t>
            </a:r>
            <a:r>
              <a:rPr lang="ru-RU" altLang="zh-CN" sz="1100" b="1" kern="0" dirty="0" smtClean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роцесс подключения населения к газу</a:t>
            </a:r>
            <a:endParaRPr lang="zh-CN" altLang="en-US" sz="1100" b="1" kern="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3" name="Freeform 73"/>
          <p:cNvSpPr>
            <a:spLocks noEditPoints="1"/>
          </p:cNvSpPr>
          <p:nvPr/>
        </p:nvSpPr>
        <p:spPr bwMode="auto">
          <a:xfrm>
            <a:off x="6314798" y="1299596"/>
            <a:ext cx="346976" cy="297789"/>
          </a:xfrm>
          <a:custGeom>
            <a:avLst/>
            <a:gdLst>
              <a:gd name="T0" fmla="*/ 155 w 205"/>
              <a:gd name="T1" fmla="*/ 79 h 212"/>
              <a:gd name="T2" fmla="*/ 171 w 205"/>
              <a:gd name="T3" fmla="*/ 7 h 212"/>
              <a:gd name="T4" fmla="*/ 118 w 205"/>
              <a:gd name="T5" fmla="*/ 60 h 212"/>
              <a:gd name="T6" fmla="*/ 67 w 205"/>
              <a:gd name="T7" fmla="*/ 104 h 212"/>
              <a:gd name="T8" fmla="*/ 61 w 205"/>
              <a:gd name="T9" fmla="*/ 145 h 212"/>
              <a:gd name="T10" fmla="*/ 67 w 205"/>
              <a:gd name="T11" fmla="*/ 182 h 212"/>
              <a:gd name="T12" fmla="*/ 166 w 205"/>
              <a:gd name="T13" fmla="*/ 212 h 212"/>
              <a:gd name="T14" fmla="*/ 205 w 205"/>
              <a:gd name="T15" fmla="*/ 98 h 212"/>
              <a:gd name="T16" fmla="*/ 155 w 205"/>
              <a:gd name="T17" fmla="*/ 79 h 212"/>
              <a:gd name="T18" fmla="*/ 10 w 205"/>
              <a:gd name="T19" fmla="*/ 88 h 212"/>
              <a:gd name="T20" fmla="*/ 58 w 205"/>
              <a:gd name="T21" fmla="*/ 88 h 212"/>
              <a:gd name="T22" fmla="*/ 48 w 205"/>
              <a:gd name="T23" fmla="*/ 145 h 212"/>
              <a:gd name="T24" fmla="*/ 58 w 205"/>
              <a:gd name="T25" fmla="*/ 200 h 212"/>
              <a:gd name="T26" fmla="*/ 10 w 205"/>
              <a:gd name="T27" fmla="*/ 200 h 212"/>
              <a:gd name="T28" fmla="*/ 0 w 205"/>
              <a:gd name="T29" fmla="*/ 148 h 212"/>
              <a:gd name="T30" fmla="*/ 10 w 205"/>
              <a:gd name="T31" fmla="*/ 88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5" h="212">
                <a:moveTo>
                  <a:pt x="155" y="79"/>
                </a:moveTo>
                <a:cubicBezTo>
                  <a:pt x="153" y="75"/>
                  <a:pt x="195" y="37"/>
                  <a:pt x="171" y="7"/>
                </a:cubicBezTo>
                <a:cubicBezTo>
                  <a:pt x="165" y="0"/>
                  <a:pt x="146" y="41"/>
                  <a:pt x="118" y="60"/>
                </a:cubicBezTo>
                <a:cubicBezTo>
                  <a:pt x="103" y="70"/>
                  <a:pt x="70" y="91"/>
                  <a:pt x="67" y="104"/>
                </a:cubicBezTo>
                <a:cubicBezTo>
                  <a:pt x="67" y="104"/>
                  <a:pt x="61" y="126"/>
                  <a:pt x="61" y="145"/>
                </a:cubicBezTo>
                <a:cubicBezTo>
                  <a:pt x="61" y="164"/>
                  <a:pt x="67" y="182"/>
                  <a:pt x="67" y="182"/>
                </a:cubicBezTo>
                <a:cubicBezTo>
                  <a:pt x="74" y="196"/>
                  <a:pt x="124" y="212"/>
                  <a:pt x="166" y="212"/>
                </a:cubicBezTo>
                <a:cubicBezTo>
                  <a:pt x="182" y="212"/>
                  <a:pt x="205" y="114"/>
                  <a:pt x="205" y="98"/>
                </a:cubicBezTo>
                <a:cubicBezTo>
                  <a:pt x="205" y="83"/>
                  <a:pt x="156" y="83"/>
                  <a:pt x="155" y="79"/>
                </a:cubicBezTo>
                <a:close/>
                <a:moveTo>
                  <a:pt x="10" y="88"/>
                </a:moveTo>
                <a:cubicBezTo>
                  <a:pt x="58" y="88"/>
                  <a:pt x="58" y="88"/>
                  <a:pt x="58" y="88"/>
                </a:cubicBezTo>
                <a:cubicBezTo>
                  <a:pt x="58" y="88"/>
                  <a:pt x="48" y="113"/>
                  <a:pt x="48" y="145"/>
                </a:cubicBezTo>
                <a:cubicBezTo>
                  <a:pt x="48" y="184"/>
                  <a:pt x="58" y="200"/>
                  <a:pt x="58" y="200"/>
                </a:cubicBezTo>
                <a:cubicBezTo>
                  <a:pt x="10" y="200"/>
                  <a:pt x="10" y="200"/>
                  <a:pt x="10" y="200"/>
                </a:cubicBezTo>
                <a:cubicBezTo>
                  <a:pt x="10" y="200"/>
                  <a:pt x="0" y="174"/>
                  <a:pt x="0" y="148"/>
                </a:cubicBezTo>
                <a:cubicBezTo>
                  <a:pt x="0" y="107"/>
                  <a:pt x="10" y="88"/>
                  <a:pt x="10" y="8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3045DCD5-B0F0-4285-A7CC-B4070CB14196}"/>
              </a:ext>
            </a:extLst>
          </p:cNvPr>
          <p:cNvSpPr/>
          <p:nvPr/>
        </p:nvSpPr>
        <p:spPr>
          <a:xfrm>
            <a:off x="7963878" y="1717490"/>
            <a:ext cx="4110632" cy="471292"/>
          </a:xfrm>
          <a:prstGeom prst="rect">
            <a:avLst/>
          </a:prstGeom>
          <a:gradFill>
            <a:gsLst>
              <a:gs pos="19000">
                <a:schemeClr val="accent1">
                  <a:lumMod val="5000"/>
                  <a:lumOff val="95000"/>
                </a:schemeClr>
              </a:gs>
              <a:gs pos="44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b="1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Подписаны меморандумы о взаимопонимании с местными и зарубежными компаниями </a:t>
            </a:r>
            <a:r>
              <a:rPr lang="ru-RU" sz="1100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lang="ru-RU" sz="1100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KazakhInvest</a:t>
            </a:r>
            <a:r>
              <a:rPr lang="ru-RU" sz="1100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sz="1100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ondor</a:t>
            </a:r>
            <a:r>
              <a:rPr lang="ru-RU" sz="1100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sz="1100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Petroleum</a:t>
            </a:r>
            <a:r>
              <a:rPr lang="ru-RU" sz="1100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sz="1100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Yildirim</a:t>
            </a:r>
            <a:r>
              <a:rPr lang="ru-RU" sz="1100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sz="1100" kern="0" dirty="0" err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Group</a:t>
            </a:r>
            <a:r>
              <a:rPr lang="ru-RU" sz="1100" kern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и т.д.)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6820921" y="1714919"/>
            <a:ext cx="9909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Надежный</a:t>
            </a:r>
          </a:p>
          <a:p>
            <a:pPr algn="ctr"/>
            <a:r>
              <a:rPr lang="ru-RU" sz="1200" b="1" kern="0" dirty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партнер</a:t>
            </a: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E2F1020F-F89E-4217-B04E-D8781FD52A1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035" y="1886868"/>
            <a:ext cx="396648" cy="271710"/>
          </a:xfrm>
          <a:prstGeom prst="rect">
            <a:avLst/>
          </a:prstGeom>
        </p:spPr>
      </p:pic>
      <p:sp>
        <p:nvSpPr>
          <p:cNvPr id="90" name="Прямоугольник 89"/>
          <p:cNvSpPr/>
          <p:nvPr/>
        </p:nvSpPr>
        <p:spPr>
          <a:xfrm>
            <a:off x="21260" y="6241169"/>
            <a:ext cx="12091551" cy="600164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 smtClean="0">
                <a:solidFill>
                  <a:srgbClr val="C00000"/>
                </a:solidFill>
                <a:latin typeface="Arial"/>
                <a:ea typeface="Arial"/>
                <a:cs typeface="Arial"/>
              </a:rPr>
              <a:t>Необходимо:</a:t>
            </a:r>
          </a:p>
          <a:p>
            <a:pPr>
              <a:defRPr/>
            </a:pPr>
            <a:r>
              <a:rPr lang="ru-RU" sz="1100" b="1" dirty="0" smtClean="0">
                <a:solidFill>
                  <a:srgbClr val="C00000"/>
                </a:solidFill>
                <a:latin typeface="Arial"/>
                <a:ea typeface="Arial"/>
                <a:cs typeface="Arial"/>
              </a:rPr>
              <a:t>1. Разработать «Доктрину </a:t>
            </a:r>
            <a:r>
              <a:rPr lang="ru-RU" sz="1100" b="1" dirty="0">
                <a:solidFill>
                  <a:srgbClr val="C00000"/>
                </a:solidFill>
                <a:latin typeface="Arial"/>
                <a:ea typeface="Arial"/>
                <a:cs typeface="Arial"/>
              </a:rPr>
              <a:t>энергетической безопасности» </a:t>
            </a:r>
            <a:r>
              <a:rPr lang="ru-RU" sz="1100" dirty="0">
                <a:solidFill>
                  <a:srgbClr val="C00000"/>
                </a:solidFill>
                <a:latin typeface="Arial"/>
                <a:ea typeface="Arial"/>
                <a:cs typeface="Arial"/>
              </a:rPr>
              <a:t>с учетом рационального использования угля и </a:t>
            </a:r>
            <a:r>
              <a:rPr lang="ru-RU" sz="1100" dirty="0" smtClean="0">
                <a:solidFill>
                  <a:srgbClr val="C00000"/>
                </a:solidFill>
                <a:latin typeface="Arial"/>
                <a:ea typeface="Arial"/>
                <a:cs typeface="Arial"/>
              </a:rPr>
              <a:t>газа.</a:t>
            </a:r>
          </a:p>
          <a:p>
            <a:pPr>
              <a:defRPr/>
            </a:pPr>
            <a:r>
              <a:rPr lang="ru-RU" sz="1100" b="1" dirty="0" smtClean="0">
                <a:solidFill>
                  <a:srgbClr val="C00000"/>
                </a:solidFill>
                <a:latin typeface="Arial"/>
                <a:ea typeface="Arial"/>
                <a:cs typeface="Arial"/>
              </a:rPr>
              <a:t>2. Принять </a:t>
            </a:r>
            <a:r>
              <a:rPr lang="ru-RU" sz="1100" b="1" dirty="0">
                <a:solidFill>
                  <a:srgbClr val="C00000"/>
                </a:solidFill>
                <a:latin typeface="Arial"/>
                <a:ea typeface="Arial"/>
                <a:cs typeface="Arial"/>
              </a:rPr>
              <a:t>решение о формировании «Стратегических резервов нефти и газа» </a:t>
            </a:r>
            <a:r>
              <a:rPr lang="en-US" sz="1100" dirty="0">
                <a:solidFill>
                  <a:srgbClr val="C00000"/>
                </a:solidFill>
                <a:latin typeface="Arial"/>
                <a:ea typeface="Arial"/>
                <a:cs typeface="Arial"/>
              </a:rPr>
              <a:t>(Strategic Petroleum Reserves</a:t>
            </a:r>
            <a:r>
              <a:rPr lang="en-US" sz="1100" dirty="0" smtClean="0">
                <a:solidFill>
                  <a:srgbClr val="C00000"/>
                </a:solidFill>
                <a:latin typeface="Arial"/>
                <a:ea typeface="Arial"/>
                <a:cs typeface="Arial"/>
              </a:rPr>
              <a:t>)</a:t>
            </a:r>
            <a:endParaRPr lang="ru-RU" sz="1100" dirty="0">
              <a:solidFill>
                <a:srgbClr val="C00000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646404" y="1202313"/>
            <a:ext cx="11336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12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Сокращение</a:t>
            </a:r>
          </a:p>
          <a:p>
            <a:r>
              <a:rPr lang="ru-RU" altLang="zh-CN" sz="12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документов</a:t>
            </a:r>
            <a:endParaRPr lang="ru-RU" sz="1200" b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881922D5-EB0A-4556-882B-AD0C6D9C11E6}"/>
              </a:ext>
            </a:extLst>
          </p:cNvPr>
          <p:cNvSpPr/>
          <p:nvPr/>
        </p:nvSpPr>
        <p:spPr>
          <a:xfrm>
            <a:off x="7703242" y="1315515"/>
            <a:ext cx="424679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Х</a:t>
            </a:r>
            <a:r>
              <a:rPr lang="ru-RU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lang="ru-RU" sz="1200" b="1" kern="0" dirty="0" smtClean="0">
                <a:solidFill>
                  <a:srgbClr val="2E6CA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ru-RU" sz="1200" b="1" kern="0" dirty="0">
              <a:solidFill>
                <a:srgbClr val="2E6CA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6"/>
            <a:ext cx="12191999" cy="5674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события за последние 3 месяца: операционные результаты и системные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106736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Номер слайда 1"/>
          <p:cNvSpPr txBox="1">
            <a:spLocks/>
          </p:cNvSpPr>
          <p:nvPr/>
        </p:nvSpPr>
        <p:spPr>
          <a:xfrm>
            <a:off x="11944279" y="6600342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5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01" name="Рисунок 300">
            <a:extLst>
              <a:ext uri="{FF2B5EF4-FFF2-40B4-BE49-F238E27FC236}">
                <a16:creationId xmlns:a16="http://schemas.microsoft.com/office/drawing/2014/main" id="{73F0F467-9F1C-4768-940A-084DBE7F2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rcRect l="2912" t="37874" r="28466" b="7739"/>
          <a:stretch/>
        </p:blipFill>
        <p:spPr>
          <a:xfrm>
            <a:off x="798842" y="938212"/>
            <a:ext cx="10085970" cy="5662129"/>
          </a:xfrm>
          <a:prstGeom prst="rect">
            <a:avLst/>
          </a:prstGeom>
          <a:ln>
            <a:noFill/>
          </a:ln>
        </p:spPr>
      </p:pic>
      <p:sp>
        <p:nvSpPr>
          <p:cNvPr id="302" name="Полилиния 301"/>
          <p:cNvSpPr/>
          <p:nvPr/>
        </p:nvSpPr>
        <p:spPr>
          <a:xfrm rot="21083476">
            <a:off x="258842" y="976781"/>
            <a:ext cx="4306705" cy="3292473"/>
          </a:xfrm>
          <a:custGeom>
            <a:avLst/>
            <a:gdLst>
              <a:gd name="connsiteX0" fmla="*/ 546100 w 3270250"/>
              <a:gd name="connsiteY0" fmla="*/ 311150 h 2651125"/>
              <a:gd name="connsiteX1" fmla="*/ 581025 w 3270250"/>
              <a:gd name="connsiteY1" fmla="*/ 342900 h 2651125"/>
              <a:gd name="connsiteX2" fmla="*/ 625475 w 3270250"/>
              <a:gd name="connsiteY2" fmla="*/ 428625 h 2651125"/>
              <a:gd name="connsiteX3" fmla="*/ 641350 w 3270250"/>
              <a:gd name="connsiteY3" fmla="*/ 514350 h 2651125"/>
              <a:gd name="connsiteX4" fmla="*/ 663575 w 3270250"/>
              <a:gd name="connsiteY4" fmla="*/ 565150 h 2651125"/>
              <a:gd name="connsiteX5" fmla="*/ 663575 w 3270250"/>
              <a:gd name="connsiteY5" fmla="*/ 596900 h 2651125"/>
              <a:gd name="connsiteX6" fmla="*/ 685800 w 3270250"/>
              <a:gd name="connsiteY6" fmla="*/ 631825 h 2651125"/>
              <a:gd name="connsiteX7" fmla="*/ 749300 w 3270250"/>
              <a:gd name="connsiteY7" fmla="*/ 638175 h 2651125"/>
              <a:gd name="connsiteX8" fmla="*/ 822325 w 3270250"/>
              <a:gd name="connsiteY8" fmla="*/ 638175 h 2651125"/>
              <a:gd name="connsiteX9" fmla="*/ 841375 w 3270250"/>
              <a:gd name="connsiteY9" fmla="*/ 628650 h 2651125"/>
              <a:gd name="connsiteX10" fmla="*/ 850900 w 3270250"/>
              <a:gd name="connsiteY10" fmla="*/ 625475 h 2651125"/>
              <a:gd name="connsiteX11" fmla="*/ 860425 w 3270250"/>
              <a:gd name="connsiteY11" fmla="*/ 606425 h 2651125"/>
              <a:gd name="connsiteX12" fmla="*/ 863600 w 3270250"/>
              <a:gd name="connsiteY12" fmla="*/ 596900 h 2651125"/>
              <a:gd name="connsiteX13" fmla="*/ 866775 w 3270250"/>
              <a:gd name="connsiteY13" fmla="*/ 565150 h 2651125"/>
              <a:gd name="connsiteX14" fmla="*/ 860425 w 3270250"/>
              <a:gd name="connsiteY14" fmla="*/ 498475 h 2651125"/>
              <a:gd name="connsiteX15" fmla="*/ 866775 w 3270250"/>
              <a:gd name="connsiteY15" fmla="*/ 371475 h 2651125"/>
              <a:gd name="connsiteX16" fmla="*/ 873125 w 3270250"/>
              <a:gd name="connsiteY16" fmla="*/ 323850 h 2651125"/>
              <a:gd name="connsiteX17" fmla="*/ 885825 w 3270250"/>
              <a:gd name="connsiteY17" fmla="*/ 327025 h 2651125"/>
              <a:gd name="connsiteX18" fmla="*/ 908050 w 3270250"/>
              <a:gd name="connsiteY18" fmla="*/ 339725 h 2651125"/>
              <a:gd name="connsiteX19" fmla="*/ 952500 w 3270250"/>
              <a:gd name="connsiteY19" fmla="*/ 333375 h 2651125"/>
              <a:gd name="connsiteX20" fmla="*/ 965200 w 3270250"/>
              <a:gd name="connsiteY20" fmla="*/ 323850 h 2651125"/>
              <a:gd name="connsiteX21" fmla="*/ 984250 w 3270250"/>
              <a:gd name="connsiteY21" fmla="*/ 311150 h 2651125"/>
              <a:gd name="connsiteX22" fmla="*/ 993775 w 3270250"/>
              <a:gd name="connsiteY22" fmla="*/ 304800 h 2651125"/>
              <a:gd name="connsiteX23" fmla="*/ 1019175 w 3270250"/>
              <a:gd name="connsiteY23" fmla="*/ 298450 h 2651125"/>
              <a:gd name="connsiteX24" fmla="*/ 1031875 w 3270250"/>
              <a:gd name="connsiteY24" fmla="*/ 295275 h 2651125"/>
              <a:gd name="connsiteX25" fmla="*/ 1085850 w 3270250"/>
              <a:gd name="connsiteY25" fmla="*/ 292100 h 2651125"/>
              <a:gd name="connsiteX26" fmla="*/ 1101725 w 3270250"/>
              <a:gd name="connsiteY26" fmla="*/ 288925 h 2651125"/>
              <a:gd name="connsiteX27" fmla="*/ 1104900 w 3270250"/>
              <a:gd name="connsiteY27" fmla="*/ 238125 h 2651125"/>
              <a:gd name="connsiteX28" fmla="*/ 1108075 w 3270250"/>
              <a:gd name="connsiteY28" fmla="*/ 200025 h 2651125"/>
              <a:gd name="connsiteX29" fmla="*/ 1117600 w 3270250"/>
              <a:gd name="connsiteY29" fmla="*/ 190500 h 2651125"/>
              <a:gd name="connsiteX30" fmla="*/ 1139825 w 3270250"/>
              <a:gd name="connsiteY30" fmla="*/ 180975 h 2651125"/>
              <a:gd name="connsiteX31" fmla="*/ 1162050 w 3270250"/>
              <a:gd name="connsiteY31" fmla="*/ 187325 h 2651125"/>
              <a:gd name="connsiteX32" fmla="*/ 1168400 w 3270250"/>
              <a:gd name="connsiteY32" fmla="*/ 196850 h 2651125"/>
              <a:gd name="connsiteX33" fmla="*/ 1187450 w 3270250"/>
              <a:gd name="connsiteY33" fmla="*/ 206375 h 2651125"/>
              <a:gd name="connsiteX34" fmla="*/ 1235075 w 3270250"/>
              <a:gd name="connsiteY34" fmla="*/ 196850 h 2651125"/>
              <a:gd name="connsiteX35" fmla="*/ 1244600 w 3270250"/>
              <a:gd name="connsiteY35" fmla="*/ 193675 h 2651125"/>
              <a:gd name="connsiteX36" fmla="*/ 1279525 w 3270250"/>
              <a:gd name="connsiteY36" fmla="*/ 174625 h 2651125"/>
              <a:gd name="connsiteX37" fmla="*/ 1298575 w 3270250"/>
              <a:gd name="connsiteY37" fmla="*/ 168275 h 2651125"/>
              <a:gd name="connsiteX38" fmla="*/ 1308100 w 3270250"/>
              <a:gd name="connsiteY38" fmla="*/ 161925 h 2651125"/>
              <a:gd name="connsiteX39" fmla="*/ 1346200 w 3270250"/>
              <a:gd name="connsiteY39" fmla="*/ 155575 h 2651125"/>
              <a:gd name="connsiteX40" fmla="*/ 1355725 w 3270250"/>
              <a:gd name="connsiteY40" fmla="*/ 152400 h 2651125"/>
              <a:gd name="connsiteX41" fmla="*/ 1368425 w 3270250"/>
              <a:gd name="connsiteY41" fmla="*/ 149225 h 2651125"/>
              <a:gd name="connsiteX42" fmla="*/ 1377950 w 3270250"/>
              <a:gd name="connsiteY42" fmla="*/ 142875 h 2651125"/>
              <a:gd name="connsiteX43" fmla="*/ 1390650 w 3270250"/>
              <a:gd name="connsiteY43" fmla="*/ 139700 h 2651125"/>
              <a:gd name="connsiteX44" fmla="*/ 1403350 w 3270250"/>
              <a:gd name="connsiteY44" fmla="*/ 133350 h 2651125"/>
              <a:gd name="connsiteX45" fmla="*/ 1412875 w 3270250"/>
              <a:gd name="connsiteY45" fmla="*/ 130175 h 2651125"/>
              <a:gd name="connsiteX46" fmla="*/ 1419225 w 3270250"/>
              <a:gd name="connsiteY46" fmla="*/ 120650 h 2651125"/>
              <a:gd name="connsiteX47" fmla="*/ 1438275 w 3270250"/>
              <a:gd name="connsiteY47" fmla="*/ 101600 h 2651125"/>
              <a:gd name="connsiteX48" fmla="*/ 1444625 w 3270250"/>
              <a:gd name="connsiteY48" fmla="*/ 88900 h 2651125"/>
              <a:gd name="connsiteX49" fmla="*/ 1450975 w 3270250"/>
              <a:gd name="connsiteY49" fmla="*/ 79375 h 2651125"/>
              <a:gd name="connsiteX50" fmla="*/ 1454150 w 3270250"/>
              <a:gd name="connsiteY50" fmla="*/ 69850 h 2651125"/>
              <a:gd name="connsiteX51" fmla="*/ 1466850 w 3270250"/>
              <a:gd name="connsiteY51" fmla="*/ 50800 h 2651125"/>
              <a:gd name="connsiteX52" fmla="*/ 1473200 w 3270250"/>
              <a:gd name="connsiteY52" fmla="*/ 41275 h 2651125"/>
              <a:gd name="connsiteX53" fmla="*/ 1482725 w 3270250"/>
              <a:gd name="connsiteY53" fmla="*/ 38100 h 2651125"/>
              <a:gd name="connsiteX54" fmla="*/ 1489075 w 3270250"/>
              <a:gd name="connsiteY54" fmla="*/ 47625 h 2651125"/>
              <a:gd name="connsiteX55" fmla="*/ 1492250 w 3270250"/>
              <a:gd name="connsiteY55" fmla="*/ 57150 h 2651125"/>
              <a:gd name="connsiteX56" fmla="*/ 1501775 w 3270250"/>
              <a:gd name="connsiteY56" fmla="*/ 60325 h 2651125"/>
              <a:gd name="connsiteX57" fmla="*/ 1520825 w 3270250"/>
              <a:gd name="connsiteY57" fmla="*/ 57150 h 2651125"/>
              <a:gd name="connsiteX58" fmla="*/ 1530350 w 3270250"/>
              <a:gd name="connsiteY58" fmla="*/ 38100 h 2651125"/>
              <a:gd name="connsiteX59" fmla="*/ 1539875 w 3270250"/>
              <a:gd name="connsiteY59" fmla="*/ 12700 h 2651125"/>
              <a:gd name="connsiteX60" fmla="*/ 1546225 w 3270250"/>
              <a:gd name="connsiteY60" fmla="*/ 3175 h 2651125"/>
              <a:gd name="connsiteX61" fmla="*/ 1555750 w 3270250"/>
              <a:gd name="connsiteY61" fmla="*/ 0 h 2651125"/>
              <a:gd name="connsiteX62" fmla="*/ 1574800 w 3270250"/>
              <a:gd name="connsiteY62" fmla="*/ 3175 h 2651125"/>
              <a:gd name="connsiteX63" fmla="*/ 1581150 w 3270250"/>
              <a:gd name="connsiteY63" fmla="*/ 12700 h 2651125"/>
              <a:gd name="connsiteX64" fmla="*/ 1590675 w 3270250"/>
              <a:gd name="connsiteY64" fmla="*/ 31750 h 2651125"/>
              <a:gd name="connsiteX65" fmla="*/ 1612900 w 3270250"/>
              <a:gd name="connsiteY65" fmla="*/ 50800 h 2651125"/>
              <a:gd name="connsiteX66" fmla="*/ 1638300 w 3270250"/>
              <a:gd name="connsiteY66" fmla="*/ 57150 h 2651125"/>
              <a:gd name="connsiteX67" fmla="*/ 1647825 w 3270250"/>
              <a:gd name="connsiteY67" fmla="*/ 63500 h 2651125"/>
              <a:gd name="connsiteX68" fmla="*/ 1657350 w 3270250"/>
              <a:gd name="connsiteY68" fmla="*/ 66675 h 2651125"/>
              <a:gd name="connsiteX69" fmla="*/ 1666875 w 3270250"/>
              <a:gd name="connsiteY69" fmla="*/ 76200 h 2651125"/>
              <a:gd name="connsiteX70" fmla="*/ 1670050 w 3270250"/>
              <a:gd name="connsiteY70" fmla="*/ 85725 h 2651125"/>
              <a:gd name="connsiteX71" fmla="*/ 1654175 w 3270250"/>
              <a:gd name="connsiteY71" fmla="*/ 107950 h 2651125"/>
              <a:gd name="connsiteX72" fmla="*/ 1644650 w 3270250"/>
              <a:gd name="connsiteY72" fmla="*/ 117475 h 2651125"/>
              <a:gd name="connsiteX73" fmla="*/ 1638300 w 3270250"/>
              <a:gd name="connsiteY73" fmla="*/ 136525 h 2651125"/>
              <a:gd name="connsiteX74" fmla="*/ 1641475 w 3270250"/>
              <a:gd name="connsiteY74" fmla="*/ 146050 h 2651125"/>
              <a:gd name="connsiteX75" fmla="*/ 1704975 w 3270250"/>
              <a:gd name="connsiteY75" fmla="*/ 155575 h 2651125"/>
              <a:gd name="connsiteX76" fmla="*/ 1711325 w 3270250"/>
              <a:gd name="connsiteY76" fmla="*/ 165100 h 2651125"/>
              <a:gd name="connsiteX77" fmla="*/ 1730375 w 3270250"/>
              <a:gd name="connsiteY77" fmla="*/ 177800 h 2651125"/>
              <a:gd name="connsiteX78" fmla="*/ 1739900 w 3270250"/>
              <a:gd name="connsiteY78" fmla="*/ 187325 h 2651125"/>
              <a:gd name="connsiteX79" fmla="*/ 1768475 w 3270250"/>
              <a:gd name="connsiteY79" fmla="*/ 184150 h 2651125"/>
              <a:gd name="connsiteX80" fmla="*/ 1774825 w 3270250"/>
              <a:gd name="connsiteY80" fmla="*/ 171450 h 2651125"/>
              <a:gd name="connsiteX81" fmla="*/ 1781175 w 3270250"/>
              <a:gd name="connsiteY81" fmla="*/ 161925 h 2651125"/>
              <a:gd name="connsiteX82" fmla="*/ 1787525 w 3270250"/>
              <a:gd name="connsiteY82" fmla="*/ 142875 h 2651125"/>
              <a:gd name="connsiteX83" fmla="*/ 1809750 w 3270250"/>
              <a:gd name="connsiteY83" fmla="*/ 123825 h 2651125"/>
              <a:gd name="connsiteX84" fmla="*/ 1819275 w 3270250"/>
              <a:gd name="connsiteY84" fmla="*/ 120650 h 2651125"/>
              <a:gd name="connsiteX85" fmla="*/ 1828800 w 3270250"/>
              <a:gd name="connsiteY85" fmla="*/ 114300 h 2651125"/>
              <a:gd name="connsiteX86" fmla="*/ 1847850 w 3270250"/>
              <a:gd name="connsiteY86" fmla="*/ 117475 h 2651125"/>
              <a:gd name="connsiteX87" fmla="*/ 1857375 w 3270250"/>
              <a:gd name="connsiteY87" fmla="*/ 120650 h 2651125"/>
              <a:gd name="connsiteX88" fmla="*/ 1892300 w 3270250"/>
              <a:gd name="connsiteY88" fmla="*/ 117475 h 2651125"/>
              <a:gd name="connsiteX89" fmla="*/ 1901825 w 3270250"/>
              <a:gd name="connsiteY89" fmla="*/ 107950 h 2651125"/>
              <a:gd name="connsiteX90" fmla="*/ 1911350 w 3270250"/>
              <a:gd name="connsiteY90" fmla="*/ 104775 h 2651125"/>
              <a:gd name="connsiteX91" fmla="*/ 1917700 w 3270250"/>
              <a:gd name="connsiteY91" fmla="*/ 95250 h 2651125"/>
              <a:gd name="connsiteX92" fmla="*/ 1943100 w 3270250"/>
              <a:gd name="connsiteY92" fmla="*/ 98425 h 2651125"/>
              <a:gd name="connsiteX93" fmla="*/ 1958975 w 3270250"/>
              <a:gd name="connsiteY93" fmla="*/ 114300 h 2651125"/>
              <a:gd name="connsiteX94" fmla="*/ 1962150 w 3270250"/>
              <a:gd name="connsiteY94" fmla="*/ 123825 h 2651125"/>
              <a:gd name="connsiteX95" fmla="*/ 1958975 w 3270250"/>
              <a:gd name="connsiteY95" fmla="*/ 155575 h 2651125"/>
              <a:gd name="connsiteX96" fmla="*/ 1958975 w 3270250"/>
              <a:gd name="connsiteY96" fmla="*/ 203200 h 2651125"/>
              <a:gd name="connsiteX97" fmla="*/ 1981200 w 3270250"/>
              <a:gd name="connsiteY97" fmla="*/ 222250 h 2651125"/>
              <a:gd name="connsiteX98" fmla="*/ 1990725 w 3270250"/>
              <a:gd name="connsiteY98" fmla="*/ 225425 h 2651125"/>
              <a:gd name="connsiteX99" fmla="*/ 2022475 w 3270250"/>
              <a:gd name="connsiteY99" fmla="*/ 231775 h 2651125"/>
              <a:gd name="connsiteX100" fmla="*/ 2032000 w 3270250"/>
              <a:gd name="connsiteY100" fmla="*/ 234950 h 2651125"/>
              <a:gd name="connsiteX101" fmla="*/ 2073275 w 3270250"/>
              <a:gd name="connsiteY101" fmla="*/ 238125 h 2651125"/>
              <a:gd name="connsiteX102" fmla="*/ 2098675 w 3270250"/>
              <a:gd name="connsiteY102" fmla="*/ 244475 h 2651125"/>
              <a:gd name="connsiteX103" fmla="*/ 2111375 w 3270250"/>
              <a:gd name="connsiteY103" fmla="*/ 247650 h 2651125"/>
              <a:gd name="connsiteX104" fmla="*/ 2155825 w 3270250"/>
              <a:gd name="connsiteY104" fmla="*/ 254000 h 2651125"/>
              <a:gd name="connsiteX105" fmla="*/ 2165350 w 3270250"/>
              <a:gd name="connsiteY105" fmla="*/ 260350 h 2651125"/>
              <a:gd name="connsiteX106" fmla="*/ 2187575 w 3270250"/>
              <a:gd name="connsiteY106" fmla="*/ 269875 h 2651125"/>
              <a:gd name="connsiteX107" fmla="*/ 2203450 w 3270250"/>
              <a:gd name="connsiteY107" fmla="*/ 292100 h 2651125"/>
              <a:gd name="connsiteX108" fmla="*/ 2216150 w 3270250"/>
              <a:gd name="connsiteY108" fmla="*/ 311150 h 2651125"/>
              <a:gd name="connsiteX109" fmla="*/ 2219325 w 3270250"/>
              <a:gd name="connsiteY109" fmla="*/ 320675 h 2651125"/>
              <a:gd name="connsiteX110" fmla="*/ 2232025 w 3270250"/>
              <a:gd name="connsiteY110" fmla="*/ 333375 h 2651125"/>
              <a:gd name="connsiteX111" fmla="*/ 2247900 w 3270250"/>
              <a:gd name="connsiteY111" fmla="*/ 355600 h 2651125"/>
              <a:gd name="connsiteX112" fmla="*/ 2257425 w 3270250"/>
              <a:gd name="connsiteY112" fmla="*/ 368300 h 2651125"/>
              <a:gd name="connsiteX113" fmla="*/ 2270125 w 3270250"/>
              <a:gd name="connsiteY113" fmla="*/ 387350 h 2651125"/>
              <a:gd name="connsiteX114" fmla="*/ 2279650 w 3270250"/>
              <a:gd name="connsiteY114" fmla="*/ 393700 h 2651125"/>
              <a:gd name="connsiteX115" fmla="*/ 2301875 w 3270250"/>
              <a:gd name="connsiteY115" fmla="*/ 415925 h 2651125"/>
              <a:gd name="connsiteX116" fmla="*/ 2320925 w 3270250"/>
              <a:gd name="connsiteY116" fmla="*/ 431800 h 2651125"/>
              <a:gd name="connsiteX117" fmla="*/ 2330450 w 3270250"/>
              <a:gd name="connsiteY117" fmla="*/ 434975 h 2651125"/>
              <a:gd name="connsiteX118" fmla="*/ 2349500 w 3270250"/>
              <a:gd name="connsiteY118" fmla="*/ 450850 h 2651125"/>
              <a:gd name="connsiteX119" fmla="*/ 2359025 w 3270250"/>
              <a:gd name="connsiteY119" fmla="*/ 460375 h 2651125"/>
              <a:gd name="connsiteX120" fmla="*/ 2362200 w 3270250"/>
              <a:gd name="connsiteY120" fmla="*/ 469900 h 2651125"/>
              <a:gd name="connsiteX121" fmla="*/ 2374900 w 3270250"/>
              <a:gd name="connsiteY121" fmla="*/ 488950 h 2651125"/>
              <a:gd name="connsiteX122" fmla="*/ 2378075 w 3270250"/>
              <a:gd name="connsiteY122" fmla="*/ 498475 h 2651125"/>
              <a:gd name="connsiteX123" fmla="*/ 2384425 w 3270250"/>
              <a:gd name="connsiteY123" fmla="*/ 520700 h 2651125"/>
              <a:gd name="connsiteX124" fmla="*/ 2390775 w 3270250"/>
              <a:gd name="connsiteY124" fmla="*/ 530225 h 2651125"/>
              <a:gd name="connsiteX125" fmla="*/ 2406650 w 3270250"/>
              <a:gd name="connsiteY125" fmla="*/ 555625 h 2651125"/>
              <a:gd name="connsiteX126" fmla="*/ 2419350 w 3270250"/>
              <a:gd name="connsiteY126" fmla="*/ 574675 h 2651125"/>
              <a:gd name="connsiteX127" fmla="*/ 2425700 w 3270250"/>
              <a:gd name="connsiteY127" fmla="*/ 593725 h 2651125"/>
              <a:gd name="connsiteX128" fmla="*/ 2422525 w 3270250"/>
              <a:gd name="connsiteY128" fmla="*/ 609600 h 2651125"/>
              <a:gd name="connsiteX129" fmla="*/ 2416175 w 3270250"/>
              <a:gd name="connsiteY129" fmla="*/ 619125 h 2651125"/>
              <a:gd name="connsiteX130" fmla="*/ 2413000 w 3270250"/>
              <a:gd name="connsiteY130" fmla="*/ 628650 h 2651125"/>
              <a:gd name="connsiteX131" fmla="*/ 2406650 w 3270250"/>
              <a:gd name="connsiteY131" fmla="*/ 638175 h 2651125"/>
              <a:gd name="connsiteX132" fmla="*/ 2397125 w 3270250"/>
              <a:gd name="connsiteY132" fmla="*/ 657225 h 2651125"/>
              <a:gd name="connsiteX133" fmla="*/ 2397125 w 3270250"/>
              <a:gd name="connsiteY133" fmla="*/ 717550 h 2651125"/>
              <a:gd name="connsiteX134" fmla="*/ 2422525 w 3270250"/>
              <a:gd name="connsiteY134" fmla="*/ 733425 h 2651125"/>
              <a:gd name="connsiteX135" fmla="*/ 2438400 w 3270250"/>
              <a:gd name="connsiteY135" fmla="*/ 730250 h 2651125"/>
              <a:gd name="connsiteX136" fmla="*/ 2444750 w 3270250"/>
              <a:gd name="connsiteY136" fmla="*/ 720725 h 2651125"/>
              <a:gd name="connsiteX137" fmla="*/ 2447925 w 3270250"/>
              <a:gd name="connsiteY137" fmla="*/ 711200 h 2651125"/>
              <a:gd name="connsiteX138" fmla="*/ 2454275 w 3270250"/>
              <a:gd name="connsiteY138" fmla="*/ 685800 h 2651125"/>
              <a:gd name="connsiteX139" fmla="*/ 2457450 w 3270250"/>
              <a:gd name="connsiteY139" fmla="*/ 673100 h 2651125"/>
              <a:gd name="connsiteX140" fmla="*/ 2460625 w 3270250"/>
              <a:gd name="connsiteY140" fmla="*/ 660400 h 2651125"/>
              <a:gd name="connsiteX141" fmla="*/ 2463800 w 3270250"/>
              <a:gd name="connsiteY141" fmla="*/ 542925 h 2651125"/>
              <a:gd name="connsiteX142" fmla="*/ 2466975 w 3270250"/>
              <a:gd name="connsiteY142" fmla="*/ 533400 h 2651125"/>
              <a:gd name="connsiteX143" fmla="*/ 2473325 w 3270250"/>
              <a:gd name="connsiteY143" fmla="*/ 523875 h 2651125"/>
              <a:gd name="connsiteX144" fmla="*/ 2482850 w 3270250"/>
              <a:gd name="connsiteY144" fmla="*/ 514350 h 2651125"/>
              <a:gd name="connsiteX145" fmla="*/ 2511425 w 3270250"/>
              <a:gd name="connsiteY145" fmla="*/ 520700 h 2651125"/>
              <a:gd name="connsiteX146" fmla="*/ 2520950 w 3270250"/>
              <a:gd name="connsiteY146" fmla="*/ 527050 h 2651125"/>
              <a:gd name="connsiteX147" fmla="*/ 2543175 w 3270250"/>
              <a:gd name="connsiteY147" fmla="*/ 549275 h 2651125"/>
              <a:gd name="connsiteX148" fmla="*/ 2562225 w 3270250"/>
              <a:gd name="connsiteY148" fmla="*/ 571500 h 2651125"/>
              <a:gd name="connsiteX149" fmla="*/ 2574925 w 3270250"/>
              <a:gd name="connsiteY149" fmla="*/ 590550 h 2651125"/>
              <a:gd name="connsiteX150" fmla="*/ 2584450 w 3270250"/>
              <a:gd name="connsiteY150" fmla="*/ 609600 h 2651125"/>
              <a:gd name="connsiteX151" fmla="*/ 2593975 w 3270250"/>
              <a:gd name="connsiteY151" fmla="*/ 619125 h 2651125"/>
              <a:gd name="connsiteX152" fmla="*/ 2600325 w 3270250"/>
              <a:gd name="connsiteY152" fmla="*/ 628650 h 2651125"/>
              <a:gd name="connsiteX153" fmla="*/ 2701925 w 3270250"/>
              <a:gd name="connsiteY153" fmla="*/ 736600 h 2651125"/>
              <a:gd name="connsiteX154" fmla="*/ 2781300 w 3270250"/>
              <a:gd name="connsiteY154" fmla="*/ 746125 h 2651125"/>
              <a:gd name="connsiteX155" fmla="*/ 2863850 w 3270250"/>
              <a:gd name="connsiteY155" fmla="*/ 714375 h 2651125"/>
              <a:gd name="connsiteX156" fmla="*/ 2889250 w 3270250"/>
              <a:gd name="connsiteY156" fmla="*/ 641350 h 2651125"/>
              <a:gd name="connsiteX157" fmla="*/ 2959100 w 3270250"/>
              <a:gd name="connsiteY157" fmla="*/ 622300 h 2651125"/>
              <a:gd name="connsiteX158" fmla="*/ 2984500 w 3270250"/>
              <a:gd name="connsiteY158" fmla="*/ 577850 h 2651125"/>
              <a:gd name="connsiteX159" fmla="*/ 3000375 w 3270250"/>
              <a:gd name="connsiteY159" fmla="*/ 625475 h 2651125"/>
              <a:gd name="connsiteX160" fmla="*/ 3032125 w 3270250"/>
              <a:gd name="connsiteY160" fmla="*/ 638175 h 2651125"/>
              <a:gd name="connsiteX161" fmla="*/ 3032125 w 3270250"/>
              <a:gd name="connsiteY161" fmla="*/ 590550 h 2651125"/>
              <a:gd name="connsiteX162" fmla="*/ 3060700 w 3270250"/>
              <a:gd name="connsiteY162" fmla="*/ 587375 h 2651125"/>
              <a:gd name="connsiteX163" fmla="*/ 3124200 w 3270250"/>
              <a:gd name="connsiteY163" fmla="*/ 612775 h 2651125"/>
              <a:gd name="connsiteX164" fmla="*/ 3159125 w 3270250"/>
              <a:gd name="connsiteY164" fmla="*/ 593725 h 2651125"/>
              <a:gd name="connsiteX165" fmla="*/ 3184525 w 3270250"/>
              <a:gd name="connsiteY165" fmla="*/ 666750 h 2651125"/>
              <a:gd name="connsiteX166" fmla="*/ 3235325 w 3270250"/>
              <a:gd name="connsiteY166" fmla="*/ 704850 h 2651125"/>
              <a:gd name="connsiteX167" fmla="*/ 3257550 w 3270250"/>
              <a:gd name="connsiteY167" fmla="*/ 685800 h 2651125"/>
              <a:gd name="connsiteX168" fmla="*/ 3270250 w 3270250"/>
              <a:gd name="connsiteY168" fmla="*/ 787400 h 2651125"/>
              <a:gd name="connsiteX169" fmla="*/ 3251200 w 3270250"/>
              <a:gd name="connsiteY169" fmla="*/ 939800 h 2651125"/>
              <a:gd name="connsiteX170" fmla="*/ 3270250 w 3270250"/>
              <a:gd name="connsiteY170" fmla="*/ 1130300 h 2651125"/>
              <a:gd name="connsiteX171" fmla="*/ 3225800 w 3270250"/>
              <a:gd name="connsiteY171" fmla="*/ 1536700 h 2651125"/>
              <a:gd name="connsiteX172" fmla="*/ 3162300 w 3270250"/>
              <a:gd name="connsiteY172" fmla="*/ 1971675 h 2651125"/>
              <a:gd name="connsiteX173" fmla="*/ 3038475 w 3270250"/>
              <a:gd name="connsiteY173" fmla="*/ 2238375 h 2651125"/>
              <a:gd name="connsiteX174" fmla="*/ 2813050 w 3270250"/>
              <a:gd name="connsiteY174" fmla="*/ 2425700 h 2651125"/>
              <a:gd name="connsiteX175" fmla="*/ 2660650 w 3270250"/>
              <a:gd name="connsiteY175" fmla="*/ 2524125 h 2651125"/>
              <a:gd name="connsiteX176" fmla="*/ 2460625 w 3270250"/>
              <a:gd name="connsiteY176" fmla="*/ 2581275 h 2651125"/>
              <a:gd name="connsiteX177" fmla="*/ 2114550 w 3270250"/>
              <a:gd name="connsiteY177" fmla="*/ 2638425 h 2651125"/>
              <a:gd name="connsiteX178" fmla="*/ 1733550 w 3270250"/>
              <a:gd name="connsiteY178" fmla="*/ 2651125 h 2651125"/>
              <a:gd name="connsiteX179" fmla="*/ 1657350 w 3270250"/>
              <a:gd name="connsiteY179" fmla="*/ 2635250 h 2651125"/>
              <a:gd name="connsiteX180" fmla="*/ 1692275 w 3270250"/>
              <a:gd name="connsiteY180" fmla="*/ 2619375 h 2651125"/>
              <a:gd name="connsiteX181" fmla="*/ 1701800 w 3270250"/>
              <a:gd name="connsiteY181" fmla="*/ 2597150 h 2651125"/>
              <a:gd name="connsiteX182" fmla="*/ 1704975 w 3270250"/>
              <a:gd name="connsiteY182" fmla="*/ 2514600 h 2651125"/>
              <a:gd name="connsiteX183" fmla="*/ 1727200 w 3270250"/>
              <a:gd name="connsiteY183" fmla="*/ 2498725 h 2651125"/>
              <a:gd name="connsiteX184" fmla="*/ 1746250 w 3270250"/>
              <a:gd name="connsiteY184" fmla="*/ 2479675 h 2651125"/>
              <a:gd name="connsiteX185" fmla="*/ 1762125 w 3270250"/>
              <a:gd name="connsiteY185" fmla="*/ 2457450 h 2651125"/>
              <a:gd name="connsiteX186" fmla="*/ 1762125 w 3270250"/>
              <a:gd name="connsiteY186" fmla="*/ 2333625 h 2651125"/>
              <a:gd name="connsiteX187" fmla="*/ 1758950 w 3270250"/>
              <a:gd name="connsiteY187" fmla="*/ 2324100 h 2651125"/>
              <a:gd name="connsiteX188" fmla="*/ 1755775 w 3270250"/>
              <a:gd name="connsiteY188" fmla="*/ 2308225 h 2651125"/>
              <a:gd name="connsiteX189" fmla="*/ 1752600 w 3270250"/>
              <a:gd name="connsiteY189" fmla="*/ 2241550 h 2651125"/>
              <a:gd name="connsiteX190" fmla="*/ 1746250 w 3270250"/>
              <a:gd name="connsiteY190" fmla="*/ 2212975 h 2651125"/>
              <a:gd name="connsiteX191" fmla="*/ 1736725 w 3270250"/>
              <a:gd name="connsiteY191" fmla="*/ 2152650 h 2651125"/>
              <a:gd name="connsiteX192" fmla="*/ 1730375 w 3270250"/>
              <a:gd name="connsiteY192" fmla="*/ 2143125 h 2651125"/>
              <a:gd name="connsiteX193" fmla="*/ 1711325 w 3270250"/>
              <a:gd name="connsiteY193" fmla="*/ 2130425 h 2651125"/>
              <a:gd name="connsiteX194" fmla="*/ 1701800 w 3270250"/>
              <a:gd name="connsiteY194" fmla="*/ 2124075 h 2651125"/>
              <a:gd name="connsiteX195" fmla="*/ 1692275 w 3270250"/>
              <a:gd name="connsiteY195" fmla="*/ 2117725 h 2651125"/>
              <a:gd name="connsiteX196" fmla="*/ 1679575 w 3270250"/>
              <a:gd name="connsiteY196" fmla="*/ 2111375 h 2651125"/>
              <a:gd name="connsiteX197" fmla="*/ 1670050 w 3270250"/>
              <a:gd name="connsiteY197" fmla="*/ 2108200 h 2651125"/>
              <a:gd name="connsiteX198" fmla="*/ 1628775 w 3270250"/>
              <a:gd name="connsiteY198" fmla="*/ 2105025 h 2651125"/>
              <a:gd name="connsiteX199" fmla="*/ 1616075 w 3270250"/>
              <a:gd name="connsiteY199" fmla="*/ 2101850 h 2651125"/>
              <a:gd name="connsiteX200" fmla="*/ 1597025 w 3270250"/>
              <a:gd name="connsiteY200" fmla="*/ 2098675 h 2651125"/>
              <a:gd name="connsiteX201" fmla="*/ 1577975 w 3270250"/>
              <a:gd name="connsiteY201" fmla="*/ 2092325 h 2651125"/>
              <a:gd name="connsiteX202" fmla="*/ 1552575 w 3270250"/>
              <a:gd name="connsiteY202" fmla="*/ 2079625 h 2651125"/>
              <a:gd name="connsiteX203" fmla="*/ 1539875 w 3270250"/>
              <a:gd name="connsiteY203" fmla="*/ 2073275 h 2651125"/>
              <a:gd name="connsiteX204" fmla="*/ 1530350 w 3270250"/>
              <a:gd name="connsiteY204" fmla="*/ 2070100 h 2651125"/>
              <a:gd name="connsiteX205" fmla="*/ 1520825 w 3270250"/>
              <a:gd name="connsiteY205" fmla="*/ 2060575 h 2651125"/>
              <a:gd name="connsiteX206" fmla="*/ 1498600 w 3270250"/>
              <a:gd name="connsiteY206" fmla="*/ 2051050 h 2651125"/>
              <a:gd name="connsiteX207" fmla="*/ 1489075 w 3270250"/>
              <a:gd name="connsiteY207" fmla="*/ 2044700 h 2651125"/>
              <a:gd name="connsiteX208" fmla="*/ 1463675 w 3270250"/>
              <a:gd name="connsiteY208" fmla="*/ 2041525 h 2651125"/>
              <a:gd name="connsiteX209" fmla="*/ 1409700 w 3270250"/>
              <a:gd name="connsiteY209" fmla="*/ 2044700 h 2651125"/>
              <a:gd name="connsiteX210" fmla="*/ 1384300 w 3270250"/>
              <a:gd name="connsiteY210" fmla="*/ 2051050 h 2651125"/>
              <a:gd name="connsiteX211" fmla="*/ 1362075 w 3270250"/>
              <a:gd name="connsiteY211" fmla="*/ 2057400 h 2651125"/>
              <a:gd name="connsiteX212" fmla="*/ 1330325 w 3270250"/>
              <a:gd name="connsiteY212" fmla="*/ 2054225 h 2651125"/>
              <a:gd name="connsiteX213" fmla="*/ 1339850 w 3270250"/>
              <a:gd name="connsiteY213" fmla="*/ 2051050 h 2651125"/>
              <a:gd name="connsiteX214" fmla="*/ 1346200 w 3270250"/>
              <a:gd name="connsiteY214" fmla="*/ 2041525 h 2651125"/>
              <a:gd name="connsiteX215" fmla="*/ 1355725 w 3270250"/>
              <a:gd name="connsiteY215" fmla="*/ 2035175 h 2651125"/>
              <a:gd name="connsiteX216" fmla="*/ 1352550 w 3270250"/>
              <a:gd name="connsiteY216" fmla="*/ 2012950 h 2651125"/>
              <a:gd name="connsiteX217" fmla="*/ 1330325 w 3270250"/>
              <a:gd name="connsiteY217" fmla="*/ 2003425 h 2651125"/>
              <a:gd name="connsiteX218" fmla="*/ 1301750 w 3270250"/>
              <a:gd name="connsiteY218" fmla="*/ 1993900 h 2651125"/>
              <a:gd name="connsiteX219" fmla="*/ 1266825 w 3270250"/>
              <a:gd name="connsiteY219" fmla="*/ 1997075 h 2651125"/>
              <a:gd name="connsiteX220" fmla="*/ 1254125 w 3270250"/>
              <a:gd name="connsiteY220" fmla="*/ 2003425 h 2651125"/>
              <a:gd name="connsiteX221" fmla="*/ 1244600 w 3270250"/>
              <a:gd name="connsiteY221" fmla="*/ 2006600 h 2651125"/>
              <a:gd name="connsiteX222" fmla="*/ 1231900 w 3270250"/>
              <a:gd name="connsiteY222" fmla="*/ 1968500 h 2651125"/>
              <a:gd name="connsiteX223" fmla="*/ 1216025 w 3270250"/>
              <a:gd name="connsiteY223" fmla="*/ 1965325 h 2651125"/>
              <a:gd name="connsiteX224" fmla="*/ 1143000 w 3270250"/>
              <a:gd name="connsiteY224" fmla="*/ 1968500 h 2651125"/>
              <a:gd name="connsiteX225" fmla="*/ 1133475 w 3270250"/>
              <a:gd name="connsiteY225" fmla="*/ 1971675 h 2651125"/>
              <a:gd name="connsiteX226" fmla="*/ 1111250 w 3270250"/>
              <a:gd name="connsiteY226" fmla="*/ 1974850 h 2651125"/>
              <a:gd name="connsiteX227" fmla="*/ 1076325 w 3270250"/>
              <a:gd name="connsiteY227" fmla="*/ 1981200 h 2651125"/>
              <a:gd name="connsiteX228" fmla="*/ 974725 w 3270250"/>
              <a:gd name="connsiteY228" fmla="*/ 1984375 h 2651125"/>
              <a:gd name="connsiteX229" fmla="*/ 965200 w 3270250"/>
              <a:gd name="connsiteY229" fmla="*/ 1987550 h 2651125"/>
              <a:gd name="connsiteX230" fmla="*/ 952500 w 3270250"/>
              <a:gd name="connsiteY230" fmla="*/ 1990725 h 2651125"/>
              <a:gd name="connsiteX231" fmla="*/ 930275 w 3270250"/>
              <a:gd name="connsiteY231" fmla="*/ 2006600 h 2651125"/>
              <a:gd name="connsiteX232" fmla="*/ 920750 w 3270250"/>
              <a:gd name="connsiteY232" fmla="*/ 2009775 h 2651125"/>
              <a:gd name="connsiteX233" fmla="*/ 901700 w 3270250"/>
              <a:gd name="connsiteY233" fmla="*/ 2022475 h 2651125"/>
              <a:gd name="connsiteX234" fmla="*/ 892175 w 3270250"/>
              <a:gd name="connsiteY234" fmla="*/ 2028825 h 2651125"/>
              <a:gd name="connsiteX235" fmla="*/ 866775 w 3270250"/>
              <a:gd name="connsiteY235" fmla="*/ 2038350 h 2651125"/>
              <a:gd name="connsiteX236" fmla="*/ 854075 w 3270250"/>
              <a:gd name="connsiteY236" fmla="*/ 2041525 h 2651125"/>
              <a:gd name="connsiteX237" fmla="*/ 828675 w 3270250"/>
              <a:gd name="connsiteY237" fmla="*/ 2051050 h 2651125"/>
              <a:gd name="connsiteX238" fmla="*/ 815975 w 3270250"/>
              <a:gd name="connsiteY238" fmla="*/ 2054225 h 2651125"/>
              <a:gd name="connsiteX239" fmla="*/ 796925 w 3270250"/>
              <a:gd name="connsiteY239" fmla="*/ 2063750 h 2651125"/>
              <a:gd name="connsiteX240" fmla="*/ 774700 w 3270250"/>
              <a:gd name="connsiteY240" fmla="*/ 2073275 h 2651125"/>
              <a:gd name="connsiteX241" fmla="*/ 765175 w 3270250"/>
              <a:gd name="connsiteY241" fmla="*/ 2082800 h 2651125"/>
              <a:gd name="connsiteX242" fmla="*/ 752475 w 3270250"/>
              <a:gd name="connsiteY242" fmla="*/ 2085975 h 2651125"/>
              <a:gd name="connsiteX243" fmla="*/ 742950 w 3270250"/>
              <a:gd name="connsiteY243" fmla="*/ 2089150 h 2651125"/>
              <a:gd name="connsiteX244" fmla="*/ 714375 w 3270250"/>
              <a:gd name="connsiteY244" fmla="*/ 2098675 h 2651125"/>
              <a:gd name="connsiteX245" fmla="*/ 676275 w 3270250"/>
              <a:gd name="connsiteY245" fmla="*/ 2108200 h 2651125"/>
              <a:gd name="connsiteX246" fmla="*/ 669925 w 3270250"/>
              <a:gd name="connsiteY246" fmla="*/ 2098675 h 2651125"/>
              <a:gd name="connsiteX247" fmla="*/ 650875 w 3270250"/>
              <a:gd name="connsiteY247" fmla="*/ 2085975 h 2651125"/>
              <a:gd name="connsiteX248" fmla="*/ 501650 w 3270250"/>
              <a:gd name="connsiteY248" fmla="*/ 2098675 h 2651125"/>
              <a:gd name="connsiteX249" fmla="*/ 495300 w 3270250"/>
              <a:gd name="connsiteY249" fmla="*/ 2111375 h 2651125"/>
              <a:gd name="connsiteX250" fmla="*/ 492125 w 3270250"/>
              <a:gd name="connsiteY250" fmla="*/ 2120900 h 2651125"/>
              <a:gd name="connsiteX251" fmla="*/ 485775 w 3270250"/>
              <a:gd name="connsiteY251" fmla="*/ 2181225 h 2651125"/>
              <a:gd name="connsiteX252" fmla="*/ 479425 w 3270250"/>
              <a:gd name="connsiteY252" fmla="*/ 2200275 h 2651125"/>
              <a:gd name="connsiteX253" fmla="*/ 473075 w 3270250"/>
              <a:gd name="connsiteY253" fmla="*/ 2209800 h 2651125"/>
              <a:gd name="connsiteX254" fmla="*/ 454025 w 3270250"/>
              <a:gd name="connsiteY254" fmla="*/ 2222500 h 2651125"/>
              <a:gd name="connsiteX255" fmla="*/ 428625 w 3270250"/>
              <a:gd name="connsiteY255" fmla="*/ 2238375 h 2651125"/>
              <a:gd name="connsiteX256" fmla="*/ 419100 w 3270250"/>
              <a:gd name="connsiteY256" fmla="*/ 2241550 h 2651125"/>
              <a:gd name="connsiteX257" fmla="*/ 400050 w 3270250"/>
              <a:gd name="connsiteY257" fmla="*/ 2238375 h 2651125"/>
              <a:gd name="connsiteX258" fmla="*/ 400050 w 3270250"/>
              <a:gd name="connsiteY258" fmla="*/ 2197100 h 2651125"/>
              <a:gd name="connsiteX259" fmla="*/ 428625 w 3270250"/>
              <a:gd name="connsiteY259" fmla="*/ 2187575 h 2651125"/>
              <a:gd name="connsiteX260" fmla="*/ 441325 w 3270250"/>
              <a:gd name="connsiteY260" fmla="*/ 2171700 h 2651125"/>
              <a:gd name="connsiteX261" fmla="*/ 447675 w 3270250"/>
              <a:gd name="connsiteY261" fmla="*/ 2162175 h 2651125"/>
              <a:gd name="connsiteX262" fmla="*/ 454025 w 3270250"/>
              <a:gd name="connsiteY262" fmla="*/ 2143125 h 2651125"/>
              <a:gd name="connsiteX263" fmla="*/ 457200 w 3270250"/>
              <a:gd name="connsiteY263" fmla="*/ 2133600 h 2651125"/>
              <a:gd name="connsiteX264" fmla="*/ 454025 w 3270250"/>
              <a:gd name="connsiteY264" fmla="*/ 2070100 h 2651125"/>
              <a:gd name="connsiteX265" fmla="*/ 444500 w 3270250"/>
              <a:gd name="connsiteY265" fmla="*/ 2047875 h 2651125"/>
              <a:gd name="connsiteX266" fmla="*/ 438150 w 3270250"/>
              <a:gd name="connsiteY266" fmla="*/ 2032000 h 2651125"/>
              <a:gd name="connsiteX267" fmla="*/ 428625 w 3270250"/>
              <a:gd name="connsiteY267" fmla="*/ 2022475 h 2651125"/>
              <a:gd name="connsiteX268" fmla="*/ 415925 w 3270250"/>
              <a:gd name="connsiteY268" fmla="*/ 2003425 h 2651125"/>
              <a:gd name="connsiteX269" fmla="*/ 406400 w 3270250"/>
              <a:gd name="connsiteY269" fmla="*/ 1990725 h 2651125"/>
              <a:gd name="connsiteX270" fmla="*/ 400050 w 3270250"/>
              <a:gd name="connsiteY270" fmla="*/ 1971675 h 2651125"/>
              <a:gd name="connsiteX271" fmla="*/ 406400 w 3270250"/>
              <a:gd name="connsiteY271" fmla="*/ 1933575 h 2651125"/>
              <a:gd name="connsiteX272" fmla="*/ 428625 w 3270250"/>
              <a:gd name="connsiteY272" fmla="*/ 1943100 h 2651125"/>
              <a:gd name="connsiteX273" fmla="*/ 447675 w 3270250"/>
              <a:gd name="connsiteY273" fmla="*/ 1971675 h 2651125"/>
              <a:gd name="connsiteX274" fmla="*/ 454025 w 3270250"/>
              <a:gd name="connsiteY274" fmla="*/ 1981200 h 2651125"/>
              <a:gd name="connsiteX275" fmla="*/ 463550 w 3270250"/>
              <a:gd name="connsiteY275" fmla="*/ 1984375 h 2651125"/>
              <a:gd name="connsiteX276" fmla="*/ 530225 w 3270250"/>
              <a:gd name="connsiteY276" fmla="*/ 1978025 h 2651125"/>
              <a:gd name="connsiteX277" fmla="*/ 539750 w 3270250"/>
              <a:gd name="connsiteY277" fmla="*/ 1971675 h 2651125"/>
              <a:gd name="connsiteX278" fmla="*/ 546100 w 3270250"/>
              <a:gd name="connsiteY278" fmla="*/ 1962150 h 2651125"/>
              <a:gd name="connsiteX279" fmla="*/ 542925 w 3270250"/>
              <a:gd name="connsiteY279" fmla="*/ 1943100 h 2651125"/>
              <a:gd name="connsiteX280" fmla="*/ 542925 w 3270250"/>
              <a:gd name="connsiteY280" fmla="*/ 1939925 h 2651125"/>
              <a:gd name="connsiteX281" fmla="*/ 498475 w 3270250"/>
              <a:gd name="connsiteY281" fmla="*/ 1879600 h 2651125"/>
              <a:gd name="connsiteX282" fmla="*/ 463550 w 3270250"/>
              <a:gd name="connsiteY282" fmla="*/ 1666875 h 2651125"/>
              <a:gd name="connsiteX283" fmla="*/ 428625 w 3270250"/>
              <a:gd name="connsiteY283" fmla="*/ 1628775 h 2651125"/>
              <a:gd name="connsiteX284" fmla="*/ 371475 w 3270250"/>
              <a:gd name="connsiteY284" fmla="*/ 1485900 h 2651125"/>
              <a:gd name="connsiteX285" fmla="*/ 288925 w 3270250"/>
              <a:gd name="connsiteY285" fmla="*/ 1457325 h 2651125"/>
              <a:gd name="connsiteX286" fmla="*/ 231775 w 3270250"/>
              <a:gd name="connsiteY286" fmla="*/ 1444625 h 2651125"/>
              <a:gd name="connsiteX287" fmla="*/ 190500 w 3270250"/>
              <a:gd name="connsiteY287" fmla="*/ 1406525 h 2651125"/>
              <a:gd name="connsiteX288" fmla="*/ 165100 w 3270250"/>
              <a:gd name="connsiteY288" fmla="*/ 1460500 h 2651125"/>
              <a:gd name="connsiteX289" fmla="*/ 123825 w 3270250"/>
              <a:gd name="connsiteY289" fmla="*/ 1409700 h 2651125"/>
              <a:gd name="connsiteX290" fmla="*/ 120650 w 3270250"/>
              <a:gd name="connsiteY290" fmla="*/ 1352550 h 2651125"/>
              <a:gd name="connsiteX291" fmla="*/ 111125 w 3270250"/>
              <a:gd name="connsiteY291" fmla="*/ 1320800 h 2651125"/>
              <a:gd name="connsiteX292" fmla="*/ 165100 w 3270250"/>
              <a:gd name="connsiteY292" fmla="*/ 1279525 h 2651125"/>
              <a:gd name="connsiteX293" fmla="*/ 123825 w 3270250"/>
              <a:gd name="connsiteY293" fmla="*/ 1250950 h 2651125"/>
              <a:gd name="connsiteX294" fmla="*/ 161925 w 3270250"/>
              <a:gd name="connsiteY294" fmla="*/ 1200150 h 2651125"/>
              <a:gd name="connsiteX295" fmla="*/ 0 w 3270250"/>
              <a:gd name="connsiteY295" fmla="*/ 1063625 h 2651125"/>
              <a:gd name="connsiteX296" fmla="*/ 114300 w 3270250"/>
              <a:gd name="connsiteY296" fmla="*/ 936625 h 2651125"/>
              <a:gd name="connsiteX297" fmla="*/ 149225 w 3270250"/>
              <a:gd name="connsiteY297" fmla="*/ 892175 h 2651125"/>
              <a:gd name="connsiteX298" fmla="*/ 238125 w 3270250"/>
              <a:gd name="connsiteY298" fmla="*/ 873125 h 2651125"/>
              <a:gd name="connsiteX299" fmla="*/ 250825 w 3270250"/>
              <a:gd name="connsiteY299" fmla="*/ 825500 h 2651125"/>
              <a:gd name="connsiteX300" fmla="*/ 215900 w 3270250"/>
              <a:gd name="connsiteY300" fmla="*/ 752475 h 2651125"/>
              <a:gd name="connsiteX301" fmla="*/ 187325 w 3270250"/>
              <a:gd name="connsiteY301" fmla="*/ 730250 h 2651125"/>
              <a:gd name="connsiteX302" fmla="*/ 295275 w 3270250"/>
              <a:gd name="connsiteY302" fmla="*/ 504825 h 2651125"/>
              <a:gd name="connsiteX303" fmla="*/ 377825 w 3270250"/>
              <a:gd name="connsiteY303" fmla="*/ 501650 h 2651125"/>
              <a:gd name="connsiteX304" fmla="*/ 406400 w 3270250"/>
              <a:gd name="connsiteY304" fmla="*/ 495300 h 2651125"/>
              <a:gd name="connsiteX305" fmla="*/ 415925 w 3270250"/>
              <a:gd name="connsiteY305" fmla="*/ 492125 h 2651125"/>
              <a:gd name="connsiteX306" fmla="*/ 431800 w 3270250"/>
              <a:gd name="connsiteY306" fmla="*/ 473075 h 2651125"/>
              <a:gd name="connsiteX307" fmla="*/ 434975 w 3270250"/>
              <a:gd name="connsiteY307" fmla="*/ 463550 h 2651125"/>
              <a:gd name="connsiteX308" fmla="*/ 441325 w 3270250"/>
              <a:gd name="connsiteY308" fmla="*/ 454025 h 2651125"/>
              <a:gd name="connsiteX309" fmla="*/ 444500 w 3270250"/>
              <a:gd name="connsiteY309" fmla="*/ 393700 h 2651125"/>
              <a:gd name="connsiteX310" fmla="*/ 450850 w 3270250"/>
              <a:gd name="connsiteY310" fmla="*/ 384175 h 2651125"/>
              <a:gd name="connsiteX311" fmla="*/ 469900 w 3270250"/>
              <a:gd name="connsiteY311" fmla="*/ 365125 h 2651125"/>
              <a:gd name="connsiteX312" fmla="*/ 473075 w 3270250"/>
              <a:gd name="connsiteY312" fmla="*/ 352425 h 2651125"/>
              <a:gd name="connsiteX313" fmla="*/ 492125 w 3270250"/>
              <a:gd name="connsiteY313" fmla="*/ 336550 h 2651125"/>
              <a:gd name="connsiteX314" fmla="*/ 501650 w 3270250"/>
              <a:gd name="connsiteY314" fmla="*/ 327025 h 2651125"/>
              <a:gd name="connsiteX315" fmla="*/ 511175 w 3270250"/>
              <a:gd name="connsiteY315" fmla="*/ 323850 h 2651125"/>
              <a:gd name="connsiteX316" fmla="*/ 520700 w 3270250"/>
              <a:gd name="connsiteY316" fmla="*/ 317500 h 2651125"/>
              <a:gd name="connsiteX317" fmla="*/ 546100 w 3270250"/>
              <a:gd name="connsiteY317" fmla="*/ 311150 h 265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</a:cxnLst>
            <a:rect l="l" t="t" r="r" b="b"/>
            <a:pathLst>
              <a:path w="3270250" h="2651125">
                <a:moveTo>
                  <a:pt x="546100" y="311150"/>
                </a:moveTo>
                <a:lnTo>
                  <a:pt x="581025" y="342900"/>
                </a:lnTo>
                <a:lnTo>
                  <a:pt x="625475" y="428625"/>
                </a:lnTo>
                <a:lnTo>
                  <a:pt x="641350" y="514350"/>
                </a:lnTo>
                <a:lnTo>
                  <a:pt x="663575" y="565150"/>
                </a:lnTo>
                <a:lnTo>
                  <a:pt x="663575" y="596900"/>
                </a:lnTo>
                <a:lnTo>
                  <a:pt x="685800" y="631825"/>
                </a:lnTo>
                <a:lnTo>
                  <a:pt x="749300" y="638175"/>
                </a:lnTo>
                <a:cubicBezTo>
                  <a:pt x="785598" y="642208"/>
                  <a:pt x="779228" y="643245"/>
                  <a:pt x="822325" y="638175"/>
                </a:cubicBezTo>
                <a:cubicBezTo>
                  <a:pt x="832761" y="636947"/>
                  <a:pt x="832154" y="633260"/>
                  <a:pt x="841375" y="628650"/>
                </a:cubicBezTo>
                <a:cubicBezTo>
                  <a:pt x="844368" y="627153"/>
                  <a:pt x="847725" y="626533"/>
                  <a:pt x="850900" y="625475"/>
                </a:cubicBezTo>
                <a:cubicBezTo>
                  <a:pt x="858880" y="601534"/>
                  <a:pt x="848115" y="631044"/>
                  <a:pt x="860425" y="606425"/>
                </a:cubicBezTo>
                <a:cubicBezTo>
                  <a:pt x="861922" y="603432"/>
                  <a:pt x="862542" y="600075"/>
                  <a:pt x="863600" y="596900"/>
                </a:cubicBezTo>
                <a:cubicBezTo>
                  <a:pt x="864658" y="586317"/>
                  <a:pt x="866775" y="575786"/>
                  <a:pt x="866775" y="565150"/>
                </a:cubicBezTo>
                <a:cubicBezTo>
                  <a:pt x="866775" y="546003"/>
                  <a:pt x="862944" y="518624"/>
                  <a:pt x="860425" y="498475"/>
                </a:cubicBezTo>
                <a:cubicBezTo>
                  <a:pt x="861802" y="461296"/>
                  <a:pt x="862521" y="411179"/>
                  <a:pt x="866775" y="371475"/>
                </a:cubicBezTo>
                <a:cubicBezTo>
                  <a:pt x="868481" y="355551"/>
                  <a:pt x="871008" y="339725"/>
                  <a:pt x="873125" y="323850"/>
                </a:cubicBezTo>
                <a:cubicBezTo>
                  <a:pt x="877358" y="324908"/>
                  <a:pt x="881739" y="325493"/>
                  <a:pt x="885825" y="327025"/>
                </a:cubicBezTo>
                <a:cubicBezTo>
                  <a:pt x="895032" y="330478"/>
                  <a:pt x="900154" y="334461"/>
                  <a:pt x="908050" y="339725"/>
                </a:cubicBezTo>
                <a:cubicBezTo>
                  <a:pt x="910630" y="339490"/>
                  <a:pt x="942100" y="339318"/>
                  <a:pt x="952500" y="333375"/>
                </a:cubicBezTo>
                <a:cubicBezTo>
                  <a:pt x="957094" y="330750"/>
                  <a:pt x="960865" y="326885"/>
                  <a:pt x="965200" y="323850"/>
                </a:cubicBezTo>
                <a:cubicBezTo>
                  <a:pt x="971452" y="319473"/>
                  <a:pt x="977900" y="315383"/>
                  <a:pt x="984250" y="311150"/>
                </a:cubicBezTo>
                <a:cubicBezTo>
                  <a:pt x="987425" y="309033"/>
                  <a:pt x="990155" y="306007"/>
                  <a:pt x="993775" y="304800"/>
                </a:cubicBezTo>
                <a:cubicBezTo>
                  <a:pt x="1010796" y="299126"/>
                  <a:pt x="996187" y="303558"/>
                  <a:pt x="1019175" y="298450"/>
                </a:cubicBezTo>
                <a:cubicBezTo>
                  <a:pt x="1023435" y="297503"/>
                  <a:pt x="1027531" y="295689"/>
                  <a:pt x="1031875" y="295275"/>
                </a:cubicBezTo>
                <a:cubicBezTo>
                  <a:pt x="1049817" y="293566"/>
                  <a:pt x="1067858" y="293158"/>
                  <a:pt x="1085850" y="292100"/>
                </a:cubicBezTo>
                <a:cubicBezTo>
                  <a:pt x="1091142" y="291042"/>
                  <a:pt x="1097040" y="291602"/>
                  <a:pt x="1101725" y="288925"/>
                </a:cubicBezTo>
                <a:cubicBezTo>
                  <a:pt x="1116687" y="280375"/>
                  <a:pt x="1104903" y="238160"/>
                  <a:pt x="1104900" y="238125"/>
                </a:cubicBezTo>
                <a:cubicBezTo>
                  <a:pt x="1105958" y="225425"/>
                  <a:pt x="1104791" y="212339"/>
                  <a:pt x="1108075" y="200025"/>
                </a:cubicBezTo>
                <a:cubicBezTo>
                  <a:pt x="1109232" y="195686"/>
                  <a:pt x="1113946" y="193110"/>
                  <a:pt x="1117600" y="190500"/>
                </a:cubicBezTo>
                <a:cubicBezTo>
                  <a:pt x="1124466" y="185596"/>
                  <a:pt x="1132052" y="183566"/>
                  <a:pt x="1139825" y="180975"/>
                </a:cubicBezTo>
                <a:cubicBezTo>
                  <a:pt x="1140655" y="181182"/>
                  <a:pt x="1159980" y="185669"/>
                  <a:pt x="1162050" y="187325"/>
                </a:cubicBezTo>
                <a:cubicBezTo>
                  <a:pt x="1165030" y="189709"/>
                  <a:pt x="1165702" y="194152"/>
                  <a:pt x="1168400" y="196850"/>
                </a:cubicBezTo>
                <a:cubicBezTo>
                  <a:pt x="1174555" y="203005"/>
                  <a:pt x="1179703" y="203793"/>
                  <a:pt x="1187450" y="206375"/>
                </a:cubicBezTo>
                <a:cubicBezTo>
                  <a:pt x="1222678" y="202461"/>
                  <a:pt x="1206933" y="206231"/>
                  <a:pt x="1235075" y="196850"/>
                </a:cubicBezTo>
                <a:cubicBezTo>
                  <a:pt x="1238250" y="195792"/>
                  <a:pt x="1241815" y="195531"/>
                  <a:pt x="1244600" y="193675"/>
                </a:cubicBezTo>
                <a:cubicBezTo>
                  <a:pt x="1256194" y="185946"/>
                  <a:pt x="1265118" y="179427"/>
                  <a:pt x="1279525" y="174625"/>
                </a:cubicBezTo>
                <a:cubicBezTo>
                  <a:pt x="1285875" y="172508"/>
                  <a:pt x="1293006" y="171988"/>
                  <a:pt x="1298575" y="168275"/>
                </a:cubicBezTo>
                <a:cubicBezTo>
                  <a:pt x="1301750" y="166158"/>
                  <a:pt x="1304593" y="163428"/>
                  <a:pt x="1308100" y="161925"/>
                </a:cubicBezTo>
                <a:cubicBezTo>
                  <a:pt x="1316738" y="158223"/>
                  <a:pt x="1340599" y="156275"/>
                  <a:pt x="1346200" y="155575"/>
                </a:cubicBezTo>
                <a:cubicBezTo>
                  <a:pt x="1349375" y="154517"/>
                  <a:pt x="1352507" y="153319"/>
                  <a:pt x="1355725" y="152400"/>
                </a:cubicBezTo>
                <a:cubicBezTo>
                  <a:pt x="1359921" y="151201"/>
                  <a:pt x="1364414" y="150944"/>
                  <a:pt x="1368425" y="149225"/>
                </a:cubicBezTo>
                <a:cubicBezTo>
                  <a:pt x="1371932" y="147722"/>
                  <a:pt x="1374443" y="144378"/>
                  <a:pt x="1377950" y="142875"/>
                </a:cubicBezTo>
                <a:cubicBezTo>
                  <a:pt x="1381961" y="141156"/>
                  <a:pt x="1386564" y="141232"/>
                  <a:pt x="1390650" y="139700"/>
                </a:cubicBezTo>
                <a:cubicBezTo>
                  <a:pt x="1395082" y="138038"/>
                  <a:pt x="1399000" y="135214"/>
                  <a:pt x="1403350" y="133350"/>
                </a:cubicBezTo>
                <a:cubicBezTo>
                  <a:pt x="1406426" y="132032"/>
                  <a:pt x="1409700" y="131233"/>
                  <a:pt x="1412875" y="130175"/>
                </a:cubicBezTo>
                <a:cubicBezTo>
                  <a:pt x="1414992" y="127000"/>
                  <a:pt x="1416690" y="123502"/>
                  <a:pt x="1419225" y="120650"/>
                </a:cubicBezTo>
                <a:cubicBezTo>
                  <a:pt x="1425191" y="113938"/>
                  <a:pt x="1434259" y="109632"/>
                  <a:pt x="1438275" y="101600"/>
                </a:cubicBezTo>
                <a:cubicBezTo>
                  <a:pt x="1440392" y="97367"/>
                  <a:pt x="1442277" y="93009"/>
                  <a:pt x="1444625" y="88900"/>
                </a:cubicBezTo>
                <a:cubicBezTo>
                  <a:pt x="1446518" y="85587"/>
                  <a:pt x="1449268" y="82788"/>
                  <a:pt x="1450975" y="79375"/>
                </a:cubicBezTo>
                <a:cubicBezTo>
                  <a:pt x="1452472" y="76382"/>
                  <a:pt x="1452525" y="72776"/>
                  <a:pt x="1454150" y="69850"/>
                </a:cubicBezTo>
                <a:cubicBezTo>
                  <a:pt x="1457856" y="63179"/>
                  <a:pt x="1462617" y="57150"/>
                  <a:pt x="1466850" y="50800"/>
                </a:cubicBezTo>
                <a:cubicBezTo>
                  <a:pt x="1468967" y="47625"/>
                  <a:pt x="1469580" y="42482"/>
                  <a:pt x="1473200" y="41275"/>
                </a:cubicBezTo>
                <a:lnTo>
                  <a:pt x="1482725" y="38100"/>
                </a:lnTo>
                <a:cubicBezTo>
                  <a:pt x="1484842" y="41275"/>
                  <a:pt x="1487368" y="44212"/>
                  <a:pt x="1489075" y="47625"/>
                </a:cubicBezTo>
                <a:cubicBezTo>
                  <a:pt x="1490572" y="50618"/>
                  <a:pt x="1489883" y="54783"/>
                  <a:pt x="1492250" y="57150"/>
                </a:cubicBezTo>
                <a:cubicBezTo>
                  <a:pt x="1494617" y="59517"/>
                  <a:pt x="1498600" y="59267"/>
                  <a:pt x="1501775" y="60325"/>
                </a:cubicBezTo>
                <a:cubicBezTo>
                  <a:pt x="1508125" y="59267"/>
                  <a:pt x="1515067" y="60029"/>
                  <a:pt x="1520825" y="57150"/>
                </a:cubicBezTo>
                <a:cubicBezTo>
                  <a:pt x="1525463" y="54831"/>
                  <a:pt x="1529098" y="42483"/>
                  <a:pt x="1530350" y="38100"/>
                </a:cubicBezTo>
                <a:cubicBezTo>
                  <a:pt x="1534815" y="22474"/>
                  <a:pt x="1531420" y="27497"/>
                  <a:pt x="1539875" y="12700"/>
                </a:cubicBezTo>
                <a:cubicBezTo>
                  <a:pt x="1541768" y="9387"/>
                  <a:pt x="1543245" y="5559"/>
                  <a:pt x="1546225" y="3175"/>
                </a:cubicBezTo>
                <a:cubicBezTo>
                  <a:pt x="1548838" y="1084"/>
                  <a:pt x="1552575" y="1058"/>
                  <a:pt x="1555750" y="0"/>
                </a:cubicBezTo>
                <a:cubicBezTo>
                  <a:pt x="1562100" y="1058"/>
                  <a:pt x="1569042" y="296"/>
                  <a:pt x="1574800" y="3175"/>
                </a:cubicBezTo>
                <a:cubicBezTo>
                  <a:pt x="1578213" y="4882"/>
                  <a:pt x="1579443" y="9287"/>
                  <a:pt x="1581150" y="12700"/>
                </a:cubicBezTo>
                <a:cubicBezTo>
                  <a:pt x="1588310" y="27019"/>
                  <a:pt x="1579301" y="18101"/>
                  <a:pt x="1590675" y="31750"/>
                </a:cubicBezTo>
                <a:cubicBezTo>
                  <a:pt x="1595793" y="37892"/>
                  <a:pt x="1606211" y="46978"/>
                  <a:pt x="1612900" y="50800"/>
                </a:cubicBezTo>
                <a:cubicBezTo>
                  <a:pt x="1618157" y="53804"/>
                  <a:pt x="1634280" y="56346"/>
                  <a:pt x="1638300" y="57150"/>
                </a:cubicBezTo>
                <a:cubicBezTo>
                  <a:pt x="1641475" y="59267"/>
                  <a:pt x="1644412" y="61793"/>
                  <a:pt x="1647825" y="63500"/>
                </a:cubicBezTo>
                <a:cubicBezTo>
                  <a:pt x="1650818" y="64997"/>
                  <a:pt x="1654565" y="64819"/>
                  <a:pt x="1657350" y="66675"/>
                </a:cubicBezTo>
                <a:cubicBezTo>
                  <a:pt x="1661086" y="69166"/>
                  <a:pt x="1663700" y="73025"/>
                  <a:pt x="1666875" y="76200"/>
                </a:cubicBezTo>
                <a:cubicBezTo>
                  <a:pt x="1667933" y="79375"/>
                  <a:pt x="1670050" y="82378"/>
                  <a:pt x="1670050" y="85725"/>
                </a:cubicBezTo>
                <a:cubicBezTo>
                  <a:pt x="1670050" y="101168"/>
                  <a:pt x="1664959" y="98706"/>
                  <a:pt x="1654175" y="107950"/>
                </a:cubicBezTo>
                <a:cubicBezTo>
                  <a:pt x="1650766" y="110872"/>
                  <a:pt x="1647825" y="114300"/>
                  <a:pt x="1644650" y="117475"/>
                </a:cubicBezTo>
                <a:cubicBezTo>
                  <a:pt x="1642533" y="123825"/>
                  <a:pt x="1636183" y="130175"/>
                  <a:pt x="1638300" y="136525"/>
                </a:cubicBezTo>
                <a:cubicBezTo>
                  <a:pt x="1639358" y="139700"/>
                  <a:pt x="1639108" y="143683"/>
                  <a:pt x="1641475" y="146050"/>
                </a:cubicBezTo>
                <a:cubicBezTo>
                  <a:pt x="1654483" y="159058"/>
                  <a:pt x="1702744" y="155436"/>
                  <a:pt x="1704975" y="155575"/>
                </a:cubicBezTo>
                <a:cubicBezTo>
                  <a:pt x="1707092" y="158750"/>
                  <a:pt x="1708453" y="162587"/>
                  <a:pt x="1711325" y="165100"/>
                </a:cubicBezTo>
                <a:cubicBezTo>
                  <a:pt x="1717068" y="170126"/>
                  <a:pt x="1724979" y="172404"/>
                  <a:pt x="1730375" y="177800"/>
                </a:cubicBezTo>
                <a:lnTo>
                  <a:pt x="1739900" y="187325"/>
                </a:lnTo>
                <a:cubicBezTo>
                  <a:pt x="1749425" y="186267"/>
                  <a:pt x="1759750" y="188116"/>
                  <a:pt x="1768475" y="184150"/>
                </a:cubicBezTo>
                <a:cubicBezTo>
                  <a:pt x="1772784" y="182191"/>
                  <a:pt x="1772477" y="175559"/>
                  <a:pt x="1774825" y="171450"/>
                </a:cubicBezTo>
                <a:cubicBezTo>
                  <a:pt x="1776718" y="168137"/>
                  <a:pt x="1779625" y="165412"/>
                  <a:pt x="1781175" y="161925"/>
                </a:cubicBezTo>
                <a:cubicBezTo>
                  <a:pt x="1783893" y="155808"/>
                  <a:pt x="1782792" y="147608"/>
                  <a:pt x="1787525" y="142875"/>
                </a:cubicBezTo>
                <a:cubicBezTo>
                  <a:pt x="1795032" y="135368"/>
                  <a:pt x="1800246" y="129256"/>
                  <a:pt x="1809750" y="123825"/>
                </a:cubicBezTo>
                <a:cubicBezTo>
                  <a:pt x="1812656" y="122165"/>
                  <a:pt x="1816282" y="122147"/>
                  <a:pt x="1819275" y="120650"/>
                </a:cubicBezTo>
                <a:cubicBezTo>
                  <a:pt x="1822688" y="118943"/>
                  <a:pt x="1825625" y="116417"/>
                  <a:pt x="1828800" y="114300"/>
                </a:cubicBezTo>
                <a:cubicBezTo>
                  <a:pt x="1835150" y="115358"/>
                  <a:pt x="1841566" y="116078"/>
                  <a:pt x="1847850" y="117475"/>
                </a:cubicBezTo>
                <a:cubicBezTo>
                  <a:pt x="1851117" y="118201"/>
                  <a:pt x="1854028" y="120650"/>
                  <a:pt x="1857375" y="120650"/>
                </a:cubicBezTo>
                <a:cubicBezTo>
                  <a:pt x="1869065" y="120650"/>
                  <a:pt x="1880658" y="118533"/>
                  <a:pt x="1892300" y="117475"/>
                </a:cubicBezTo>
                <a:cubicBezTo>
                  <a:pt x="1895475" y="114300"/>
                  <a:pt x="1898089" y="110441"/>
                  <a:pt x="1901825" y="107950"/>
                </a:cubicBezTo>
                <a:cubicBezTo>
                  <a:pt x="1904610" y="106094"/>
                  <a:pt x="1908737" y="106866"/>
                  <a:pt x="1911350" y="104775"/>
                </a:cubicBezTo>
                <a:cubicBezTo>
                  <a:pt x="1914330" y="102391"/>
                  <a:pt x="1915583" y="98425"/>
                  <a:pt x="1917700" y="95250"/>
                </a:cubicBezTo>
                <a:cubicBezTo>
                  <a:pt x="1926167" y="96308"/>
                  <a:pt x="1934868" y="96180"/>
                  <a:pt x="1943100" y="98425"/>
                </a:cubicBezTo>
                <a:cubicBezTo>
                  <a:pt x="1950453" y="100430"/>
                  <a:pt x="1955856" y="108061"/>
                  <a:pt x="1958975" y="114300"/>
                </a:cubicBezTo>
                <a:cubicBezTo>
                  <a:pt x="1960472" y="117293"/>
                  <a:pt x="1961092" y="120650"/>
                  <a:pt x="1962150" y="123825"/>
                </a:cubicBezTo>
                <a:cubicBezTo>
                  <a:pt x="1961092" y="134408"/>
                  <a:pt x="1960294" y="145021"/>
                  <a:pt x="1958975" y="155575"/>
                </a:cubicBezTo>
                <a:cubicBezTo>
                  <a:pt x="1956403" y="176150"/>
                  <a:pt x="1951846" y="180030"/>
                  <a:pt x="1958975" y="203200"/>
                </a:cubicBezTo>
                <a:cubicBezTo>
                  <a:pt x="1962447" y="214483"/>
                  <a:pt x="1971721" y="218188"/>
                  <a:pt x="1981200" y="222250"/>
                </a:cubicBezTo>
                <a:cubicBezTo>
                  <a:pt x="1984276" y="223568"/>
                  <a:pt x="1987464" y="224672"/>
                  <a:pt x="1990725" y="225425"/>
                </a:cubicBezTo>
                <a:cubicBezTo>
                  <a:pt x="2001242" y="227852"/>
                  <a:pt x="2012236" y="228362"/>
                  <a:pt x="2022475" y="231775"/>
                </a:cubicBezTo>
                <a:cubicBezTo>
                  <a:pt x="2025650" y="232833"/>
                  <a:pt x="2028679" y="234535"/>
                  <a:pt x="2032000" y="234950"/>
                </a:cubicBezTo>
                <a:cubicBezTo>
                  <a:pt x="2045692" y="236662"/>
                  <a:pt x="2059517" y="237067"/>
                  <a:pt x="2073275" y="238125"/>
                </a:cubicBezTo>
                <a:cubicBezTo>
                  <a:pt x="2090296" y="243799"/>
                  <a:pt x="2075687" y="239367"/>
                  <a:pt x="2098675" y="244475"/>
                </a:cubicBezTo>
                <a:cubicBezTo>
                  <a:pt x="2102935" y="245422"/>
                  <a:pt x="2107096" y="246794"/>
                  <a:pt x="2111375" y="247650"/>
                </a:cubicBezTo>
                <a:cubicBezTo>
                  <a:pt x="2126634" y="250702"/>
                  <a:pt x="2140217" y="252049"/>
                  <a:pt x="2155825" y="254000"/>
                </a:cubicBezTo>
                <a:cubicBezTo>
                  <a:pt x="2159000" y="256117"/>
                  <a:pt x="2161843" y="258847"/>
                  <a:pt x="2165350" y="260350"/>
                </a:cubicBezTo>
                <a:cubicBezTo>
                  <a:pt x="2194053" y="272651"/>
                  <a:pt x="2163662" y="253933"/>
                  <a:pt x="2187575" y="269875"/>
                </a:cubicBezTo>
                <a:cubicBezTo>
                  <a:pt x="2201360" y="297446"/>
                  <a:pt x="2185430" y="268931"/>
                  <a:pt x="2203450" y="292100"/>
                </a:cubicBezTo>
                <a:cubicBezTo>
                  <a:pt x="2208135" y="298124"/>
                  <a:pt x="2212444" y="304479"/>
                  <a:pt x="2216150" y="311150"/>
                </a:cubicBezTo>
                <a:cubicBezTo>
                  <a:pt x="2217775" y="314076"/>
                  <a:pt x="2217380" y="317952"/>
                  <a:pt x="2219325" y="320675"/>
                </a:cubicBezTo>
                <a:cubicBezTo>
                  <a:pt x="2222805" y="325547"/>
                  <a:pt x="2228083" y="328869"/>
                  <a:pt x="2232025" y="333375"/>
                </a:cubicBezTo>
                <a:cubicBezTo>
                  <a:pt x="2240096" y="342598"/>
                  <a:pt x="2241315" y="346380"/>
                  <a:pt x="2247900" y="355600"/>
                </a:cubicBezTo>
                <a:cubicBezTo>
                  <a:pt x="2250976" y="359906"/>
                  <a:pt x="2254390" y="363965"/>
                  <a:pt x="2257425" y="368300"/>
                </a:cubicBezTo>
                <a:cubicBezTo>
                  <a:pt x="2261802" y="374552"/>
                  <a:pt x="2263775" y="383117"/>
                  <a:pt x="2270125" y="387350"/>
                </a:cubicBezTo>
                <a:cubicBezTo>
                  <a:pt x="2273300" y="389467"/>
                  <a:pt x="2276814" y="391147"/>
                  <a:pt x="2279650" y="393700"/>
                </a:cubicBezTo>
                <a:cubicBezTo>
                  <a:pt x="2287437" y="400709"/>
                  <a:pt x="2294467" y="408517"/>
                  <a:pt x="2301875" y="415925"/>
                </a:cubicBezTo>
                <a:cubicBezTo>
                  <a:pt x="2308897" y="422947"/>
                  <a:pt x="2312084" y="427380"/>
                  <a:pt x="2320925" y="431800"/>
                </a:cubicBezTo>
                <a:cubicBezTo>
                  <a:pt x="2323918" y="433297"/>
                  <a:pt x="2327275" y="433917"/>
                  <a:pt x="2330450" y="434975"/>
                </a:cubicBezTo>
                <a:cubicBezTo>
                  <a:pt x="2358277" y="462802"/>
                  <a:pt x="2322978" y="428748"/>
                  <a:pt x="2349500" y="450850"/>
                </a:cubicBezTo>
                <a:cubicBezTo>
                  <a:pt x="2352949" y="453725"/>
                  <a:pt x="2355850" y="457200"/>
                  <a:pt x="2359025" y="460375"/>
                </a:cubicBezTo>
                <a:cubicBezTo>
                  <a:pt x="2360083" y="463550"/>
                  <a:pt x="2360575" y="466974"/>
                  <a:pt x="2362200" y="469900"/>
                </a:cubicBezTo>
                <a:cubicBezTo>
                  <a:pt x="2365906" y="476571"/>
                  <a:pt x="2372487" y="481710"/>
                  <a:pt x="2374900" y="488950"/>
                </a:cubicBezTo>
                <a:cubicBezTo>
                  <a:pt x="2375958" y="492125"/>
                  <a:pt x="2377156" y="495257"/>
                  <a:pt x="2378075" y="498475"/>
                </a:cubicBezTo>
                <a:cubicBezTo>
                  <a:pt x="2379431" y="503222"/>
                  <a:pt x="2381887" y="515625"/>
                  <a:pt x="2384425" y="520700"/>
                </a:cubicBezTo>
                <a:cubicBezTo>
                  <a:pt x="2386132" y="524113"/>
                  <a:pt x="2388882" y="526912"/>
                  <a:pt x="2390775" y="530225"/>
                </a:cubicBezTo>
                <a:cubicBezTo>
                  <a:pt x="2409548" y="563078"/>
                  <a:pt x="2383042" y="521899"/>
                  <a:pt x="2406650" y="555625"/>
                </a:cubicBezTo>
                <a:cubicBezTo>
                  <a:pt x="2411027" y="561877"/>
                  <a:pt x="2416937" y="567435"/>
                  <a:pt x="2419350" y="574675"/>
                </a:cubicBezTo>
                <a:lnTo>
                  <a:pt x="2425700" y="593725"/>
                </a:lnTo>
                <a:cubicBezTo>
                  <a:pt x="2424642" y="599017"/>
                  <a:pt x="2424420" y="604547"/>
                  <a:pt x="2422525" y="609600"/>
                </a:cubicBezTo>
                <a:cubicBezTo>
                  <a:pt x="2421185" y="613173"/>
                  <a:pt x="2417882" y="615712"/>
                  <a:pt x="2416175" y="619125"/>
                </a:cubicBezTo>
                <a:cubicBezTo>
                  <a:pt x="2414678" y="622118"/>
                  <a:pt x="2414497" y="625657"/>
                  <a:pt x="2413000" y="628650"/>
                </a:cubicBezTo>
                <a:cubicBezTo>
                  <a:pt x="2411293" y="632063"/>
                  <a:pt x="2408357" y="634762"/>
                  <a:pt x="2406650" y="638175"/>
                </a:cubicBezTo>
                <a:cubicBezTo>
                  <a:pt x="2393505" y="664465"/>
                  <a:pt x="2415323" y="629928"/>
                  <a:pt x="2397125" y="657225"/>
                </a:cubicBezTo>
                <a:cubicBezTo>
                  <a:pt x="2392400" y="680851"/>
                  <a:pt x="2389814" y="686477"/>
                  <a:pt x="2397125" y="717550"/>
                </a:cubicBezTo>
                <a:cubicBezTo>
                  <a:pt x="2399237" y="726528"/>
                  <a:pt x="2417005" y="731217"/>
                  <a:pt x="2422525" y="733425"/>
                </a:cubicBezTo>
                <a:cubicBezTo>
                  <a:pt x="2427817" y="732367"/>
                  <a:pt x="2433715" y="732927"/>
                  <a:pt x="2438400" y="730250"/>
                </a:cubicBezTo>
                <a:cubicBezTo>
                  <a:pt x="2441713" y="728357"/>
                  <a:pt x="2443043" y="724138"/>
                  <a:pt x="2444750" y="720725"/>
                </a:cubicBezTo>
                <a:cubicBezTo>
                  <a:pt x="2446247" y="717732"/>
                  <a:pt x="2447044" y="714429"/>
                  <a:pt x="2447925" y="711200"/>
                </a:cubicBezTo>
                <a:cubicBezTo>
                  <a:pt x="2450221" y="702780"/>
                  <a:pt x="2452158" y="694267"/>
                  <a:pt x="2454275" y="685800"/>
                </a:cubicBezTo>
                <a:lnTo>
                  <a:pt x="2457450" y="673100"/>
                </a:lnTo>
                <a:lnTo>
                  <a:pt x="2460625" y="660400"/>
                </a:lnTo>
                <a:cubicBezTo>
                  <a:pt x="2461683" y="621242"/>
                  <a:pt x="2461844" y="582049"/>
                  <a:pt x="2463800" y="542925"/>
                </a:cubicBezTo>
                <a:cubicBezTo>
                  <a:pt x="2463967" y="539582"/>
                  <a:pt x="2465478" y="536393"/>
                  <a:pt x="2466975" y="533400"/>
                </a:cubicBezTo>
                <a:cubicBezTo>
                  <a:pt x="2468682" y="529987"/>
                  <a:pt x="2470882" y="526806"/>
                  <a:pt x="2473325" y="523875"/>
                </a:cubicBezTo>
                <a:cubicBezTo>
                  <a:pt x="2476200" y="520426"/>
                  <a:pt x="2479675" y="517525"/>
                  <a:pt x="2482850" y="514350"/>
                </a:cubicBezTo>
                <a:cubicBezTo>
                  <a:pt x="2492375" y="516467"/>
                  <a:pt x="2502168" y="517614"/>
                  <a:pt x="2511425" y="520700"/>
                </a:cubicBezTo>
                <a:cubicBezTo>
                  <a:pt x="2515045" y="521907"/>
                  <a:pt x="2518114" y="524497"/>
                  <a:pt x="2520950" y="527050"/>
                </a:cubicBezTo>
                <a:cubicBezTo>
                  <a:pt x="2528737" y="534059"/>
                  <a:pt x="2535767" y="541867"/>
                  <a:pt x="2543175" y="549275"/>
                </a:cubicBezTo>
                <a:cubicBezTo>
                  <a:pt x="2554138" y="560238"/>
                  <a:pt x="2552721" y="557923"/>
                  <a:pt x="2562225" y="571500"/>
                </a:cubicBezTo>
                <a:cubicBezTo>
                  <a:pt x="2566602" y="577752"/>
                  <a:pt x="2572512" y="583310"/>
                  <a:pt x="2574925" y="590550"/>
                </a:cubicBezTo>
                <a:cubicBezTo>
                  <a:pt x="2578107" y="600096"/>
                  <a:pt x="2577611" y="601394"/>
                  <a:pt x="2584450" y="609600"/>
                </a:cubicBezTo>
                <a:cubicBezTo>
                  <a:pt x="2587325" y="613049"/>
                  <a:pt x="2591100" y="615676"/>
                  <a:pt x="2593975" y="619125"/>
                </a:cubicBezTo>
                <a:cubicBezTo>
                  <a:pt x="2596418" y="622056"/>
                  <a:pt x="2600325" y="628650"/>
                  <a:pt x="2600325" y="628650"/>
                </a:cubicBezTo>
                <a:lnTo>
                  <a:pt x="2701925" y="736600"/>
                </a:lnTo>
                <a:lnTo>
                  <a:pt x="2781300" y="746125"/>
                </a:lnTo>
                <a:lnTo>
                  <a:pt x="2863850" y="714375"/>
                </a:lnTo>
                <a:lnTo>
                  <a:pt x="2889250" y="641350"/>
                </a:lnTo>
                <a:lnTo>
                  <a:pt x="2959100" y="622300"/>
                </a:lnTo>
                <a:lnTo>
                  <a:pt x="2984500" y="577850"/>
                </a:lnTo>
                <a:lnTo>
                  <a:pt x="3000375" y="625475"/>
                </a:lnTo>
                <a:lnTo>
                  <a:pt x="3032125" y="638175"/>
                </a:lnTo>
                <a:lnTo>
                  <a:pt x="3032125" y="590550"/>
                </a:lnTo>
                <a:lnTo>
                  <a:pt x="3060700" y="587375"/>
                </a:lnTo>
                <a:lnTo>
                  <a:pt x="3124200" y="612775"/>
                </a:lnTo>
                <a:lnTo>
                  <a:pt x="3159125" y="593725"/>
                </a:lnTo>
                <a:lnTo>
                  <a:pt x="3184525" y="666750"/>
                </a:lnTo>
                <a:lnTo>
                  <a:pt x="3235325" y="704850"/>
                </a:lnTo>
                <a:lnTo>
                  <a:pt x="3257550" y="685800"/>
                </a:lnTo>
                <a:lnTo>
                  <a:pt x="3270250" y="787400"/>
                </a:lnTo>
                <a:lnTo>
                  <a:pt x="3251200" y="939800"/>
                </a:lnTo>
                <a:lnTo>
                  <a:pt x="3270250" y="1130300"/>
                </a:lnTo>
                <a:lnTo>
                  <a:pt x="3225800" y="1536700"/>
                </a:lnTo>
                <a:lnTo>
                  <a:pt x="3162300" y="1971675"/>
                </a:lnTo>
                <a:lnTo>
                  <a:pt x="3038475" y="2238375"/>
                </a:lnTo>
                <a:lnTo>
                  <a:pt x="2813050" y="2425700"/>
                </a:lnTo>
                <a:lnTo>
                  <a:pt x="2660650" y="2524125"/>
                </a:lnTo>
                <a:lnTo>
                  <a:pt x="2460625" y="2581275"/>
                </a:lnTo>
                <a:lnTo>
                  <a:pt x="2114550" y="2638425"/>
                </a:lnTo>
                <a:lnTo>
                  <a:pt x="1733550" y="2651125"/>
                </a:lnTo>
                <a:lnTo>
                  <a:pt x="1657350" y="2635250"/>
                </a:lnTo>
                <a:cubicBezTo>
                  <a:pt x="1660206" y="2634179"/>
                  <a:pt x="1686248" y="2626608"/>
                  <a:pt x="1692275" y="2619375"/>
                </a:cubicBezTo>
                <a:cubicBezTo>
                  <a:pt x="1696634" y="2614144"/>
                  <a:pt x="1699594" y="2603767"/>
                  <a:pt x="1701800" y="2597150"/>
                </a:cubicBezTo>
                <a:cubicBezTo>
                  <a:pt x="1702858" y="2569633"/>
                  <a:pt x="1700296" y="2541737"/>
                  <a:pt x="1704975" y="2514600"/>
                </a:cubicBezTo>
                <a:cubicBezTo>
                  <a:pt x="1705403" y="2512115"/>
                  <a:pt x="1724323" y="2501283"/>
                  <a:pt x="1727200" y="2498725"/>
                </a:cubicBezTo>
                <a:cubicBezTo>
                  <a:pt x="1733912" y="2492759"/>
                  <a:pt x="1741269" y="2487147"/>
                  <a:pt x="1746250" y="2479675"/>
                </a:cubicBezTo>
                <a:cubicBezTo>
                  <a:pt x="1755535" y="2465747"/>
                  <a:pt x="1750310" y="2473203"/>
                  <a:pt x="1762125" y="2457450"/>
                </a:cubicBezTo>
                <a:cubicBezTo>
                  <a:pt x="1777142" y="2412398"/>
                  <a:pt x="1767789" y="2444081"/>
                  <a:pt x="1762125" y="2333625"/>
                </a:cubicBezTo>
                <a:cubicBezTo>
                  <a:pt x="1761954" y="2330283"/>
                  <a:pt x="1759762" y="2327347"/>
                  <a:pt x="1758950" y="2324100"/>
                </a:cubicBezTo>
                <a:cubicBezTo>
                  <a:pt x="1757641" y="2318865"/>
                  <a:pt x="1756833" y="2313517"/>
                  <a:pt x="1755775" y="2308225"/>
                </a:cubicBezTo>
                <a:cubicBezTo>
                  <a:pt x="1754717" y="2286000"/>
                  <a:pt x="1754307" y="2263735"/>
                  <a:pt x="1752600" y="2241550"/>
                </a:cubicBezTo>
                <a:cubicBezTo>
                  <a:pt x="1752152" y="2235728"/>
                  <a:pt x="1747837" y="2219322"/>
                  <a:pt x="1746250" y="2212975"/>
                </a:cubicBezTo>
                <a:cubicBezTo>
                  <a:pt x="1745443" y="2202478"/>
                  <a:pt x="1746041" y="2166624"/>
                  <a:pt x="1736725" y="2152650"/>
                </a:cubicBezTo>
                <a:cubicBezTo>
                  <a:pt x="1734608" y="2149475"/>
                  <a:pt x="1733247" y="2145638"/>
                  <a:pt x="1730375" y="2143125"/>
                </a:cubicBezTo>
                <a:cubicBezTo>
                  <a:pt x="1724632" y="2138099"/>
                  <a:pt x="1717675" y="2134658"/>
                  <a:pt x="1711325" y="2130425"/>
                </a:cubicBezTo>
                <a:lnTo>
                  <a:pt x="1701800" y="2124075"/>
                </a:lnTo>
                <a:cubicBezTo>
                  <a:pt x="1698625" y="2121958"/>
                  <a:pt x="1695688" y="2119432"/>
                  <a:pt x="1692275" y="2117725"/>
                </a:cubicBezTo>
                <a:cubicBezTo>
                  <a:pt x="1688042" y="2115608"/>
                  <a:pt x="1683925" y="2113239"/>
                  <a:pt x="1679575" y="2111375"/>
                </a:cubicBezTo>
                <a:cubicBezTo>
                  <a:pt x="1676499" y="2110057"/>
                  <a:pt x="1673371" y="2108615"/>
                  <a:pt x="1670050" y="2108200"/>
                </a:cubicBezTo>
                <a:cubicBezTo>
                  <a:pt x="1656358" y="2106488"/>
                  <a:pt x="1642533" y="2106083"/>
                  <a:pt x="1628775" y="2105025"/>
                </a:cubicBezTo>
                <a:cubicBezTo>
                  <a:pt x="1624542" y="2103967"/>
                  <a:pt x="1620354" y="2102706"/>
                  <a:pt x="1616075" y="2101850"/>
                </a:cubicBezTo>
                <a:cubicBezTo>
                  <a:pt x="1609762" y="2100587"/>
                  <a:pt x="1603270" y="2100236"/>
                  <a:pt x="1597025" y="2098675"/>
                </a:cubicBezTo>
                <a:cubicBezTo>
                  <a:pt x="1590531" y="2097052"/>
                  <a:pt x="1577975" y="2092325"/>
                  <a:pt x="1577975" y="2092325"/>
                </a:cubicBezTo>
                <a:cubicBezTo>
                  <a:pt x="1554575" y="2074775"/>
                  <a:pt x="1576353" y="2088542"/>
                  <a:pt x="1552575" y="2079625"/>
                </a:cubicBezTo>
                <a:cubicBezTo>
                  <a:pt x="1548143" y="2077963"/>
                  <a:pt x="1544225" y="2075139"/>
                  <a:pt x="1539875" y="2073275"/>
                </a:cubicBezTo>
                <a:cubicBezTo>
                  <a:pt x="1536799" y="2071957"/>
                  <a:pt x="1533525" y="2071158"/>
                  <a:pt x="1530350" y="2070100"/>
                </a:cubicBezTo>
                <a:cubicBezTo>
                  <a:pt x="1527175" y="2066925"/>
                  <a:pt x="1524479" y="2063185"/>
                  <a:pt x="1520825" y="2060575"/>
                </a:cubicBezTo>
                <a:cubicBezTo>
                  <a:pt x="1505409" y="2049564"/>
                  <a:pt x="1512419" y="2057959"/>
                  <a:pt x="1498600" y="2051050"/>
                </a:cubicBezTo>
                <a:cubicBezTo>
                  <a:pt x="1495187" y="2049343"/>
                  <a:pt x="1492756" y="2045704"/>
                  <a:pt x="1489075" y="2044700"/>
                </a:cubicBezTo>
                <a:cubicBezTo>
                  <a:pt x="1480843" y="2042455"/>
                  <a:pt x="1472142" y="2042583"/>
                  <a:pt x="1463675" y="2041525"/>
                </a:cubicBezTo>
                <a:cubicBezTo>
                  <a:pt x="1445683" y="2042583"/>
                  <a:pt x="1427594" y="2042553"/>
                  <a:pt x="1409700" y="2044700"/>
                </a:cubicBezTo>
                <a:cubicBezTo>
                  <a:pt x="1401035" y="2045740"/>
                  <a:pt x="1392767" y="2048933"/>
                  <a:pt x="1384300" y="2051050"/>
                </a:cubicBezTo>
                <a:cubicBezTo>
                  <a:pt x="1368353" y="2055037"/>
                  <a:pt x="1375740" y="2052845"/>
                  <a:pt x="1362075" y="2057400"/>
                </a:cubicBezTo>
                <a:cubicBezTo>
                  <a:pt x="1351492" y="2056342"/>
                  <a:pt x="1340552" y="2057147"/>
                  <a:pt x="1330325" y="2054225"/>
                </a:cubicBezTo>
                <a:cubicBezTo>
                  <a:pt x="1327107" y="2053306"/>
                  <a:pt x="1337237" y="2053141"/>
                  <a:pt x="1339850" y="2051050"/>
                </a:cubicBezTo>
                <a:cubicBezTo>
                  <a:pt x="1342830" y="2048666"/>
                  <a:pt x="1343502" y="2044223"/>
                  <a:pt x="1346200" y="2041525"/>
                </a:cubicBezTo>
                <a:cubicBezTo>
                  <a:pt x="1348898" y="2038827"/>
                  <a:pt x="1352550" y="2037292"/>
                  <a:pt x="1355725" y="2035175"/>
                </a:cubicBezTo>
                <a:cubicBezTo>
                  <a:pt x="1354667" y="2027767"/>
                  <a:pt x="1355589" y="2019789"/>
                  <a:pt x="1352550" y="2012950"/>
                </a:cubicBezTo>
                <a:cubicBezTo>
                  <a:pt x="1349693" y="2006521"/>
                  <a:pt x="1334950" y="2004848"/>
                  <a:pt x="1330325" y="2003425"/>
                </a:cubicBezTo>
                <a:cubicBezTo>
                  <a:pt x="1320729" y="2000472"/>
                  <a:pt x="1301750" y="1993900"/>
                  <a:pt x="1301750" y="1993900"/>
                </a:cubicBezTo>
                <a:cubicBezTo>
                  <a:pt x="1290108" y="1994958"/>
                  <a:pt x="1278288" y="1994782"/>
                  <a:pt x="1266825" y="1997075"/>
                </a:cubicBezTo>
                <a:cubicBezTo>
                  <a:pt x="1262184" y="1998003"/>
                  <a:pt x="1258475" y="2001561"/>
                  <a:pt x="1254125" y="2003425"/>
                </a:cubicBezTo>
                <a:cubicBezTo>
                  <a:pt x="1251049" y="2004743"/>
                  <a:pt x="1247775" y="2005542"/>
                  <a:pt x="1244600" y="2006600"/>
                </a:cubicBezTo>
                <a:cubicBezTo>
                  <a:pt x="1218608" y="1997936"/>
                  <a:pt x="1254159" y="2013018"/>
                  <a:pt x="1231900" y="1968500"/>
                </a:cubicBezTo>
                <a:cubicBezTo>
                  <a:pt x="1229487" y="1963673"/>
                  <a:pt x="1221317" y="1966383"/>
                  <a:pt x="1216025" y="1965325"/>
                </a:cubicBezTo>
                <a:cubicBezTo>
                  <a:pt x="1191683" y="1966383"/>
                  <a:pt x="1167293" y="1966631"/>
                  <a:pt x="1143000" y="1968500"/>
                </a:cubicBezTo>
                <a:cubicBezTo>
                  <a:pt x="1139663" y="1968757"/>
                  <a:pt x="1136757" y="1971019"/>
                  <a:pt x="1133475" y="1971675"/>
                </a:cubicBezTo>
                <a:cubicBezTo>
                  <a:pt x="1126137" y="1973143"/>
                  <a:pt x="1118632" y="1973620"/>
                  <a:pt x="1111250" y="1974850"/>
                </a:cubicBezTo>
                <a:cubicBezTo>
                  <a:pt x="1103008" y="1976224"/>
                  <a:pt x="1084062" y="1980793"/>
                  <a:pt x="1076325" y="1981200"/>
                </a:cubicBezTo>
                <a:cubicBezTo>
                  <a:pt x="1042489" y="1982981"/>
                  <a:pt x="1008592" y="1983317"/>
                  <a:pt x="974725" y="1984375"/>
                </a:cubicBezTo>
                <a:cubicBezTo>
                  <a:pt x="971550" y="1985433"/>
                  <a:pt x="968418" y="1986631"/>
                  <a:pt x="965200" y="1987550"/>
                </a:cubicBezTo>
                <a:cubicBezTo>
                  <a:pt x="961004" y="1988749"/>
                  <a:pt x="956511" y="1989006"/>
                  <a:pt x="952500" y="1990725"/>
                </a:cubicBezTo>
                <a:cubicBezTo>
                  <a:pt x="947586" y="1992831"/>
                  <a:pt x="933528" y="2004741"/>
                  <a:pt x="930275" y="2006600"/>
                </a:cubicBezTo>
                <a:cubicBezTo>
                  <a:pt x="927369" y="2008260"/>
                  <a:pt x="923676" y="2008150"/>
                  <a:pt x="920750" y="2009775"/>
                </a:cubicBezTo>
                <a:cubicBezTo>
                  <a:pt x="914079" y="2013481"/>
                  <a:pt x="908050" y="2018242"/>
                  <a:pt x="901700" y="2022475"/>
                </a:cubicBezTo>
                <a:cubicBezTo>
                  <a:pt x="898525" y="2024592"/>
                  <a:pt x="895877" y="2027900"/>
                  <a:pt x="892175" y="2028825"/>
                </a:cubicBezTo>
                <a:cubicBezTo>
                  <a:pt x="859576" y="2036975"/>
                  <a:pt x="899981" y="2025898"/>
                  <a:pt x="866775" y="2038350"/>
                </a:cubicBezTo>
                <a:cubicBezTo>
                  <a:pt x="862689" y="2039882"/>
                  <a:pt x="858271" y="2040326"/>
                  <a:pt x="854075" y="2041525"/>
                </a:cubicBezTo>
                <a:cubicBezTo>
                  <a:pt x="838469" y="2045984"/>
                  <a:pt x="848805" y="2044340"/>
                  <a:pt x="828675" y="2051050"/>
                </a:cubicBezTo>
                <a:cubicBezTo>
                  <a:pt x="824535" y="2052430"/>
                  <a:pt x="820208" y="2053167"/>
                  <a:pt x="815975" y="2054225"/>
                </a:cubicBezTo>
                <a:cubicBezTo>
                  <a:pt x="797670" y="2066428"/>
                  <a:pt x="815328" y="2055863"/>
                  <a:pt x="796925" y="2063750"/>
                </a:cubicBezTo>
                <a:cubicBezTo>
                  <a:pt x="769462" y="2075520"/>
                  <a:pt x="797038" y="2065829"/>
                  <a:pt x="774700" y="2073275"/>
                </a:cubicBezTo>
                <a:cubicBezTo>
                  <a:pt x="771525" y="2076450"/>
                  <a:pt x="769074" y="2080572"/>
                  <a:pt x="765175" y="2082800"/>
                </a:cubicBezTo>
                <a:cubicBezTo>
                  <a:pt x="761386" y="2084965"/>
                  <a:pt x="756671" y="2084776"/>
                  <a:pt x="752475" y="2085975"/>
                </a:cubicBezTo>
                <a:cubicBezTo>
                  <a:pt x="749257" y="2086894"/>
                  <a:pt x="746026" y="2087832"/>
                  <a:pt x="742950" y="2089150"/>
                </a:cubicBezTo>
                <a:cubicBezTo>
                  <a:pt x="719946" y="2099009"/>
                  <a:pt x="741136" y="2093323"/>
                  <a:pt x="714375" y="2098675"/>
                </a:cubicBezTo>
                <a:cubicBezTo>
                  <a:pt x="689969" y="2114946"/>
                  <a:pt x="702853" y="2112630"/>
                  <a:pt x="676275" y="2108200"/>
                </a:cubicBezTo>
                <a:cubicBezTo>
                  <a:pt x="674158" y="2105025"/>
                  <a:pt x="672797" y="2101188"/>
                  <a:pt x="669925" y="2098675"/>
                </a:cubicBezTo>
                <a:cubicBezTo>
                  <a:pt x="664182" y="2093649"/>
                  <a:pt x="650875" y="2085975"/>
                  <a:pt x="650875" y="2085975"/>
                </a:cubicBezTo>
                <a:cubicBezTo>
                  <a:pt x="634612" y="2086345"/>
                  <a:pt x="531779" y="2056494"/>
                  <a:pt x="501650" y="2098675"/>
                </a:cubicBezTo>
                <a:cubicBezTo>
                  <a:pt x="498899" y="2102526"/>
                  <a:pt x="497164" y="2107025"/>
                  <a:pt x="495300" y="2111375"/>
                </a:cubicBezTo>
                <a:cubicBezTo>
                  <a:pt x="493982" y="2114451"/>
                  <a:pt x="493183" y="2117725"/>
                  <a:pt x="492125" y="2120900"/>
                </a:cubicBezTo>
                <a:cubicBezTo>
                  <a:pt x="490008" y="2141008"/>
                  <a:pt x="488969" y="2161260"/>
                  <a:pt x="485775" y="2181225"/>
                </a:cubicBezTo>
                <a:cubicBezTo>
                  <a:pt x="484717" y="2187834"/>
                  <a:pt x="483138" y="2194706"/>
                  <a:pt x="479425" y="2200275"/>
                </a:cubicBezTo>
                <a:cubicBezTo>
                  <a:pt x="477308" y="2203450"/>
                  <a:pt x="475947" y="2207287"/>
                  <a:pt x="473075" y="2209800"/>
                </a:cubicBezTo>
                <a:cubicBezTo>
                  <a:pt x="467332" y="2214826"/>
                  <a:pt x="454025" y="2222500"/>
                  <a:pt x="454025" y="2222500"/>
                </a:cubicBezTo>
                <a:cubicBezTo>
                  <a:pt x="443962" y="2237594"/>
                  <a:pt x="451295" y="2230818"/>
                  <a:pt x="428625" y="2238375"/>
                </a:cubicBezTo>
                <a:lnTo>
                  <a:pt x="419100" y="2241550"/>
                </a:lnTo>
                <a:cubicBezTo>
                  <a:pt x="412750" y="2240492"/>
                  <a:pt x="404289" y="2243220"/>
                  <a:pt x="400050" y="2238375"/>
                </a:cubicBezTo>
                <a:cubicBezTo>
                  <a:pt x="395456" y="2233124"/>
                  <a:pt x="396083" y="2203448"/>
                  <a:pt x="400050" y="2197100"/>
                </a:cubicBezTo>
                <a:cubicBezTo>
                  <a:pt x="403806" y="2191091"/>
                  <a:pt x="423810" y="2188538"/>
                  <a:pt x="428625" y="2187575"/>
                </a:cubicBezTo>
                <a:cubicBezTo>
                  <a:pt x="444682" y="2176871"/>
                  <a:pt x="433657" y="2187036"/>
                  <a:pt x="441325" y="2171700"/>
                </a:cubicBezTo>
                <a:cubicBezTo>
                  <a:pt x="443032" y="2168287"/>
                  <a:pt x="446125" y="2165662"/>
                  <a:pt x="447675" y="2162175"/>
                </a:cubicBezTo>
                <a:cubicBezTo>
                  <a:pt x="450393" y="2156058"/>
                  <a:pt x="451908" y="2149475"/>
                  <a:pt x="454025" y="2143125"/>
                </a:cubicBezTo>
                <a:lnTo>
                  <a:pt x="457200" y="2133600"/>
                </a:lnTo>
                <a:cubicBezTo>
                  <a:pt x="456142" y="2112433"/>
                  <a:pt x="455861" y="2091213"/>
                  <a:pt x="454025" y="2070100"/>
                </a:cubicBezTo>
                <a:cubicBezTo>
                  <a:pt x="453496" y="2064019"/>
                  <a:pt x="446488" y="2052347"/>
                  <a:pt x="444500" y="2047875"/>
                </a:cubicBezTo>
                <a:cubicBezTo>
                  <a:pt x="442185" y="2042667"/>
                  <a:pt x="441171" y="2036833"/>
                  <a:pt x="438150" y="2032000"/>
                </a:cubicBezTo>
                <a:cubicBezTo>
                  <a:pt x="435770" y="2028192"/>
                  <a:pt x="431382" y="2026019"/>
                  <a:pt x="428625" y="2022475"/>
                </a:cubicBezTo>
                <a:cubicBezTo>
                  <a:pt x="423940" y="2016451"/>
                  <a:pt x="420504" y="2009530"/>
                  <a:pt x="415925" y="2003425"/>
                </a:cubicBezTo>
                <a:lnTo>
                  <a:pt x="406400" y="1990725"/>
                </a:lnTo>
                <a:cubicBezTo>
                  <a:pt x="404283" y="1984375"/>
                  <a:pt x="399311" y="1978328"/>
                  <a:pt x="400050" y="1971675"/>
                </a:cubicBezTo>
                <a:cubicBezTo>
                  <a:pt x="403595" y="1939774"/>
                  <a:pt x="400194" y="1952192"/>
                  <a:pt x="406400" y="1933575"/>
                </a:cubicBezTo>
                <a:cubicBezTo>
                  <a:pt x="414778" y="1935670"/>
                  <a:pt x="422486" y="1936084"/>
                  <a:pt x="428625" y="1943100"/>
                </a:cubicBezTo>
                <a:lnTo>
                  <a:pt x="447675" y="1971675"/>
                </a:lnTo>
                <a:cubicBezTo>
                  <a:pt x="449792" y="1974850"/>
                  <a:pt x="450405" y="1979993"/>
                  <a:pt x="454025" y="1981200"/>
                </a:cubicBezTo>
                <a:lnTo>
                  <a:pt x="463550" y="1984375"/>
                </a:lnTo>
                <a:cubicBezTo>
                  <a:pt x="464983" y="1984295"/>
                  <a:pt x="512959" y="1986658"/>
                  <a:pt x="530225" y="1978025"/>
                </a:cubicBezTo>
                <a:cubicBezTo>
                  <a:pt x="533638" y="1976318"/>
                  <a:pt x="536575" y="1973792"/>
                  <a:pt x="539750" y="1971675"/>
                </a:cubicBezTo>
                <a:cubicBezTo>
                  <a:pt x="541867" y="1968500"/>
                  <a:pt x="545679" y="1965943"/>
                  <a:pt x="546100" y="1962150"/>
                </a:cubicBezTo>
                <a:cubicBezTo>
                  <a:pt x="546811" y="1955752"/>
                  <a:pt x="543835" y="1949473"/>
                  <a:pt x="542925" y="1943100"/>
                </a:cubicBezTo>
                <a:cubicBezTo>
                  <a:pt x="542775" y="1942052"/>
                  <a:pt x="542925" y="1940983"/>
                  <a:pt x="542925" y="1939925"/>
                </a:cubicBezTo>
                <a:lnTo>
                  <a:pt x="498475" y="1879600"/>
                </a:lnTo>
                <a:lnTo>
                  <a:pt x="463550" y="1666875"/>
                </a:lnTo>
                <a:lnTo>
                  <a:pt x="428625" y="1628775"/>
                </a:lnTo>
                <a:lnTo>
                  <a:pt x="371475" y="1485900"/>
                </a:lnTo>
                <a:lnTo>
                  <a:pt x="288925" y="1457325"/>
                </a:lnTo>
                <a:lnTo>
                  <a:pt x="231775" y="1444625"/>
                </a:lnTo>
                <a:lnTo>
                  <a:pt x="190500" y="1406525"/>
                </a:lnTo>
                <a:lnTo>
                  <a:pt x="165100" y="1460500"/>
                </a:lnTo>
                <a:lnTo>
                  <a:pt x="123825" y="1409700"/>
                </a:lnTo>
                <a:lnTo>
                  <a:pt x="120650" y="1352550"/>
                </a:lnTo>
                <a:lnTo>
                  <a:pt x="111125" y="1320800"/>
                </a:lnTo>
                <a:lnTo>
                  <a:pt x="165100" y="1279525"/>
                </a:lnTo>
                <a:lnTo>
                  <a:pt x="123825" y="1250950"/>
                </a:lnTo>
                <a:lnTo>
                  <a:pt x="161925" y="1200150"/>
                </a:lnTo>
                <a:lnTo>
                  <a:pt x="0" y="1063625"/>
                </a:lnTo>
                <a:lnTo>
                  <a:pt x="114300" y="936625"/>
                </a:lnTo>
                <a:lnTo>
                  <a:pt x="149225" y="892175"/>
                </a:lnTo>
                <a:lnTo>
                  <a:pt x="238125" y="873125"/>
                </a:lnTo>
                <a:lnTo>
                  <a:pt x="250825" y="825500"/>
                </a:lnTo>
                <a:lnTo>
                  <a:pt x="215900" y="752475"/>
                </a:lnTo>
                <a:lnTo>
                  <a:pt x="187325" y="730250"/>
                </a:lnTo>
                <a:lnTo>
                  <a:pt x="295275" y="504825"/>
                </a:lnTo>
                <a:lnTo>
                  <a:pt x="377825" y="501650"/>
                </a:lnTo>
                <a:cubicBezTo>
                  <a:pt x="387350" y="499533"/>
                  <a:pt x="396934" y="497667"/>
                  <a:pt x="406400" y="495300"/>
                </a:cubicBezTo>
                <a:cubicBezTo>
                  <a:pt x="409647" y="494488"/>
                  <a:pt x="413140" y="493981"/>
                  <a:pt x="415925" y="492125"/>
                </a:cubicBezTo>
                <a:cubicBezTo>
                  <a:pt x="421191" y="488614"/>
                  <a:pt x="428872" y="478932"/>
                  <a:pt x="431800" y="473075"/>
                </a:cubicBezTo>
                <a:cubicBezTo>
                  <a:pt x="433297" y="470082"/>
                  <a:pt x="433478" y="466543"/>
                  <a:pt x="434975" y="463550"/>
                </a:cubicBezTo>
                <a:cubicBezTo>
                  <a:pt x="436682" y="460137"/>
                  <a:pt x="439208" y="457200"/>
                  <a:pt x="441325" y="454025"/>
                </a:cubicBezTo>
                <a:cubicBezTo>
                  <a:pt x="442383" y="433917"/>
                  <a:pt x="441779" y="413652"/>
                  <a:pt x="444500" y="393700"/>
                </a:cubicBezTo>
                <a:cubicBezTo>
                  <a:pt x="445016" y="389919"/>
                  <a:pt x="448315" y="387027"/>
                  <a:pt x="450850" y="384175"/>
                </a:cubicBezTo>
                <a:cubicBezTo>
                  <a:pt x="456816" y="377463"/>
                  <a:pt x="469900" y="365125"/>
                  <a:pt x="469900" y="365125"/>
                </a:cubicBezTo>
                <a:cubicBezTo>
                  <a:pt x="470958" y="360892"/>
                  <a:pt x="470910" y="356214"/>
                  <a:pt x="473075" y="352425"/>
                </a:cubicBezTo>
                <a:cubicBezTo>
                  <a:pt x="478135" y="343571"/>
                  <a:pt x="484952" y="342528"/>
                  <a:pt x="492125" y="336550"/>
                </a:cubicBezTo>
                <a:cubicBezTo>
                  <a:pt x="495574" y="333675"/>
                  <a:pt x="497914" y="329516"/>
                  <a:pt x="501650" y="327025"/>
                </a:cubicBezTo>
                <a:cubicBezTo>
                  <a:pt x="504435" y="325169"/>
                  <a:pt x="508182" y="325347"/>
                  <a:pt x="511175" y="323850"/>
                </a:cubicBezTo>
                <a:cubicBezTo>
                  <a:pt x="514588" y="322143"/>
                  <a:pt x="516958" y="318248"/>
                  <a:pt x="520700" y="317500"/>
                </a:cubicBezTo>
                <a:cubicBezTo>
                  <a:pt x="527964" y="316047"/>
                  <a:pt x="535517" y="317500"/>
                  <a:pt x="546100" y="31115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3" name="Полилиния 302"/>
          <p:cNvSpPr/>
          <p:nvPr/>
        </p:nvSpPr>
        <p:spPr>
          <a:xfrm rot="21083476">
            <a:off x="1901831" y="4654935"/>
            <a:ext cx="1917609" cy="1964985"/>
          </a:xfrm>
          <a:custGeom>
            <a:avLst/>
            <a:gdLst>
              <a:gd name="connsiteX0" fmla="*/ 1630634 w 1630634"/>
              <a:gd name="connsiteY0" fmla="*/ 1136650 h 1720850"/>
              <a:gd name="connsiteX1" fmla="*/ 1268684 w 1630634"/>
              <a:gd name="connsiteY1" fmla="*/ 942975 h 1720850"/>
              <a:gd name="connsiteX2" fmla="*/ 903559 w 1630634"/>
              <a:gd name="connsiteY2" fmla="*/ 698500 h 1720850"/>
              <a:gd name="connsiteX3" fmla="*/ 500334 w 1630634"/>
              <a:gd name="connsiteY3" fmla="*/ 339725 h 1720850"/>
              <a:gd name="connsiteX4" fmla="*/ 214584 w 1630634"/>
              <a:gd name="connsiteY4" fmla="*/ 114300 h 1720850"/>
              <a:gd name="connsiteX5" fmla="*/ 157434 w 1630634"/>
              <a:gd name="connsiteY5" fmla="*/ 44450 h 1720850"/>
              <a:gd name="connsiteX6" fmla="*/ 132034 w 1630634"/>
              <a:gd name="connsiteY6" fmla="*/ 34925 h 1720850"/>
              <a:gd name="connsiteX7" fmla="*/ 122509 w 1630634"/>
              <a:gd name="connsiteY7" fmla="*/ 28575 h 1720850"/>
              <a:gd name="connsiteX8" fmla="*/ 106634 w 1630634"/>
              <a:gd name="connsiteY8" fmla="*/ 25400 h 1720850"/>
              <a:gd name="connsiteX9" fmla="*/ 78059 w 1630634"/>
              <a:gd name="connsiteY9" fmla="*/ 15875 h 1720850"/>
              <a:gd name="connsiteX10" fmla="*/ 55834 w 1630634"/>
              <a:gd name="connsiteY10" fmla="*/ 6350 h 1720850"/>
              <a:gd name="connsiteX11" fmla="*/ 36784 w 1630634"/>
              <a:gd name="connsiteY11" fmla="*/ 0 h 1720850"/>
              <a:gd name="connsiteX12" fmla="*/ 20909 w 1630634"/>
              <a:gd name="connsiteY12" fmla="*/ 3175 h 1720850"/>
              <a:gd name="connsiteX13" fmla="*/ 17734 w 1630634"/>
              <a:gd name="connsiteY13" fmla="*/ 12700 h 1720850"/>
              <a:gd name="connsiteX14" fmla="*/ 8209 w 1630634"/>
              <a:gd name="connsiteY14" fmla="*/ 31750 h 1720850"/>
              <a:gd name="connsiteX15" fmla="*/ 5034 w 1630634"/>
              <a:gd name="connsiteY15" fmla="*/ 63500 h 1720850"/>
              <a:gd name="connsiteX16" fmla="*/ 1859 w 1630634"/>
              <a:gd name="connsiteY16" fmla="*/ 82550 h 1720850"/>
              <a:gd name="connsiteX17" fmla="*/ 5034 w 1630634"/>
              <a:gd name="connsiteY17" fmla="*/ 130175 h 1720850"/>
              <a:gd name="connsiteX18" fmla="*/ 36784 w 1630634"/>
              <a:gd name="connsiteY18" fmla="*/ 133350 h 1720850"/>
              <a:gd name="connsiteX19" fmla="*/ 46309 w 1630634"/>
              <a:gd name="connsiteY19" fmla="*/ 139700 h 1720850"/>
              <a:gd name="connsiteX20" fmla="*/ 68534 w 1630634"/>
              <a:gd name="connsiteY20" fmla="*/ 152400 h 1720850"/>
              <a:gd name="connsiteX21" fmla="*/ 78059 w 1630634"/>
              <a:gd name="connsiteY21" fmla="*/ 161925 h 1720850"/>
              <a:gd name="connsiteX22" fmla="*/ 106634 w 1630634"/>
              <a:gd name="connsiteY22" fmla="*/ 171450 h 1720850"/>
              <a:gd name="connsiteX23" fmla="*/ 116159 w 1630634"/>
              <a:gd name="connsiteY23" fmla="*/ 174625 h 1720850"/>
              <a:gd name="connsiteX24" fmla="*/ 125684 w 1630634"/>
              <a:gd name="connsiteY24" fmla="*/ 180975 h 1720850"/>
              <a:gd name="connsiteX25" fmla="*/ 141559 w 1630634"/>
              <a:gd name="connsiteY25" fmla="*/ 203200 h 1720850"/>
              <a:gd name="connsiteX26" fmla="*/ 144734 w 1630634"/>
              <a:gd name="connsiteY26" fmla="*/ 212725 h 1720850"/>
              <a:gd name="connsiteX27" fmla="*/ 154259 w 1630634"/>
              <a:gd name="connsiteY27" fmla="*/ 231775 h 1720850"/>
              <a:gd name="connsiteX28" fmla="*/ 157434 w 1630634"/>
              <a:gd name="connsiteY28" fmla="*/ 254000 h 1720850"/>
              <a:gd name="connsiteX29" fmla="*/ 163784 w 1630634"/>
              <a:gd name="connsiteY29" fmla="*/ 285750 h 1720850"/>
              <a:gd name="connsiteX30" fmla="*/ 166959 w 1630634"/>
              <a:gd name="connsiteY30" fmla="*/ 314325 h 1720850"/>
              <a:gd name="connsiteX31" fmla="*/ 170134 w 1630634"/>
              <a:gd name="connsiteY31" fmla="*/ 323850 h 1720850"/>
              <a:gd name="connsiteX32" fmla="*/ 173309 w 1630634"/>
              <a:gd name="connsiteY32" fmla="*/ 342900 h 1720850"/>
              <a:gd name="connsiteX33" fmla="*/ 179659 w 1630634"/>
              <a:gd name="connsiteY33" fmla="*/ 361950 h 1720850"/>
              <a:gd name="connsiteX34" fmla="*/ 189184 w 1630634"/>
              <a:gd name="connsiteY34" fmla="*/ 387350 h 1720850"/>
              <a:gd name="connsiteX35" fmla="*/ 192359 w 1630634"/>
              <a:gd name="connsiteY35" fmla="*/ 406400 h 1720850"/>
              <a:gd name="connsiteX36" fmla="*/ 195534 w 1630634"/>
              <a:gd name="connsiteY36" fmla="*/ 419100 h 1720850"/>
              <a:gd name="connsiteX37" fmla="*/ 198709 w 1630634"/>
              <a:gd name="connsiteY37" fmla="*/ 454025 h 1720850"/>
              <a:gd name="connsiteX38" fmla="*/ 211409 w 1630634"/>
              <a:gd name="connsiteY38" fmla="*/ 482600 h 1720850"/>
              <a:gd name="connsiteX39" fmla="*/ 224109 w 1630634"/>
              <a:gd name="connsiteY39" fmla="*/ 511175 h 1720850"/>
              <a:gd name="connsiteX40" fmla="*/ 227284 w 1630634"/>
              <a:gd name="connsiteY40" fmla="*/ 530225 h 1720850"/>
              <a:gd name="connsiteX41" fmla="*/ 230459 w 1630634"/>
              <a:gd name="connsiteY41" fmla="*/ 539750 h 1720850"/>
              <a:gd name="connsiteX42" fmla="*/ 227284 w 1630634"/>
              <a:gd name="connsiteY42" fmla="*/ 638175 h 1720850"/>
              <a:gd name="connsiteX43" fmla="*/ 217759 w 1630634"/>
              <a:gd name="connsiteY43" fmla="*/ 660400 h 1720850"/>
              <a:gd name="connsiteX44" fmla="*/ 208234 w 1630634"/>
              <a:gd name="connsiteY44" fmla="*/ 682625 h 1720850"/>
              <a:gd name="connsiteX45" fmla="*/ 217759 w 1630634"/>
              <a:gd name="connsiteY45" fmla="*/ 688975 h 1720850"/>
              <a:gd name="connsiteX46" fmla="*/ 274909 w 1630634"/>
              <a:gd name="connsiteY46" fmla="*/ 682625 h 1720850"/>
              <a:gd name="connsiteX47" fmla="*/ 325709 w 1630634"/>
              <a:gd name="connsiteY47" fmla="*/ 685800 h 1720850"/>
              <a:gd name="connsiteX48" fmla="*/ 335234 w 1630634"/>
              <a:gd name="connsiteY48" fmla="*/ 692150 h 1720850"/>
              <a:gd name="connsiteX49" fmla="*/ 344759 w 1630634"/>
              <a:gd name="connsiteY49" fmla="*/ 695325 h 1720850"/>
              <a:gd name="connsiteX50" fmla="*/ 347934 w 1630634"/>
              <a:gd name="connsiteY50" fmla="*/ 736600 h 1720850"/>
              <a:gd name="connsiteX51" fmla="*/ 354284 w 1630634"/>
              <a:gd name="connsiteY51" fmla="*/ 809625 h 1720850"/>
              <a:gd name="connsiteX52" fmla="*/ 357459 w 1630634"/>
              <a:gd name="connsiteY52" fmla="*/ 819150 h 1720850"/>
              <a:gd name="connsiteX53" fmla="*/ 366984 w 1630634"/>
              <a:gd name="connsiteY53" fmla="*/ 844550 h 1720850"/>
              <a:gd name="connsiteX54" fmla="*/ 373334 w 1630634"/>
              <a:gd name="connsiteY54" fmla="*/ 854075 h 1720850"/>
              <a:gd name="connsiteX55" fmla="*/ 382859 w 1630634"/>
              <a:gd name="connsiteY55" fmla="*/ 857250 h 1720850"/>
              <a:gd name="connsiteX56" fmla="*/ 392384 w 1630634"/>
              <a:gd name="connsiteY56" fmla="*/ 850900 h 1720850"/>
              <a:gd name="connsiteX57" fmla="*/ 436834 w 1630634"/>
              <a:gd name="connsiteY57" fmla="*/ 850900 h 1720850"/>
              <a:gd name="connsiteX58" fmla="*/ 465409 w 1630634"/>
              <a:gd name="connsiteY58" fmla="*/ 863600 h 1720850"/>
              <a:gd name="connsiteX59" fmla="*/ 493984 w 1630634"/>
              <a:gd name="connsiteY59" fmla="*/ 885825 h 1720850"/>
              <a:gd name="connsiteX60" fmla="*/ 554309 w 1630634"/>
              <a:gd name="connsiteY60" fmla="*/ 892175 h 1720850"/>
              <a:gd name="connsiteX61" fmla="*/ 563834 w 1630634"/>
              <a:gd name="connsiteY61" fmla="*/ 898525 h 1720850"/>
              <a:gd name="connsiteX62" fmla="*/ 579709 w 1630634"/>
              <a:gd name="connsiteY62" fmla="*/ 914400 h 1720850"/>
              <a:gd name="connsiteX63" fmla="*/ 595584 w 1630634"/>
              <a:gd name="connsiteY63" fmla="*/ 930275 h 1720850"/>
              <a:gd name="connsiteX64" fmla="*/ 614634 w 1630634"/>
              <a:gd name="connsiteY64" fmla="*/ 936625 h 1720850"/>
              <a:gd name="connsiteX65" fmla="*/ 630509 w 1630634"/>
              <a:gd name="connsiteY65" fmla="*/ 958850 h 1720850"/>
              <a:gd name="connsiteX66" fmla="*/ 633684 w 1630634"/>
              <a:gd name="connsiteY66" fmla="*/ 977900 h 1720850"/>
              <a:gd name="connsiteX67" fmla="*/ 620984 w 1630634"/>
              <a:gd name="connsiteY67" fmla="*/ 1022350 h 1720850"/>
              <a:gd name="connsiteX68" fmla="*/ 605109 w 1630634"/>
              <a:gd name="connsiteY68" fmla="*/ 1041400 h 1720850"/>
              <a:gd name="connsiteX69" fmla="*/ 595584 w 1630634"/>
              <a:gd name="connsiteY69" fmla="*/ 1050925 h 1720850"/>
              <a:gd name="connsiteX70" fmla="*/ 582884 w 1630634"/>
              <a:gd name="connsiteY70" fmla="*/ 1069975 h 1720850"/>
              <a:gd name="connsiteX71" fmla="*/ 567009 w 1630634"/>
              <a:gd name="connsiteY71" fmla="*/ 1089025 h 1720850"/>
              <a:gd name="connsiteX72" fmla="*/ 557484 w 1630634"/>
              <a:gd name="connsiteY72" fmla="*/ 1098550 h 1720850"/>
              <a:gd name="connsiteX73" fmla="*/ 551134 w 1630634"/>
              <a:gd name="connsiteY73" fmla="*/ 1108075 h 1720850"/>
              <a:gd name="connsiteX74" fmla="*/ 544784 w 1630634"/>
              <a:gd name="connsiteY74" fmla="*/ 1120775 h 1720850"/>
              <a:gd name="connsiteX75" fmla="*/ 535259 w 1630634"/>
              <a:gd name="connsiteY75" fmla="*/ 1127125 h 1720850"/>
              <a:gd name="connsiteX76" fmla="*/ 516209 w 1630634"/>
              <a:gd name="connsiteY76" fmla="*/ 1139825 h 1720850"/>
              <a:gd name="connsiteX77" fmla="*/ 497159 w 1630634"/>
              <a:gd name="connsiteY77" fmla="*/ 1158875 h 1720850"/>
              <a:gd name="connsiteX78" fmla="*/ 474934 w 1630634"/>
              <a:gd name="connsiteY78" fmla="*/ 1187450 h 1720850"/>
              <a:gd name="connsiteX79" fmla="*/ 471759 w 1630634"/>
              <a:gd name="connsiteY79" fmla="*/ 1196975 h 1720850"/>
              <a:gd name="connsiteX80" fmla="*/ 468584 w 1630634"/>
              <a:gd name="connsiteY80" fmla="*/ 1346200 h 1720850"/>
              <a:gd name="connsiteX81" fmla="*/ 620984 w 1630634"/>
              <a:gd name="connsiteY81" fmla="*/ 1228725 h 1720850"/>
              <a:gd name="connsiteX82" fmla="*/ 811484 w 1630634"/>
              <a:gd name="connsiteY82" fmla="*/ 1181100 h 1720850"/>
              <a:gd name="connsiteX83" fmla="*/ 957534 w 1630634"/>
              <a:gd name="connsiteY83" fmla="*/ 1181100 h 1720850"/>
              <a:gd name="connsiteX84" fmla="*/ 992459 w 1630634"/>
              <a:gd name="connsiteY84" fmla="*/ 1181100 h 1720850"/>
              <a:gd name="connsiteX85" fmla="*/ 1049609 w 1630634"/>
              <a:gd name="connsiteY85" fmla="*/ 1184275 h 1720850"/>
              <a:gd name="connsiteX86" fmla="*/ 1221059 w 1630634"/>
              <a:gd name="connsiteY86" fmla="*/ 1336675 h 1720850"/>
              <a:gd name="connsiteX87" fmla="*/ 1252809 w 1630634"/>
              <a:gd name="connsiteY87" fmla="*/ 1406525 h 1720850"/>
              <a:gd name="connsiteX88" fmla="*/ 1259159 w 1630634"/>
              <a:gd name="connsiteY88" fmla="*/ 1454150 h 1720850"/>
              <a:gd name="connsiteX89" fmla="*/ 1284559 w 1630634"/>
              <a:gd name="connsiteY89" fmla="*/ 1530350 h 1720850"/>
              <a:gd name="connsiteX90" fmla="*/ 1363934 w 1630634"/>
              <a:gd name="connsiteY90" fmla="*/ 1682750 h 1720850"/>
              <a:gd name="connsiteX91" fmla="*/ 1408384 w 1630634"/>
              <a:gd name="connsiteY91" fmla="*/ 1720850 h 1720850"/>
              <a:gd name="connsiteX92" fmla="*/ 1452834 w 1630634"/>
              <a:gd name="connsiteY92" fmla="*/ 1698625 h 1720850"/>
              <a:gd name="connsiteX93" fmla="*/ 1532209 w 1630634"/>
              <a:gd name="connsiteY93" fmla="*/ 1714500 h 1720850"/>
              <a:gd name="connsiteX94" fmla="*/ 1557609 w 1630634"/>
              <a:gd name="connsiteY94" fmla="*/ 1704975 h 1720850"/>
              <a:gd name="connsiteX95" fmla="*/ 1630634 w 1630634"/>
              <a:gd name="connsiteY95" fmla="*/ 1136650 h 1720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630634" h="1720850">
                <a:moveTo>
                  <a:pt x="1630634" y="1136650"/>
                </a:moveTo>
                <a:lnTo>
                  <a:pt x="1268684" y="942975"/>
                </a:lnTo>
                <a:lnTo>
                  <a:pt x="903559" y="698500"/>
                </a:lnTo>
                <a:lnTo>
                  <a:pt x="500334" y="339725"/>
                </a:lnTo>
                <a:lnTo>
                  <a:pt x="214584" y="114300"/>
                </a:lnTo>
                <a:lnTo>
                  <a:pt x="157434" y="44450"/>
                </a:lnTo>
                <a:cubicBezTo>
                  <a:pt x="148967" y="41275"/>
                  <a:pt x="140266" y="38667"/>
                  <a:pt x="132034" y="34925"/>
                </a:cubicBezTo>
                <a:cubicBezTo>
                  <a:pt x="128560" y="33346"/>
                  <a:pt x="126082" y="29915"/>
                  <a:pt x="122509" y="28575"/>
                </a:cubicBezTo>
                <a:cubicBezTo>
                  <a:pt x="117456" y="26680"/>
                  <a:pt x="111840" y="26820"/>
                  <a:pt x="106634" y="25400"/>
                </a:cubicBezTo>
                <a:lnTo>
                  <a:pt x="78059" y="15875"/>
                </a:lnTo>
                <a:cubicBezTo>
                  <a:pt x="47398" y="5655"/>
                  <a:pt x="95068" y="22043"/>
                  <a:pt x="55834" y="6350"/>
                </a:cubicBezTo>
                <a:cubicBezTo>
                  <a:pt x="49619" y="3864"/>
                  <a:pt x="36784" y="0"/>
                  <a:pt x="36784" y="0"/>
                </a:cubicBezTo>
                <a:cubicBezTo>
                  <a:pt x="31492" y="1058"/>
                  <a:pt x="25399" y="182"/>
                  <a:pt x="20909" y="3175"/>
                </a:cubicBezTo>
                <a:cubicBezTo>
                  <a:pt x="18124" y="5031"/>
                  <a:pt x="19231" y="9707"/>
                  <a:pt x="17734" y="12700"/>
                </a:cubicBezTo>
                <a:cubicBezTo>
                  <a:pt x="5424" y="37319"/>
                  <a:pt x="16189" y="7809"/>
                  <a:pt x="8209" y="31750"/>
                </a:cubicBezTo>
                <a:cubicBezTo>
                  <a:pt x="7151" y="42333"/>
                  <a:pt x="6353" y="52946"/>
                  <a:pt x="5034" y="63500"/>
                </a:cubicBezTo>
                <a:cubicBezTo>
                  <a:pt x="4236" y="69888"/>
                  <a:pt x="1859" y="76112"/>
                  <a:pt x="1859" y="82550"/>
                </a:cubicBezTo>
                <a:cubicBezTo>
                  <a:pt x="1859" y="98460"/>
                  <a:pt x="-3980" y="117064"/>
                  <a:pt x="5034" y="130175"/>
                </a:cubicBezTo>
                <a:cubicBezTo>
                  <a:pt x="11060" y="138940"/>
                  <a:pt x="26201" y="132292"/>
                  <a:pt x="36784" y="133350"/>
                </a:cubicBezTo>
                <a:cubicBezTo>
                  <a:pt x="39959" y="135467"/>
                  <a:pt x="42996" y="137807"/>
                  <a:pt x="46309" y="139700"/>
                </a:cubicBezTo>
                <a:cubicBezTo>
                  <a:pt x="56190" y="145346"/>
                  <a:pt x="60095" y="145368"/>
                  <a:pt x="68534" y="152400"/>
                </a:cubicBezTo>
                <a:cubicBezTo>
                  <a:pt x="71983" y="155275"/>
                  <a:pt x="74134" y="159744"/>
                  <a:pt x="78059" y="161925"/>
                </a:cubicBezTo>
                <a:lnTo>
                  <a:pt x="106634" y="171450"/>
                </a:lnTo>
                <a:cubicBezTo>
                  <a:pt x="109809" y="172508"/>
                  <a:pt x="113374" y="172769"/>
                  <a:pt x="116159" y="174625"/>
                </a:cubicBezTo>
                <a:cubicBezTo>
                  <a:pt x="119334" y="176742"/>
                  <a:pt x="122986" y="178277"/>
                  <a:pt x="125684" y="180975"/>
                </a:cubicBezTo>
                <a:cubicBezTo>
                  <a:pt x="127122" y="182413"/>
                  <a:pt x="139756" y="199594"/>
                  <a:pt x="141559" y="203200"/>
                </a:cubicBezTo>
                <a:cubicBezTo>
                  <a:pt x="143056" y="206193"/>
                  <a:pt x="143237" y="209732"/>
                  <a:pt x="144734" y="212725"/>
                </a:cubicBezTo>
                <a:cubicBezTo>
                  <a:pt x="157044" y="237344"/>
                  <a:pt x="146279" y="207834"/>
                  <a:pt x="154259" y="231775"/>
                </a:cubicBezTo>
                <a:cubicBezTo>
                  <a:pt x="155317" y="239183"/>
                  <a:pt x="156095" y="246637"/>
                  <a:pt x="157434" y="254000"/>
                </a:cubicBezTo>
                <a:cubicBezTo>
                  <a:pt x="163744" y="288704"/>
                  <a:pt x="157570" y="239147"/>
                  <a:pt x="163784" y="285750"/>
                </a:cubicBezTo>
                <a:cubicBezTo>
                  <a:pt x="165051" y="295250"/>
                  <a:pt x="165383" y="304872"/>
                  <a:pt x="166959" y="314325"/>
                </a:cubicBezTo>
                <a:cubicBezTo>
                  <a:pt x="167509" y="317626"/>
                  <a:pt x="169408" y="320583"/>
                  <a:pt x="170134" y="323850"/>
                </a:cubicBezTo>
                <a:cubicBezTo>
                  <a:pt x="171531" y="330134"/>
                  <a:pt x="171748" y="336655"/>
                  <a:pt x="173309" y="342900"/>
                </a:cubicBezTo>
                <a:cubicBezTo>
                  <a:pt x="174932" y="349394"/>
                  <a:pt x="178346" y="355386"/>
                  <a:pt x="179659" y="361950"/>
                </a:cubicBezTo>
                <a:cubicBezTo>
                  <a:pt x="183582" y="381567"/>
                  <a:pt x="179841" y="373335"/>
                  <a:pt x="189184" y="387350"/>
                </a:cubicBezTo>
                <a:cubicBezTo>
                  <a:pt x="190242" y="393700"/>
                  <a:pt x="191096" y="400087"/>
                  <a:pt x="192359" y="406400"/>
                </a:cubicBezTo>
                <a:cubicBezTo>
                  <a:pt x="193215" y="410679"/>
                  <a:pt x="194957" y="414775"/>
                  <a:pt x="195534" y="419100"/>
                </a:cubicBezTo>
                <a:cubicBezTo>
                  <a:pt x="197079" y="430687"/>
                  <a:pt x="196678" y="442513"/>
                  <a:pt x="198709" y="454025"/>
                </a:cubicBezTo>
                <a:cubicBezTo>
                  <a:pt x="204242" y="485381"/>
                  <a:pt x="202500" y="462554"/>
                  <a:pt x="211409" y="482600"/>
                </a:cubicBezTo>
                <a:cubicBezTo>
                  <a:pt x="226522" y="516605"/>
                  <a:pt x="209738" y="489619"/>
                  <a:pt x="224109" y="511175"/>
                </a:cubicBezTo>
                <a:cubicBezTo>
                  <a:pt x="225167" y="517525"/>
                  <a:pt x="225887" y="523941"/>
                  <a:pt x="227284" y="530225"/>
                </a:cubicBezTo>
                <a:cubicBezTo>
                  <a:pt x="228010" y="533492"/>
                  <a:pt x="230459" y="536403"/>
                  <a:pt x="230459" y="539750"/>
                </a:cubicBezTo>
                <a:cubicBezTo>
                  <a:pt x="230459" y="572575"/>
                  <a:pt x="229157" y="605403"/>
                  <a:pt x="227284" y="638175"/>
                </a:cubicBezTo>
                <a:cubicBezTo>
                  <a:pt x="226539" y="651212"/>
                  <a:pt x="223595" y="650187"/>
                  <a:pt x="217759" y="660400"/>
                </a:cubicBezTo>
                <a:cubicBezTo>
                  <a:pt x="211482" y="671385"/>
                  <a:pt x="211796" y="671939"/>
                  <a:pt x="208234" y="682625"/>
                </a:cubicBezTo>
                <a:cubicBezTo>
                  <a:pt x="211409" y="684742"/>
                  <a:pt x="213950" y="688751"/>
                  <a:pt x="217759" y="688975"/>
                </a:cubicBezTo>
                <a:cubicBezTo>
                  <a:pt x="245978" y="690635"/>
                  <a:pt x="253845" y="687891"/>
                  <a:pt x="274909" y="682625"/>
                </a:cubicBezTo>
                <a:cubicBezTo>
                  <a:pt x="291842" y="683683"/>
                  <a:pt x="308950" y="683154"/>
                  <a:pt x="325709" y="685800"/>
                </a:cubicBezTo>
                <a:cubicBezTo>
                  <a:pt x="329478" y="686395"/>
                  <a:pt x="331821" y="690443"/>
                  <a:pt x="335234" y="692150"/>
                </a:cubicBezTo>
                <a:cubicBezTo>
                  <a:pt x="338227" y="693647"/>
                  <a:pt x="341584" y="694267"/>
                  <a:pt x="344759" y="695325"/>
                </a:cubicBezTo>
                <a:cubicBezTo>
                  <a:pt x="357221" y="720249"/>
                  <a:pt x="347934" y="695926"/>
                  <a:pt x="347934" y="736600"/>
                </a:cubicBezTo>
                <a:cubicBezTo>
                  <a:pt x="347934" y="760786"/>
                  <a:pt x="348350" y="785889"/>
                  <a:pt x="354284" y="809625"/>
                </a:cubicBezTo>
                <a:cubicBezTo>
                  <a:pt x="355096" y="812872"/>
                  <a:pt x="356540" y="815932"/>
                  <a:pt x="357459" y="819150"/>
                </a:cubicBezTo>
                <a:cubicBezTo>
                  <a:pt x="361924" y="834776"/>
                  <a:pt x="358529" y="829753"/>
                  <a:pt x="366984" y="844550"/>
                </a:cubicBezTo>
                <a:cubicBezTo>
                  <a:pt x="368877" y="847863"/>
                  <a:pt x="370354" y="851691"/>
                  <a:pt x="373334" y="854075"/>
                </a:cubicBezTo>
                <a:cubicBezTo>
                  <a:pt x="375947" y="856166"/>
                  <a:pt x="379684" y="856192"/>
                  <a:pt x="382859" y="857250"/>
                </a:cubicBezTo>
                <a:cubicBezTo>
                  <a:pt x="386034" y="855133"/>
                  <a:pt x="388971" y="852607"/>
                  <a:pt x="392384" y="850900"/>
                </a:cubicBezTo>
                <a:cubicBezTo>
                  <a:pt x="407184" y="843500"/>
                  <a:pt x="418885" y="849268"/>
                  <a:pt x="436834" y="850900"/>
                </a:cubicBezTo>
                <a:cubicBezTo>
                  <a:pt x="450678" y="855515"/>
                  <a:pt x="455346" y="855214"/>
                  <a:pt x="465409" y="863600"/>
                </a:cubicBezTo>
                <a:cubicBezTo>
                  <a:pt x="474006" y="870764"/>
                  <a:pt x="481947" y="883819"/>
                  <a:pt x="493984" y="885825"/>
                </a:cubicBezTo>
                <a:cubicBezTo>
                  <a:pt x="526645" y="891269"/>
                  <a:pt x="506615" y="888506"/>
                  <a:pt x="554309" y="892175"/>
                </a:cubicBezTo>
                <a:cubicBezTo>
                  <a:pt x="557484" y="894292"/>
                  <a:pt x="561136" y="895827"/>
                  <a:pt x="563834" y="898525"/>
                </a:cubicBezTo>
                <a:cubicBezTo>
                  <a:pt x="585001" y="919692"/>
                  <a:pt x="554309" y="897467"/>
                  <a:pt x="579709" y="914400"/>
                </a:cubicBezTo>
                <a:cubicBezTo>
                  <a:pt x="585502" y="923089"/>
                  <a:pt x="585558" y="925819"/>
                  <a:pt x="595584" y="930275"/>
                </a:cubicBezTo>
                <a:cubicBezTo>
                  <a:pt x="601701" y="932993"/>
                  <a:pt x="614634" y="936625"/>
                  <a:pt x="614634" y="936625"/>
                </a:cubicBezTo>
                <a:cubicBezTo>
                  <a:pt x="614860" y="936926"/>
                  <a:pt x="629580" y="956064"/>
                  <a:pt x="630509" y="958850"/>
                </a:cubicBezTo>
                <a:cubicBezTo>
                  <a:pt x="632545" y="964957"/>
                  <a:pt x="632626" y="971550"/>
                  <a:pt x="633684" y="977900"/>
                </a:cubicBezTo>
                <a:cubicBezTo>
                  <a:pt x="633629" y="978120"/>
                  <a:pt x="624021" y="1019313"/>
                  <a:pt x="620984" y="1022350"/>
                </a:cubicBezTo>
                <a:cubicBezTo>
                  <a:pt x="593157" y="1050177"/>
                  <a:pt x="627211" y="1014878"/>
                  <a:pt x="605109" y="1041400"/>
                </a:cubicBezTo>
                <a:cubicBezTo>
                  <a:pt x="602234" y="1044849"/>
                  <a:pt x="598341" y="1047381"/>
                  <a:pt x="595584" y="1050925"/>
                </a:cubicBezTo>
                <a:cubicBezTo>
                  <a:pt x="590899" y="1056949"/>
                  <a:pt x="588280" y="1064579"/>
                  <a:pt x="582884" y="1069975"/>
                </a:cubicBezTo>
                <a:cubicBezTo>
                  <a:pt x="555057" y="1097802"/>
                  <a:pt x="589111" y="1062503"/>
                  <a:pt x="567009" y="1089025"/>
                </a:cubicBezTo>
                <a:cubicBezTo>
                  <a:pt x="564134" y="1092474"/>
                  <a:pt x="560359" y="1095101"/>
                  <a:pt x="557484" y="1098550"/>
                </a:cubicBezTo>
                <a:cubicBezTo>
                  <a:pt x="555041" y="1101481"/>
                  <a:pt x="553027" y="1104762"/>
                  <a:pt x="551134" y="1108075"/>
                </a:cubicBezTo>
                <a:cubicBezTo>
                  <a:pt x="548786" y="1112184"/>
                  <a:pt x="547814" y="1117139"/>
                  <a:pt x="544784" y="1120775"/>
                </a:cubicBezTo>
                <a:cubicBezTo>
                  <a:pt x="542341" y="1123706"/>
                  <a:pt x="538190" y="1124682"/>
                  <a:pt x="535259" y="1127125"/>
                </a:cubicBezTo>
                <a:cubicBezTo>
                  <a:pt x="519404" y="1140338"/>
                  <a:pt x="532948" y="1134245"/>
                  <a:pt x="516209" y="1139825"/>
                </a:cubicBezTo>
                <a:cubicBezTo>
                  <a:pt x="509859" y="1146175"/>
                  <a:pt x="502140" y="1151403"/>
                  <a:pt x="497159" y="1158875"/>
                </a:cubicBezTo>
                <a:cubicBezTo>
                  <a:pt x="481968" y="1181661"/>
                  <a:pt x="489855" y="1172529"/>
                  <a:pt x="474934" y="1187450"/>
                </a:cubicBezTo>
                <a:cubicBezTo>
                  <a:pt x="473876" y="1190625"/>
                  <a:pt x="472678" y="1193757"/>
                  <a:pt x="471759" y="1196975"/>
                </a:cubicBezTo>
                <a:cubicBezTo>
                  <a:pt x="457547" y="1246718"/>
                  <a:pt x="468584" y="1279422"/>
                  <a:pt x="468584" y="1346200"/>
                </a:cubicBezTo>
                <a:lnTo>
                  <a:pt x="620984" y="1228725"/>
                </a:lnTo>
                <a:lnTo>
                  <a:pt x="811484" y="1181100"/>
                </a:lnTo>
                <a:lnTo>
                  <a:pt x="957534" y="1181100"/>
                </a:lnTo>
                <a:lnTo>
                  <a:pt x="992459" y="1181100"/>
                </a:lnTo>
                <a:lnTo>
                  <a:pt x="1049609" y="1184275"/>
                </a:lnTo>
                <a:lnTo>
                  <a:pt x="1221059" y="1336675"/>
                </a:lnTo>
                <a:lnTo>
                  <a:pt x="1252809" y="1406525"/>
                </a:lnTo>
                <a:lnTo>
                  <a:pt x="1259159" y="1454150"/>
                </a:lnTo>
                <a:lnTo>
                  <a:pt x="1284559" y="1530350"/>
                </a:lnTo>
                <a:lnTo>
                  <a:pt x="1363934" y="1682750"/>
                </a:lnTo>
                <a:lnTo>
                  <a:pt x="1408384" y="1720850"/>
                </a:lnTo>
                <a:lnTo>
                  <a:pt x="1452834" y="1698625"/>
                </a:lnTo>
                <a:lnTo>
                  <a:pt x="1532209" y="1714500"/>
                </a:lnTo>
                <a:lnTo>
                  <a:pt x="1557609" y="1704975"/>
                </a:lnTo>
                <a:lnTo>
                  <a:pt x="1630634" y="113665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4" name="Полилиния 303"/>
          <p:cNvSpPr/>
          <p:nvPr/>
        </p:nvSpPr>
        <p:spPr>
          <a:xfrm rot="21083476">
            <a:off x="2110325" y="4146286"/>
            <a:ext cx="2195220" cy="1592561"/>
          </a:xfrm>
          <a:custGeom>
            <a:avLst/>
            <a:gdLst>
              <a:gd name="connsiteX0" fmla="*/ 143162 w 1860837"/>
              <a:gd name="connsiteY0" fmla="*/ 466725 h 1358900"/>
              <a:gd name="connsiteX1" fmla="*/ 143162 w 1860837"/>
              <a:gd name="connsiteY1" fmla="*/ 466725 h 1358900"/>
              <a:gd name="connsiteX2" fmla="*/ 117762 w 1860837"/>
              <a:gd name="connsiteY2" fmla="*/ 422275 h 1358900"/>
              <a:gd name="connsiteX3" fmla="*/ 108237 w 1860837"/>
              <a:gd name="connsiteY3" fmla="*/ 419100 h 1358900"/>
              <a:gd name="connsiteX4" fmla="*/ 89187 w 1860837"/>
              <a:gd name="connsiteY4" fmla="*/ 406400 h 1358900"/>
              <a:gd name="connsiteX5" fmla="*/ 82837 w 1860837"/>
              <a:gd name="connsiteY5" fmla="*/ 396875 h 1358900"/>
              <a:gd name="connsiteX6" fmla="*/ 73312 w 1860837"/>
              <a:gd name="connsiteY6" fmla="*/ 387350 h 1358900"/>
              <a:gd name="connsiteX7" fmla="*/ 66962 w 1860837"/>
              <a:gd name="connsiteY7" fmla="*/ 374650 h 1358900"/>
              <a:gd name="connsiteX8" fmla="*/ 60612 w 1860837"/>
              <a:gd name="connsiteY8" fmla="*/ 355600 h 1358900"/>
              <a:gd name="connsiteX9" fmla="*/ 47912 w 1860837"/>
              <a:gd name="connsiteY9" fmla="*/ 336550 h 1358900"/>
              <a:gd name="connsiteX10" fmla="*/ 44737 w 1860837"/>
              <a:gd name="connsiteY10" fmla="*/ 327025 h 1358900"/>
              <a:gd name="connsiteX11" fmla="*/ 38387 w 1860837"/>
              <a:gd name="connsiteY11" fmla="*/ 314325 h 1358900"/>
              <a:gd name="connsiteX12" fmla="*/ 35212 w 1860837"/>
              <a:gd name="connsiteY12" fmla="*/ 301625 h 1358900"/>
              <a:gd name="connsiteX13" fmla="*/ 28862 w 1860837"/>
              <a:gd name="connsiteY13" fmla="*/ 292100 h 1358900"/>
              <a:gd name="connsiteX14" fmla="*/ 25687 w 1860837"/>
              <a:gd name="connsiteY14" fmla="*/ 282575 h 1358900"/>
              <a:gd name="connsiteX15" fmla="*/ 16162 w 1860837"/>
              <a:gd name="connsiteY15" fmla="*/ 273050 h 1358900"/>
              <a:gd name="connsiteX16" fmla="*/ 287 w 1860837"/>
              <a:gd name="connsiteY16" fmla="*/ 254000 h 1358900"/>
              <a:gd name="connsiteX17" fmla="*/ 3462 w 1860837"/>
              <a:gd name="connsiteY17" fmla="*/ 228600 h 1358900"/>
              <a:gd name="connsiteX18" fmla="*/ 28862 w 1860837"/>
              <a:gd name="connsiteY18" fmla="*/ 225425 h 1358900"/>
              <a:gd name="connsiteX19" fmla="*/ 38387 w 1860837"/>
              <a:gd name="connsiteY19" fmla="*/ 215900 h 1358900"/>
              <a:gd name="connsiteX20" fmla="*/ 57437 w 1860837"/>
              <a:gd name="connsiteY20" fmla="*/ 206375 h 1358900"/>
              <a:gd name="connsiteX21" fmla="*/ 66962 w 1860837"/>
              <a:gd name="connsiteY21" fmla="*/ 238125 h 1358900"/>
              <a:gd name="connsiteX22" fmla="*/ 86012 w 1860837"/>
              <a:gd name="connsiteY22" fmla="*/ 234950 h 1358900"/>
              <a:gd name="connsiteX23" fmla="*/ 95537 w 1860837"/>
              <a:gd name="connsiteY23" fmla="*/ 231775 h 1358900"/>
              <a:gd name="connsiteX24" fmla="*/ 98712 w 1860837"/>
              <a:gd name="connsiteY24" fmla="*/ 222250 h 1358900"/>
              <a:gd name="connsiteX25" fmla="*/ 105062 w 1860837"/>
              <a:gd name="connsiteY25" fmla="*/ 212725 h 1358900"/>
              <a:gd name="connsiteX26" fmla="*/ 108237 w 1860837"/>
              <a:gd name="connsiteY26" fmla="*/ 158750 h 1358900"/>
              <a:gd name="connsiteX27" fmla="*/ 114587 w 1860837"/>
              <a:gd name="connsiteY27" fmla="*/ 139700 h 1358900"/>
              <a:gd name="connsiteX28" fmla="*/ 124112 w 1860837"/>
              <a:gd name="connsiteY28" fmla="*/ 114300 h 1358900"/>
              <a:gd name="connsiteX29" fmla="*/ 133637 w 1860837"/>
              <a:gd name="connsiteY29" fmla="*/ 111125 h 1358900"/>
              <a:gd name="connsiteX30" fmla="*/ 152687 w 1860837"/>
              <a:gd name="connsiteY30" fmla="*/ 101600 h 1358900"/>
              <a:gd name="connsiteX31" fmla="*/ 235237 w 1860837"/>
              <a:gd name="connsiteY31" fmla="*/ 101600 h 1358900"/>
              <a:gd name="connsiteX32" fmla="*/ 254287 w 1860837"/>
              <a:gd name="connsiteY32" fmla="*/ 95250 h 1358900"/>
              <a:gd name="connsiteX33" fmla="*/ 263812 w 1860837"/>
              <a:gd name="connsiteY33" fmla="*/ 92075 h 1358900"/>
              <a:gd name="connsiteX34" fmla="*/ 314612 w 1860837"/>
              <a:gd name="connsiteY34" fmla="*/ 98425 h 1358900"/>
              <a:gd name="connsiteX35" fmla="*/ 333662 w 1860837"/>
              <a:gd name="connsiteY35" fmla="*/ 111125 h 1358900"/>
              <a:gd name="connsiteX36" fmla="*/ 343187 w 1860837"/>
              <a:gd name="connsiteY36" fmla="*/ 120650 h 1358900"/>
              <a:gd name="connsiteX37" fmla="*/ 359062 w 1860837"/>
              <a:gd name="connsiteY37" fmla="*/ 127000 h 1358900"/>
              <a:gd name="connsiteX38" fmla="*/ 378112 w 1860837"/>
              <a:gd name="connsiteY38" fmla="*/ 130175 h 1358900"/>
              <a:gd name="connsiteX39" fmla="*/ 390812 w 1860837"/>
              <a:gd name="connsiteY39" fmla="*/ 133350 h 1358900"/>
              <a:gd name="connsiteX40" fmla="*/ 454312 w 1860837"/>
              <a:gd name="connsiteY40" fmla="*/ 139700 h 1358900"/>
              <a:gd name="connsiteX41" fmla="*/ 467012 w 1860837"/>
              <a:gd name="connsiteY41" fmla="*/ 142875 h 1358900"/>
              <a:gd name="connsiteX42" fmla="*/ 486062 w 1860837"/>
              <a:gd name="connsiteY42" fmla="*/ 155575 h 1358900"/>
              <a:gd name="connsiteX43" fmla="*/ 495587 w 1860837"/>
              <a:gd name="connsiteY43" fmla="*/ 161925 h 1358900"/>
              <a:gd name="connsiteX44" fmla="*/ 508287 w 1860837"/>
              <a:gd name="connsiteY44" fmla="*/ 168275 h 1358900"/>
              <a:gd name="connsiteX45" fmla="*/ 517812 w 1860837"/>
              <a:gd name="connsiteY45" fmla="*/ 171450 h 1358900"/>
              <a:gd name="connsiteX46" fmla="*/ 527337 w 1860837"/>
              <a:gd name="connsiteY46" fmla="*/ 177800 h 1358900"/>
              <a:gd name="connsiteX47" fmla="*/ 543212 w 1860837"/>
              <a:gd name="connsiteY47" fmla="*/ 180975 h 1358900"/>
              <a:gd name="connsiteX48" fmla="*/ 562262 w 1860837"/>
              <a:gd name="connsiteY48" fmla="*/ 187325 h 1358900"/>
              <a:gd name="connsiteX49" fmla="*/ 581312 w 1860837"/>
              <a:gd name="connsiteY49" fmla="*/ 193675 h 1358900"/>
              <a:gd name="connsiteX50" fmla="*/ 590837 w 1860837"/>
              <a:gd name="connsiteY50" fmla="*/ 196850 h 1358900"/>
              <a:gd name="connsiteX51" fmla="*/ 606712 w 1860837"/>
              <a:gd name="connsiteY51" fmla="*/ 200025 h 1358900"/>
              <a:gd name="connsiteX52" fmla="*/ 625762 w 1860837"/>
              <a:gd name="connsiteY52" fmla="*/ 206375 h 1358900"/>
              <a:gd name="connsiteX53" fmla="*/ 638462 w 1860837"/>
              <a:gd name="connsiteY53" fmla="*/ 209550 h 1358900"/>
              <a:gd name="connsiteX54" fmla="*/ 679737 w 1860837"/>
              <a:gd name="connsiteY54" fmla="*/ 222250 h 1358900"/>
              <a:gd name="connsiteX55" fmla="*/ 698787 w 1860837"/>
              <a:gd name="connsiteY55" fmla="*/ 225425 h 1358900"/>
              <a:gd name="connsiteX56" fmla="*/ 717837 w 1860837"/>
              <a:gd name="connsiteY56" fmla="*/ 231775 h 1358900"/>
              <a:gd name="connsiteX57" fmla="*/ 746412 w 1860837"/>
              <a:gd name="connsiteY57" fmla="*/ 228600 h 1358900"/>
              <a:gd name="connsiteX58" fmla="*/ 740062 w 1860837"/>
              <a:gd name="connsiteY58" fmla="*/ 158750 h 1358900"/>
              <a:gd name="connsiteX59" fmla="*/ 736887 w 1860837"/>
              <a:gd name="connsiteY59" fmla="*/ 149225 h 1358900"/>
              <a:gd name="connsiteX60" fmla="*/ 730537 w 1860837"/>
              <a:gd name="connsiteY60" fmla="*/ 139700 h 1358900"/>
              <a:gd name="connsiteX61" fmla="*/ 727362 w 1860837"/>
              <a:gd name="connsiteY61" fmla="*/ 101600 h 1358900"/>
              <a:gd name="connsiteX62" fmla="*/ 721012 w 1860837"/>
              <a:gd name="connsiteY62" fmla="*/ 92075 h 1358900"/>
              <a:gd name="connsiteX63" fmla="*/ 733712 w 1860837"/>
              <a:gd name="connsiteY63" fmla="*/ 79375 h 1358900"/>
              <a:gd name="connsiteX64" fmla="*/ 771812 w 1860837"/>
              <a:gd name="connsiteY64" fmla="*/ 82550 h 1358900"/>
              <a:gd name="connsiteX65" fmla="*/ 790862 w 1860837"/>
              <a:gd name="connsiteY65" fmla="*/ 88900 h 1358900"/>
              <a:gd name="connsiteX66" fmla="*/ 838487 w 1860837"/>
              <a:gd name="connsiteY66" fmla="*/ 88900 h 1358900"/>
              <a:gd name="connsiteX67" fmla="*/ 1028987 w 1860837"/>
              <a:gd name="connsiteY67" fmla="*/ 92075 h 1358900"/>
              <a:gd name="connsiteX68" fmla="*/ 1371887 w 1860837"/>
              <a:gd name="connsiteY68" fmla="*/ 63500 h 1358900"/>
              <a:gd name="connsiteX69" fmla="*/ 1584612 w 1860837"/>
              <a:gd name="connsiteY69" fmla="*/ 19050 h 1358900"/>
              <a:gd name="connsiteX70" fmla="*/ 1743362 w 1860837"/>
              <a:gd name="connsiteY70" fmla="*/ 0 h 1358900"/>
              <a:gd name="connsiteX71" fmla="*/ 1854487 w 1860837"/>
              <a:gd name="connsiteY71" fmla="*/ 60325 h 1358900"/>
              <a:gd name="connsiteX72" fmla="*/ 1860837 w 1860837"/>
              <a:gd name="connsiteY72" fmla="*/ 155575 h 1358900"/>
              <a:gd name="connsiteX73" fmla="*/ 1819562 w 1860837"/>
              <a:gd name="connsiteY73" fmla="*/ 295275 h 1358900"/>
              <a:gd name="connsiteX74" fmla="*/ 1762412 w 1860837"/>
              <a:gd name="connsiteY74" fmla="*/ 434975 h 1358900"/>
              <a:gd name="connsiteX75" fmla="*/ 1498887 w 1860837"/>
              <a:gd name="connsiteY75" fmla="*/ 482600 h 1358900"/>
              <a:gd name="connsiteX76" fmla="*/ 1406812 w 1860837"/>
              <a:gd name="connsiteY76" fmla="*/ 1133475 h 1358900"/>
              <a:gd name="connsiteX77" fmla="*/ 1375062 w 1860837"/>
              <a:gd name="connsiteY77" fmla="*/ 1358900 h 1358900"/>
              <a:gd name="connsiteX78" fmla="*/ 1241712 w 1860837"/>
              <a:gd name="connsiteY78" fmla="*/ 1317625 h 1358900"/>
              <a:gd name="connsiteX79" fmla="*/ 946437 w 1860837"/>
              <a:gd name="connsiteY79" fmla="*/ 1171575 h 1358900"/>
              <a:gd name="connsiteX80" fmla="*/ 638462 w 1860837"/>
              <a:gd name="connsiteY80" fmla="*/ 946150 h 1358900"/>
              <a:gd name="connsiteX81" fmla="*/ 368587 w 1860837"/>
              <a:gd name="connsiteY81" fmla="*/ 708025 h 1358900"/>
              <a:gd name="connsiteX82" fmla="*/ 190787 w 1860837"/>
              <a:gd name="connsiteY82" fmla="*/ 523875 h 1358900"/>
              <a:gd name="connsiteX83" fmla="*/ 143162 w 1860837"/>
              <a:gd name="connsiteY83" fmla="*/ 466725 h 135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860837" h="1358900">
                <a:moveTo>
                  <a:pt x="143162" y="466725"/>
                </a:moveTo>
                <a:lnTo>
                  <a:pt x="143162" y="466725"/>
                </a:lnTo>
                <a:cubicBezTo>
                  <a:pt x="142635" y="465670"/>
                  <a:pt x="123147" y="424070"/>
                  <a:pt x="117762" y="422275"/>
                </a:cubicBezTo>
                <a:cubicBezTo>
                  <a:pt x="114587" y="421217"/>
                  <a:pt x="111163" y="420725"/>
                  <a:pt x="108237" y="419100"/>
                </a:cubicBezTo>
                <a:cubicBezTo>
                  <a:pt x="101566" y="415394"/>
                  <a:pt x="89187" y="406400"/>
                  <a:pt x="89187" y="406400"/>
                </a:cubicBezTo>
                <a:cubicBezTo>
                  <a:pt x="87070" y="403225"/>
                  <a:pt x="85280" y="399806"/>
                  <a:pt x="82837" y="396875"/>
                </a:cubicBezTo>
                <a:cubicBezTo>
                  <a:pt x="79962" y="393426"/>
                  <a:pt x="75922" y="391004"/>
                  <a:pt x="73312" y="387350"/>
                </a:cubicBezTo>
                <a:cubicBezTo>
                  <a:pt x="70561" y="383499"/>
                  <a:pt x="68720" y="379044"/>
                  <a:pt x="66962" y="374650"/>
                </a:cubicBezTo>
                <a:cubicBezTo>
                  <a:pt x="64476" y="368435"/>
                  <a:pt x="64325" y="361169"/>
                  <a:pt x="60612" y="355600"/>
                </a:cubicBezTo>
                <a:cubicBezTo>
                  <a:pt x="56379" y="349250"/>
                  <a:pt x="50325" y="343790"/>
                  <a:pt x="47912" y="336550"/>
                </a:cubicBezTo>
                <a:cubicBezTo>
                  <a:pt x="46854" y="333375"/>
                  <a:pt x="46055" y="330101"/>
                  <a:pt x="44737" y="327025"/>
                </a:cubicBezTo>
                <a:cubicBezTo>
                  <a:pt x="42873" y="322675"/>
                  <a:pt x="40049" y="318757"/>
                  <a:pt x="38387" y="314325"/>
                </a:cubicBezTo>
                <a:cubicBezTo>
                  <a:pt x="36855" y="310239"/>
                  <a:pt x="36931" y="305636"/>
                  <a:pt x="35212" y="301625"/>
                </a:cubicBezTo>
                <a:cubicBezTo>
                  <a:pt x="33709" y="298118"/>
                  <a:pt x="30569" y="295513"/>
                  <a:pt x="28862" y="292100"/>
                </a:cubicBezTo>
                <a:cubicBezTo>
                  <a:pt x="27365" y="289107"/>
                  <a:pt x="27543" y="285360"/>
                  <a:pt x="25687" y="282575"/>
                </a:cubicBezTo>
                <a:cubicBezTo>
                  <a:pt x="23196" y="278839"/>
                  <a:pt x="19037" y="276499"/>
                  <a:pt x="16162" y="273050"/>
                </a:cubicBezTo>
                <a:cubicBezTo>
                  <a:pt x="-5940" y="246528"/>
                  <a:pt x="28114" y="281827"/>
                  <a:pt x="287" y="254000"/>
                </a:cubicBezTo>
                <a:cubicBezTo>
                  <a:pt x="1345" y="245533"/>
                  <a:pt x="-2571" y="234633"/>
                  <a:pt x="3462" y="228600"/>
                </a:cubicBezTo>
                <a:cubicBezTo>
                  <a:pt x="9495" y="222567"/>
                  <a:pt x="20843" y="228341"/>
                  <a:pt x="28862" y="225425"/>
                </a:cubicBezTo>
                <a:cubicBezTo>
                  <a:pt x="33082" y="223891"/>
                  <a:pt x="35212" y="219075"/>
                  <a:pt x="38387" y="215900"/>
                </a:cubicBezTo>
                <a:cubicBezTo>
                  <a:pt x="40263" y="208394"/>
                  <a:pt x="40508" y="189446"/>
                  <a:pt x="57437" y="206375"/>
                </a:cubicBezTo>
                <a:cubicBezTo>
                  <a:pt x="60014" y="208952"/>
                  <a:pt x="65523" y="232369"/>
                  <a:pt x="66962" y="238125"/>
                </a:cubicBezTo>
                <a:cubicBezTo>
                  <a:pt x="73312" y="237067"/>
                  <a:pt x="79728" y="236347"/>
                  <a:pt x="86012" y="234950"/>
                </a:cubicBezTo>
                <a:cubicBezTo>
                  <a:pt x="89279" y="234224"/>
                  <a:pt x="93170" y="234142"/>
                  <a:pt x="95537" y="231775"/>
                </a:cubicBezTo>
                <a:cubicBezTo>
                  <a:pt x="97904" y="229408"/>
                  <a:pt x="97215" y="225243"/>
                  <a:pt x="98712" y="222250"/>
                </a:cubicBezTo>
                <a:cubicBezTo>
                  <a:pt x="100419" y="218837"/>
                  <a:pt x="102945" y="215900"/>
                  <a:pt x="105062" y="212725"/>
                </a:cubicBezTo>
                <a:cubicBezTo>
                  <a:pt x="106120" y="194733"/>
                  <a:pt x="105906" y="176621"/>
                  <a:pt x="108237" y="158750"/>
                </a:cubicBezTo>
                <a:cubicBezTo>
                  <a:pt x="109103" y="152113"/>
                  <a:pt x="113274" y="146264"/>
                  <a:pt x="114587" y="139700"/>
                </a:cubicBezTo>
                <a:cubicBezTo>
                  <a:pt x="116308" y="131095"/>
                  <a:pt x="116326" y="120529"/>
                  <a:pt x="124112" y="114300"/>
                </a:cubicBezTo>
                <a:cubicBezTo>
                  <a:pt x="126725" y="112209"/>
                  <a:pt x="130644" y="112622"/>
                  <a:pt x="133637" y="111125"/>
                </a:cubicBezTo>
                <a:cubicBezTo>
                  <a:pt x="158256" y="98815"/>
                  <a:pt x="128746" y="109580"/>
                  <a:pt x="152687" y="101600"/>
                </a:cubicBezTo>
                <a:cubicBezTo>
                  <a:pt x="189288" y="105260"/>
                  <a:pt x="193014" y="107358"/>
                  <a:pt x="235237" y="101600"/>
                </a:cubicBezTo>
                <a:cubicBezTo>
                  <a:pt x="241869" y="100696"/>
                  <a:pt x="247937" y="97367"/>
                  <a:pt x="254287" y="95250"/>
                </a:cubicBezTo>
                <a:lnTo>
                  <a:pt x="263812" y="92075"/>
                </a:lnTo>
                <a:cubicBezTo>
                  <a:pt x="265130" y="92176"/>
                  <a:pt x="302496" y="91694"/>
                  <a:pt x="314612" y="98425"/>
                </a:cubicBezTo>
                <a:cubicBezTo>
                  <a:pt x="321283" y="102131"/>
                  <a:pt x="327312" y="106892"/>
                  <a:pt x="333662" y="111125"/>
                </a:cubicBezTo>
                <a:cubicBezTo>
                  <a:pt x="337398" y="113616"/>
                  <a:pt x="339379" y="118270"/>
                  <a:pt x="343187" y="120650"/>
                </a:cubicBezTo>
                <a:cubicBezTo>
                  <a:pt x="348020" y="123671"/>
                  <a:pt x="353564" y="125500"/>
                  <a:pt x="359062" y="127000"/>
                </a:cubicBezTo>
                <a:cubicBezTo>
                  <a:pt x="365273" y="128694"/>
                  <a:pt x="371799" y="128912"/>
                  <a:pt x="378112" y="130175"/>
                </a:cubicBezTo>
                <a:cubicBezTo>
                  <a:pt x="382391" y="131031"/>
                  <a:pt x="386499" y="132686"/>
                  <a:pt x="390812" y="133350"/>
                </a:cubicBezTo>
                <a:cubicBezTo>
                  <a:pt x="403714" y="135335"/>
                  <a:pt x="443132" y="138684"/>
                  <a:pt x="454312" y="139700"/>
                </a:cubicBezTo>
                <a:cubicBezTo>
                  <a:pt x="458545" y="140758"/>
                  <a:pt x="463109" y="140924"/>
                  <a:pt x="467012" y="142875"/>
                </a:cubicBezTo>
                <a:cubicBezTo>
                  <a:pt x="473838" y="146288"/>
                  <a:pt x="479712" y="151342"/>
                  <a:pt x="486062" y="155575"/>
                </a:cubicBezTo>
                <a:cubicBezTo>
                  <a:pt x="489237" y="157692"/>
                  <a:pt x="492174" y="160218"/>
                  <a:pt x="495587" y="161925"/>
                </a:cubicBezTo>
                <a:cubicBezTo>
                  <a:pt x="499820" y="164042"/>
                  <a:pt x="503937" y="166411"/>
                  <a:pt x="508287" y="168275"/>
                </a:cubicBezTo>
                <a:cubicBezTo>
                  <a:pt x="511363" y="169593"/>
                  <a:pt x="514819" y="169953"/>
                  <a:pt x="517812" y="171450"/>
                </a:cubicBezTo>
                <a:cubicBezTo>
                  <a:pt x="521225" y="173157"/>
                  <a:pt x="523764" y="176460"/>
                  <a:pt x="527337" y="177800"/>
                </a:cubicBezTo>
                <a:cubicBezTo>
                  <a:pt x="532390" y="179695"/>
                  <a:pt x="538006" y="179555"/>
                  <a:pt x="543212" y="180975"/>
                </a:cubicBezTo>
                <a:cubicBezTo>
                  <a:pt x="549670" y="182736"/>
                  <a:pt x="555912" y="185208"/>
                  <a:pt x="562262" y="187325"/>
                </a:cubicBezTo>
                <a:lnTo>
                  <a:pt x="581312" y="193675"/>
                </a:lnTo>
                <a:cubicBezTo>
                  <a:pt x="584487" y="194733"/>
                  <a:pt x="587555" y="196194"/>
                  <a:pt x="590837" y="196850"/>
                </a:cubicBezTo>
                <a:cubicBezTo>
                  <a:pt x="596129" y="197908"/>
                  <a:pt x="601506" y="198605"/>
                  <a:pt x="606712" y="200025"/>
                </a:cubicBezTo>
                <a:cubicBezTo>
                  <a:pt x="613170" y="201786"/>
                  <a:pt x="619268" y="204752"/>
                  <a:pt x="625762" y="206375"/>
                </a:cubicBezTo>
                <a:cubicBezTo>
                  <a:pt x="629995" y="207433"/>
                  <a:pt x="634282" y="208296"/>
                  <a:pt x="638462" y="209550"/>
                </a:cubicBezTo>
                <a:cubicBezTo>
                  <a:pt x="652322" y="213708"/>
                  <a:pt x="665515" y="219406"/>
                  <a:pt x="679737" y="222250"/>
                </a:cubicBezTo>
                <a:cubicBezTo>
                  <a:pt x="686050" y="223513"/>
                  <a:pt x="692542" y="223864"/>
                  <a:pt x="698787" y="225425"/>
                </a:cubicBezTo>
                <a:cubicBezTo>
                  <a:pt x="705281" y="227048"/>
                  <a:pt x="717837" y="231775"/>
                  <a:pt x="717837" y="231775"/>
                </a:cubicBezTo>
                <a:cubicBezTo>
                  <a:pt x="727362" y="230717"/>
                  <a:pt x="742693" y="237433"/>
                  <a:pt x="746412" y="228600"/>
                </a:cubicBezTo>
                <a:cubicBezTo>
                  <a:pt x="751942" y="215466"/>
                  <a:pt x="745818" y="178896"/>
                  <a:pt x="740062" y="158750"/>
                </a:cubicBezTo>
                <a:cubicBezTo>
                  <a:pt x="739143" y="155532"/>
                  <a:pt x="738384" y="152218"/>
                  <a:pt x="736887" y="149225"/>
                </a:cubicBezTo>
                <a:cubicBezTo>
                  <a:pt x="735180" y="145812"/>
                  <a:pt x="732654" y="142875"/>
                  <a:pt x="730537" y="139700"/>
                </a:cubicBezTo>
                <a:cubicBezTo>
                  <a:pt x="729479" y="127000"/>
                  <a:pt x="729861" y="114097"/>
                  <a:pt x="727362" y="101600"/>
                </a:cubicBezTo>
                <a:cubicBezTo>
                  <a:pt x="726614" y="97858"/>
                  <a:pt x="721639" y="95839"/>
                  <a:pt x="721012" y="92075"/>
                </a:cubicBezTo>
                <a:cubicBezTo>
                  <a:pt x="719230" y="81380"/>
                  <a:pt x="727028" y="81603"/>
                  <a:pt x="733712" y="79375"/>
                </a:cubicBezTo>
                <a:cubicBezTo>
                  <a:pt x="746412" y="80433"/>
                  <a:pt x="759241" y="80455"/>
                  <a:pt x="771812" y="82550"/>
                </a:cubicBezTo>
                <a:cubicBezTo>
                  <a:pt x="778414" y="83650"/>
                  <a:pt x="784169" y="88900"/>
                  <a:pt x="790862" y="88900"/>
                </a:cubicBezTo>
                <a:lnTo>
                  <a:pt x="838487" y="88900"/>
                </a:lnTo>
                <a:lnTo>
                  <a:pt x="1028987" y="92075"/>
                </a:lnTo>
                <a:lnTo>
                  <a:pt x="1371887" y="63500"/>
                </a:lnTo>
                <a:lnTo>
                  <a:pt x="1584612" y="19050"/>
                </a:lnTo>
                <a:lnTo>
                  <a:pt x="1743362" y="0"/>
                </a:lnTo>
                <a:lnTo>
                  <a:pt x="1854487" y="60325"/>
                </a:lnTo>
                <a:lnTo>
                  <a:pt x="1860837" y="155575"/>
                </a:lnTo>
                <a:lnTo>
                  <a:pt x="1819562" y="295275"/>
                </a:lnTo>
                <a:lnTo>
                  <a:pt x="1762412" y="434975"/>
                </a:lnTo>
                <a:lnTo>
                  <a:pt x="1498887" y="482600"/>
                </a:lnTo>
                <a:lnTo>
                  <a:pt x="1406812" y="1133475"/>
                </a:lnTo>
                <a:lnTo>
                  <a:pt x="1375062" y="1358900"/>
                </a:lnTo>
                <a:lnTo>
                  <a:pt x="1241712" y="1317625"/>
                </a:lnTo>
                <a:lnTo>
                  <a:pt x="946437" y="1171575"/>
                </a:lnTo>
                <a:lnTo>
                  <a:pt x="638462" y="946150"/>
                </a:lnTo>
                <a:lnTo>
                  <a:pt x="368587" y="708025"/>
                </a:lnTo>
                <a:lnTo>
                  <a:pt x="190787" y="523875"/>
                </a:lnTo>
                <a:lnTo>
                  <a:pt x="143162" y="466725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5" name="Полилиния 304"/>
          <p:cNvSpPr/>
          <p:nvPr/>
        </p:nvSpPr>
        <p:spPr>
          <a:xfrm rot="20939240">
            <a:off x="4489738" y="3145120"/>
            <a:ext cx="1788478" cy="2048974"/>
          </a:xfrm>
          <a:custGeom>
            <a:avLst/>
            <a:gdLst>
              <a:gd name="connsiteX0" fmla="*/ 0 w 1543050"/>
              <a:gd name="connsiteY0" fmla="*/ 968375 h 1631950"/>
              <a:gd name="connsiteX1" fmla="*/ 25400 w 1543050"/>
              <a:gd name="connsiteY1" fmla="*/ 815975 h 1631950"/>
              <a:gd name="connsiteX2" fmla="*/ 25400 w 1543050"/>
              <a:gd name="connsiteY2" fmla="*/ 641350 h 1631950"/>
              <a:gd name="connsiteX3" fmla="*/ 104775 w 1543050"/>
              <a:gd name="connsiteY3" fmla="*/ 501650 h 1631950"/>
              <a:gd name="connsiteX4" fmla="*/ 298450 w 1543050"/>
              <a:gd name="connsiteY4" fmla="*/ 209550 h 1631950"/>
              <a:gd name="connsiteX5" fmla="*/ 425450 w 1543050"/>
              <a:gd name="connsiteY5" fmla="*/ 25400 h 1631950"/>
              <a:gd name="connsiteX6" fmla="*/ 466725 w 1543050"/>
              <a:gd name="connsiteY6" fmla="*/ 15875 h 1631950"/>
              <a:gd name="connsiteX7" fmla="*/ 488950 w 1543050"/>
              <a:gd name="connsiteY7" fmla="*/ 6350 h 1631950"/>
              <a:gd name="connsiteX8" fmla="*/ 514350 w 1543050"/>
              <a:gd name="connsiteY8" fmla="*/ 0 h 1631950"/>
              <a:gd name="connsiteX9" fmla="*/ 565150 w 1543050"/>
              <a:gd name="connsiteY9" fmla="*/ 9525 h 1631950"/>
              <a:gd name="connsiteX10" fmla="*/ 584200 w 1543050"/>
              <a:gd name="connsiteY10" fmla="*/ 22225 h 1631950"/>
              <a:gd name="connsiteX11" fmla="*/ 593725 w 1543050"/>
              <a:gd name="connsiteY11" fmla="*/ 28575 h 1631950"/>
              <a:gd name="connsiteX12" fmla="*/ 606425 w 1543050"/>
              <a:gd name="connsiteY12" fmla="*/ 31750 h 1631950"/>
              <a:gd name="connsiteX13" fmla="*/ 625475 w 1543050"/>
              <a:gd name="connsiteY13" fmla="*/ 44450 h 1631950"/>
              <a:gd name="connsiteX14" fmla="*/ 635000 w 1543050"/>
              <a:gd name="connsiteY14" fmla="*/ 50800 h 1631950"/>
              <a:gd name="connsiteX15" fmla="*/ 647700 w 1543050"/>
              <a:gd name="connsiteY15" fmla="*/ 57150 h 1631950"/>
              <a:gd name="connsiteX16" fmla="*/ 669925 w 1543050"/>
              <a:gd name="connsiteY16" fmla="*/ 73025 h 1631950"/>
              <a:gd name="connsiteX17" fmla="*/ 679450 w 1543050"/>
              <a:gd name="connsiteY17" fmla="*/ 79375 h 1631950"/>
              <a:gd name="connsiteX18" fmla="*/ 711200 w 1543050"/>
              <a:gd name="connsiteY18" fmla="*/ 111125 h 1631950"/>
              <a:gd name="connsiteX19" fmla="*/ 720725 w 1543050"/>
              <a:gd name="connsiteY19" fmla="*/ 120650 h 1631950"/>
              <a:gd name="connsiteX20" fmla="*/ 730250 w 1543050"/>
              <a:gd name="connsiteY20" fmla="*/ 139700 h 1631950"/>
              <a:gd name="connsiteX21" fmla="*/ 736600 w 1543050"/>
              <a:gd name="connsiteY21" fmla="*/ 149225 h 1631950"/>
              <a:gd name="connsiteX22" fmla="*/ 739775 w 1543050"/>
              <a:gd name="connsiteY22" fmla="*/ 158750 h 1631950"/>
              <a:gd name="connsiteX23" fmla="*/ 749300 w 1543050"/>
              <a:gd name="connsiteY23" fmla="*/ 171450 h 1631950"/>
              <a:gd name="connsiteX24" fmla="*/ 758825 w 1543050"/>
              <a:gd name="connsiteY24" fmla="*/ 193675 h 1631950"/>
              <a:gd name="connsiteX25" fmla="*/ 774700 w 1543050"/>
              <a:gd name="connsiteY25" fmla="*/ 212725 h 1631950"/>
              <a:gd name="connsiteX26" fmla="*/ 796925 w 1543050"/>
              <a:gd name="connsiteY26" fmla="*/ 244475 h 1631950"/>
              <a:gd name="connsiteX27" fmla="*/ 809625 w 1543050"/>
              <a:gd name="connsiteY27" fmla="*/ 263525 h 1631950"/>
              <a:gd name="connsiteX28" fmla="*/ 815975 w 1543050"/>
              <a:gd name="connsiteY28" fmla="*/ 273050 h 1631950"/>
              <a:gd name="connsiteX29" fmla="*/ 825500 w 1543050"/>
              <a:gd name="connsiteY29" fmla="*/ 295275 h 1631950"/>
              <a:gd name="connsiteX30" fmla="*/ 835025 w 1543050"/>
              <a:gd name="connsiteY30" fmla="*/ 307975 h 1631950"/>
              <a:gd name="connsiteX31" fmla="*/ 866775 w 1543050"/>
              <a:gd name="connsiteY31" fmla="*/ 327025 h 1631950"/>
              <a:gd name="connsiteX32" fmla="*/ 895350 w 1543050"/>
              <a:gd name="connsiteY32" fmla="*/ 333375 h 1631950"/>
              <a:gd name="connsiteX33" fmla="*/ 923925 w 1543050"/>
              <a:gd name="connsiteY33" fmla="*/ 346075 h 1631950"/>
              <a:gd name="connsiteX34" fmla="*/ 936625 w 1543050"/>
              <a:gd name="connsiteY34" fmla="*/ 349250 h 1631950"/>
              <a:gd name="connsiteX35" fmla="*/ 958850 w 1543050"/>
              <a:gd name="connsiteY35" fmla="*/ 355600 h 1631950"/>
              <a:gd name="connsiteX36" fmla="*/ 974725 w 1543050"/>
              <a:gd name="connsiteY36" fmla="*/ 358775 h 1631950"/>
              <a:gd name="connsiteX37" fmla="*/ 993775 w 1543050"/>
              <a:gd name="connsiteY37" fmla="*/ 365125 h 1631950"/>
              <a:gd name="connsiteX38" fmla="*/ 1003300 w 1543050"/>
              <a:gd name="connsiteY38" fmla="*/ 368300 h 1631950"/>
              <a:gd name="connsiteX39" fmla="*/ 1016000 w 1543050"/>
              <a:gd name="connsiteY39" fmla="*/ 371475 h 1631950"/>
              <a:gd name="connsiteX40" fmla="*/ 1028700 w 1543050"/>
              <a:gd name="connsiteY40" fmla="*/ 377825 h 1631950"/>
              <a:gd name="connsiteX41" fmla="*/ 1047750 w 1543050"/>
              <a:gd name="connsiteY41" fmla="*/ 384175 h 1631950"/>
              <a:gd name="connsiteX42" fmla="*/ 1066800 w 1543050"/>
              <a:gd name="connsiteY42" fmla="*/ 390525 h 1631950"/>
              <a:gd name="connsiteX43" fmla="*/ 1079500 w 1543050"/>
              <a:gd name="connsiteY43" fmla="*/ 396875 h 1631950"/>
              <a:gd name="connsiteX44" fmla="*/ 1092200 w 1543050"/>
              <a:gd name="connsiteY44" fmla="*/ 400050 h 1631950"/>
              <a:gd name="connsiteX45" fmla="*/ 1104900 w 1543050"/>
              <a:gd name="connsiteY45" fmla="*/ 406400 h 1631950"/>
              <a:gd name="connsiteX46" fmla="*/ 1130300 w 1543050"/>
              <a:gd name="connsiteY46" fmla="*/ 412750 h 1631950"/>
              <a:gd name="connsiteX47" fmla="*/ 1162050 w 1543050"/>
              <a:gd name="connsiteY47" fmla="*/ 422275 h 1631950"/>
              <a:gd name="connsiteX48" fmla="*/ 1200150 w 1543050"/>
              <a:gd name="connsiteY48" fmla="*/ 425450 h 1631950"/>
              <a:gd name="connsiteX49" fmla="*/ 1219200 w 1543050"/>
              <a:gd name="connsiteY49" fmla="*/ 431800 h 1631950"/>
              <a:gd name="connsiteX50" fmla="*/ 1247775 w 1543050"/>
              <a:gd name="connsiteY50" fmla="*/ 454025 h 1631950"/>
              <a:gd name="connsiteX51" fmla="*/ 1257300 w 1543050"/>
              <a:gd name="connsiteY51" fmla="*/ 460375 h 1631950"/>
              <a:gd name="connsiteX52" fmla="*/ 1266825 w 1543050"/>
              <a:gd name="connsiteY52" fmla="*/ 469900 h 1631950"/>
              <a:gd name="connsiteX53" fmla="*/ 1279525 w 1543050"/>
              <a:gd name="connsiteY53" fmla="*/ 492125 h 1631950"/>
              <a:gd name="connsiteX54" fmla="*/ 1282700 w 1543050"/>
              <a:gd name="connsiteY54" fmla="*/ 501650 h 1631950"/>
              <a:gd name="connsiteX55" fmla="*/ 1282700 w 1543050"/>
              <a:gd name="connsiteY55" fmla="*/ 584200 h 1631950"/>
              <a:gd name="connsiteX56" fmla="*/ 1276350 w 1543050"/>
              <a:gd name="connsiteY56" fmla="*/ 593725 h 1631950"/>
              <a:gd name="connsiteX57" fmla="*/ 1266825 w 1543050"/>
              <a:gd name="connsiteY57" fmla="*/ 615950 h 1631950"/>
              <a:gd name="connsiteX58" fmla="*/ 1254125 w 1543050"/>
              <a:gd name="connsiteY58" fmla="*/ 628650 h 1631950"/>
              <a:gd name="connsiteX59" fmla="*/ 1231900 w 1543050"/>
              <a:gd name="connsiteY59" fmla="*/ 669925 h 1631950"/>
              <a:gd name="connsiteX60" fmla="*/ 1225550 w 1543050"/>
              <a:gd name="connsiteY60" fmla="*/ 679450 h 1631950"/>
              <a:gd name="connsiteX61" fmla="*/ 1216025 w 1543050"/>
              <a:gd name="connsiteY61" fmla="*/ 698500 h 1631950"/>
              <a:gd name="connsiteX62" fmla="*/ 1212850 w 1543050"/>
              <a:gd name="connsiteY62" fmla="*/ 708025 h 1631950"/>
              <a:gd name="connsiteX63" fmla="*/ 1206500 w 1543050"/>
              <a:gd name="connsiteY63" fmla="*/ 717550 h 1631950"/>
              <a:gd name="connsiteX64" fmla="*/ 1200150 w 1543050"/>
              <a:gd name="connsiteY64" fmla="*/ 730250 h 1631950"/>
              <a:gd name="connsiteX65" fmla="*/ 1187450 w 1543050"/>
              <a:gd name="connsiteY65" fmla="*/ 742950 h 1631950"/>
              <a:gd name="connsiteX66" fmla="*/ 1177925 w 1543050"/>
              <a:gd name="connsiteY66" fmla="*/ 762000 h 1631950"/>
              <a:gd name="connsiteX67" fmla="*/ 1168400 w 1543050"/>
              <a:gd name="connsiteY67" fmla="*/ 774700 h 1631950"/>
              <a:gd name="connsiteX68" fmla="*/ 1155700 w 1543050"/>
              <a:gd name="connsiteY68" fmla="*/ 793750 h 1631950"/>
              <a:gd name="connsiteX69" fmla="*/ 1149350 w 1543050"/>
              <a:gd name="connsiteY69" fmla="*/ 803275 h 1631950"/>
              <a:gd name="connsiteX70" fmla="*/ 1143000 w 1543050"/>
              <a:gd name="connsiteY70" fmla="*/ 815975 h 1631950"/>
              <a:gd name="connsiteX71" fmla="*/ 1133475 w 1543050"/>
              <a:gd name="connsiteY71" fmla="*/ 828675 h 1631950"/>
              <a:gd name="connsiteX72" fmla="*/ 1127125 w 1543050"/>
              <a:gd name="connsiteY72" fmla="*/ 838200 h 1631950"/>
              <a:gd name="connsiteX73" fmla="*/ 1123950 w 1543050"/>
              <a:gd name="connsiteY73" fmla="*/ 850900 h 1631950"/>
              <a:gd name="connsiteX74" fmla="*/ 1117600 w 1543050"/>
              <a:gd name="connsiteY74" fmla="*/ 860425 h 1631950"/>
              <a:gd name="connsiteX75" fmla="*/ 1114425 w 1543050"/>
              <a:gd name="connsiteY75" fmla="*/ 869950 h 1631950"/>
              <a:gd name="connsiteX76" fmla="*/ 1111250 w 1543050"/>
              <a:gd name="connsiteY76" fmla="*/ 895350 h 1631950"/>
              <a:gd name="connsiteX77" fmla="*/ 1108075 w 1543050"/>
              <a:gd name="connsiteY77" fmla="*/ 904875 h 1631950"/>
              <a:gd name="connsiteX78" fmla="*/ 1114425 w 1543050"/>
              <a:gd name="connsiteY78" fmla="*/ 946150 h 1631950"/>
              <a:gd name="connsiteX79" fmla="*/ 1117600 w 1543050"/>
              <a:gd name="connsiteY79" fmla="*/ 958850 h 1631950"/>
              <a:gd name="connsiteX80" fmla="*/ 1123950 w 1543050"/>
              <a:gd name="connsiteY80" fmla="*/ 968375 h 1631950"/>
              <a:gd name="connsiteX81" fmla="*/ 1130300 w 1543050"/>
              <a:gd name="connsiteY81" fmla="*/ 990600 h 1631950"/>
              <a:gd name="connsiteX82" fmla="*/ 1136650 w 1543050"/>
              <a:gd name="connsiteY82" fmla="*/ 1000125 h 1631950"/>
              <a:gd name="connsiteX83" fmla="*/ 1146175 w 1543050"/>
              <a:gd name="connsiteY83" fmla="*/ 1006475 h 1631950"/>
              <a:gd name="connsiteX84" fmla="*/ 1165225 w 1543050"/>
              <a:gd name="connsiteY84" fmla="*/ 1025525 h 1631950"/>
              <a:gd name="connsiteX85" fmla="*/ 1184275 w 1543050"/>
              <a:gd name="connsiteY85" fmla="*/ 1028700 h 1631950"/>
              <a:gd name="connsiteX86" fmla="*/ 1193800 w 1543050"/>
              <a:gd name="connsiteY86" fmla="*/ 1031875 h 1631950"/>
              <a:gd name="connsiteX87" fmla="*/ 1222375 w 1543050"/>
              <a:gd name="connsiteY87" fmla="*/ 1038225 h 1631950"/>
              <a:gd name="connsiteX88" fmla="*/ 1292225 w 1543050"/>
              <a:gd name="connsiteY88" fmla="*/ 1035050 h 1631950"/>
              <a:gd name="connsiteX89" fmla="*/ 1301750 w 1543050"/>
              <a:gd name="connsiteY89" fmla="*/ 1031875 h 1631950"/>
              <a:gd name="connsiteX90" fmla="*/ 1311275 w 1543050"/>
              <a:gd name="connsiteY90" fmla="*/ 1025525 h 1631950"/>
              <a:gd name="connsiteX91" fmla="*/ 1365250 w 1543050"/>
              <a:gd name="connsiteY91" fmla="*/ 1028700 h 1631950"/>
              <a:gd name="connsiteX92" fmla="*/ 1387475 w 1543050"/>
              <a:gd name="connsiteY92" fmla="*/ 1031875 h 1631950"/>
              <a:gd name="connsiteX93" fmla="*/ 1397000 w 1543050"/>
              <a:gd name="connsiteY93" fmla="*/ 1038225 h 1631950"/>
              <a:gd name="connsiteX94" fmla="*/ 1412875 w 1543050"/>
              <a:gd name="connsiteY94" fmla="*/ 1041400 h 1631950"/>
              <a:gd name="connsiteX95" fmla="*/ 1422400 w 1543050"/>
              <a:gd name="connsiteY95" fmla="*/ 1047750 h 1631950"/>
              <a:gd name="connsiteX96" fmla="*/ 1454150 w 1543050"/>
              <a:gd name="connsiteY96" fmla="*/ 1057275 h 1631950"/>
              <a:gd name="connsiteX97" fmla="*/ 1463675 w 1543050"/>
              <a:gd name="connsiteY97" fmla="*/ 1063625 h 1631950"/>
              <a:gd name="connsiteX98" fmla="*/ 1482725 w 1543050"/>
              <a:gd name="connsiteY98" fmla="*/ 1073150 h 1631950"/>
              <a:gd name="connsiteX99" fmla="*/ 1501775 w 1543050"/>
              <a:gd name="connsiteY99" fmla="*/ 1092200 h 1631950"/>
              <a:gd name="connsiteX100" fmla="*/ 1511300 w 1543050"/>
              <a:gd name="connsiteY100" fmla="*/ 1101725 h 1631950"/>
              <a:gd name="connsiteX101" fmla="*/ 1517650 w 1543050"/>
              <a:gd name="connsiteY101" fmla="*/ 1120775 h 1631950"/>
              <a:gd name="connsiteX102" fmla="*/ 1530350 w 1543050"/>
              <a:gd name="connsiteY102" fmla="*/ 1139825 h 1631950"/>
              <a:gd name="connsiteX103" fmla="*/ 1533525 w 1543050"/>
              <a:gd name="connsiteY103" fmla="*/ 1149350 h 1631950"/>
              <a:gd name="connsiteX104" fmla="*/ 1543050 w 1543050"/>
              <a:gd name="connsiteY104" fmla="*/ 1190625 h 1631950"/>
              <a:gd name="connsiteX105" fmla="*/ 1539875 w 1543050"/>
              <a:gd name="connsiteY105" fmla="*/ 1235075 h 1631950"/>
              <a:gd name="connsiteX106" fmla="*/ 1530350 w 1543050"/>
              <a:gd name="connsiteY106" fmla="*/ 1244600 h 1631950"/>
              <a:gd name="connsiteX107" fmla="*/ 1527175 w 1543050"/>
              <a:gd name="connsiteY107" fmla="*/ 1254125 h 1631950"/>
              <a:gd name="connsiteX108" fmla="*/ 1511300 w 1543050"/>
              <a:gd name="connsiteY108" fmla="*/ 1273175 h 1631950"/>
              <a:gd name="connsiteX109" fmla="*/ 1504950 w 1543050"/>
              <a:gd name="connsiteY109" fmla="*/ 1285875 h 1631950"/>
              <a:gd name="connsiteX110" fmla="*/ 1485900 w 1543050"/>
              <a:gd name="connsiteY110" fmla="*/ 1304925 h 1631950"/>
              <a:gd name="connsiteX111" fmla="*/ 1479550 w 1543050"/>
              <a:gd name="connsiteY111" fmla="*/ 1314450 h 1631950"/>
              <a:gd name="connsiteX112" fmla="*/ 1381125 w 1543050"/>
              <a:gd name="connsiteY112" fmla="*/ 1438275 h 1631950"/>
              <a:gd name="connsiteX113" fmla="*/ 1206500 w 1543050"/>
              <a:gd name="connsiteY113" fmla="*/ 1514475 h 1631950"/>
              <a:gd name="connsiteX114" fmla="*/ 1136650 w 1543050"/>
              <a:gd name="connsiteY114" fmla="*/ 1536700 h 1631950"/>
              <a:gd name="connsiteX115" fmla="*/ 1006475 w 1543050"/>
              <a:gd name="connsiteY115" fmla="*/ 1631950 h 1631950"/>
              <a:gd name="connsiteX116" fmla="*/ 968375 w 1543050"/>
              <a:gd name="connsiteY116" fmla="*/ 1577975 h 1631950"/>
              <a:gd name="connsiteX117" fmla="*/ 955675 w 1543050"/>
              <a:gd name="connsiteY117" fmla="*/ 1555750 h 1631950"/>
              <a:gd name="connsiteX118" fmla="*/ 958850 w 1543050"/>
              <a:gd name="connsiteY118" fmla="*/ 1511300 h 1631950"/>
              <a:gd name="connsiteX119" fmla="*/ 711200 w 1543050"/>
              <a:gd name="connsiteY119" fmla="*/ 1260475 h 1631950"/>
              <a:gd name="connsiteX120" fmla="*/ 463550 w 1543050"/>
              <a:gd name="connsiteY120" fmla="*/ 1085850 h 1631950"/>
              <a:gd name="connsiteX121" fmla="*/ 279400 w 1543050"/>
              <a:gd name="connsiteY121" fmla="*/ 923925 h 1631950"/>
              <a:gd name="connsiteX122" fmla="*/ 0 w 1543050"/>
              <a:gd name="connsiteY122" fmla="*/ 968375 h 163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1543050" h="1631950">
                <a:moveTo>
                  <a:pt x="0" y="968375"/>
                </a:moveTo>
                <a:lnTo>
                  <a:pt x="25400" y="815975"/>
                </a:lnTo>
                <a:lnTo>
                  <a:pt x="25400" y="641350"/>
                </a:lnTo>
                <a:lnTo>
                  <a:pt x="104775" y="501650"/>
                </a:lnTo>
                <a:lnTo>
                  <a:pt x="298450" y="209550"/>
                </a:lnTo>
                <a:lnTo>
                  <a:pt x="425450" y="25400"/>
                </a:lnTo>
                <a:cubicBezTo>
                  <a:pt x="430405" y="24299"/>
                  <a:pt x="457027" y="18646"/>
                  <a:pt x="466725" y="15875"/>
                </a:cubicBezTo>
                <a:cubicBezTo>
                  <a:pt x="481617" y="11620"/>
                  <a:pt x="472017" y="13607"/>
                  <a:pt x="488950" y="6350"/>
                </a:cubicBezTo>
                <a:cubicBezTo>
                  <a:pt x="497493" y="2689"/>
                  <a:pt x="505032" y="1864"/>
                  <a:pt x="514350" y="0"/>
                </a:cubicBezTo>
                <a:cubicBezTo>
                  <a:pt x="525522" y="1117"/>
                  <a:pt x="553151" y="1526"/>
                  <a:pt x="565150" y="9525"/>
                </a:cubicBezTo>
                <a:lnTo>
                  <a:pt x="584200" y="22225"/>
                </a:lnTo>
                <a:cubicBezTo>
                  <a:pt x="587375" y="24342"/>
                  <a:pt x="590023" y="27650"/>
                  <a:pt x="593725" y="28575"/>
                </a:cubicBezTo>
                <a:lnTo>
                  <a:pt x="606425" y="31750"/>
                </a:lnTo>
                <a:cubicBezTo>
                  <a:pt x="624481" y="49806"/>
                  <a:pt x="607095" y="35260"/>
                  <a:pt x="625475" y="44450"/>
                </a:cubicBezTo>
                <a:cubicBezTo>
                  <a:pt x="628888" y="46157"/>
                  <a:pt x="631687" y="48907"/>
                  <a:pt x="635000" y="50800"/>
                </a:cubicBezTo>
                <a:cubicBezTo>
                  <a:pt x="639109" y="53148"/>
                  <a:pt x="643591" y="54802"/>
                  <a:pt x="647700" y="57150"/>
                </a:cubicBezTo>
                <a:cubicBezTo>
                  <a:pt x="655183" y="61426"/>
                  <a:pt x="663111" y="68158"/>
                  <a:pt x="669925" y="73025"/>
                </a:cubicBezTo>
                <a:cubicBezTo>
                  <a:pt x="673030" y="75243"/>
                  <a:pt x="676614" y="76822"/>
                  <a:pt x="679450" y="79375"/>
                </a:cubicBezTo>
                <a:lnTo>
                  <a:pt x="711200" y="111125"/>
                </a:lnTo>
                <a:cubicBezTo>
                  <a:pt x="714375" y="114300"/>
                  <a:pt x="718234" y="116914"/>
                  <a:pt x="720725" y="120650"/>
                </a:cubicBezTo>
                <a:cubicBezTo>
                  <a:pt x="738923" y="147947"/>
                  <a:pt x="717105" y="113410"/>
                  <a:pt x="730250" y="139700"/>
                </a:cubicBezTo>
                <a:cubicBezTo>
                  <a:pt x="731957" y="143113"/>
                  <a:pt x="734893" y="145812"/>
                  <a:pt x="736600" y="149225"/>
                </a:cubicBezTo>
                <a:cubicBezTo>
                  <a:pt x="738097" y="152218"/>
                  <a:pt x="738115" y="155844"/>
                  <a:pt x="739775" y="158750"/>
                </a:cubicBezTo>
                <a:cubicBezTo>
                  <a:pt x="742400" y="163344"/>
                  <a:pt x="746125" y="167217"/>
                  <a:pt x="749300" y="171450"/>
                </a:cubicBezTo>
                <a:cubicBezTo>
                  <a:pt x="751891" y="179223"/>
                  <a:pt x="753921" y="186809"/>
                  <a:pt x="758825" y="193675"/>
                </a:cubicBezTo>
                <a:cubicBezTo>
                  <a:pt x="774329" y="215381"/>
                  <a:pt x="763071" y="191405"/>
                  <a:pt x="774700" y="212725"/>
                </a:cubicBezTo>
                <a:cubicBezTo>
                  <a:pt x="791165" y="242910"/>
                  <a:pt x="778694" y="232321"/>
                  <a:pt x="796925" y="244475"/>
                </a:cubicBezTo>
                <a:lnTo>
                  <a:pt x="809625" y="263525"/>
                </a:lnTo>
                <a:cubicBezTo>
                  <a:pt x="811742" y="266700"/>
                  <a:pt x="814768" y="269430"/>
                  <a:pt x="815975" y="273050"/>
                </a:cubicBezTo>
                <a:cubicBezTo>
                  <a:pt x="819061" y="282309"/>
                  <a:pt x="819895" y="286307"/>
                  <a:pt x="825500" y="295275"/>
                </a:cubicBezTo>
                <a:cubicBezTo>
                  <a:pt x="828305" y="299762"/>
                  <a:pt x="831070" y="304459"/>
                  <a:pt x="835025" y="307975"/>
                </a:cubicBezTo>
                <a:cubicBezTo>
                  <a:pt x="838806" y="311336"/>
                  <a:pt x="859161" y="324682"/>
                  <a:pt x="866775" y="327025"/>
                </a:cubicBezTo>
                <a:cubicBezTo>
                  <a:pt x="876101" y="329894"/>
                  <a:pt x="885884" y="331008"/>
                  <a:pt x="895350" y="333375"/>
                </a:cubicBezTo>
                <a:cubicBezTo>
                  <a:pt x="909504" y="336914"/>
                  <a:pt x="906349" y="339045"/>
                  <a:pt x="923925" y="346075"/>
                </a:cubicBezTo>
                <a:cubicBezTo>
                  <a:pt x="927977" y="347696"/>
                  <a:pt x="932415" y="348102"/>
                  <a:pt x="936625" y="349250"/>
                </a:cubicBezTo>
                <a:cubicBezTo>
                  <a:pt x="944058" y="351277"/>
                  <a:pt x="951375" y="353731"/>
                  <a:pt x="958850" y="355600"/>
                </a:cubicBezTo>
                <a:cubicBezTo>
                  <a:pt x="964085" y="356909"/>
                  <a:pt x="969519" y="357355"/>
                  <a:pt x="974725" y="358775"/>
                </a:cubicBezTo>
                <a:cubicBezTo>
                  <a:pt x="981183" y="360536"/>
                  <a:pt x="987425" y="363008"/>
                  <a:pt x="993775" y="365125"/>
                </a:cubicBezTo>
                <a:cubicBezTo>
                  <a:pt x="996950" y="366183"/>
                  <a:pt x="1000053" y="367488"/>
                  <a:pt x="1003300" y="368300"/>
                </a:cubicBezTo>
                <a:cubicBezTo>
                  <a:pt x="1007533" y="369358"/>
                  <a:pt x="1011914" y="369943"/>
                  <a:pt x="1016000" y="371475"/>
                </a:cubicBezTo>
                <a:cubicBezTo>
                  <a:pt x="1020432" y="373137"/>
                  <a:pt x="1024306" y="376067"/>
                  <a:pt x="1028700" y="377825"/>
                </a:cubicBezTo>
                <a:cubicBezTo>
                  <a:pt x="1034915" y="380311"/>
                  <a:pt x="1041400" y="382058"/>
                  <a:pt x="1047750" y="384175"/>
                </a:cubicBezTo>
                <a:cubicBezTo>
                  <a:pt x="1054100" y="386292"/>
                  <a:pt x="1060813" y="387532"/>
                  <a:pt x="1066800" y="390525"/>
                </a:cubicBezTo>
                <a:cubicBezTo>
                  <a:pt x="1071033" y="392642"/>
                  <a:pt x="1075068" y="395213"/>
                  <a:pt x="1079500" y="396875"/>
                </a:cubicBezTo>
                <a:cubicBezTo>
                  <a:pt x="1083586" y="398407"/>
                  <a:pt x="1088114" y="398518"/>
                  <a:pt x="1092200" y="400050"/>
                </a:cubicBezTo>
                <a:cubicBezTo>
                  <a:pt x="1096632" y="401712"/>
                  <a:pt x="1100410" y="404903"/>
                  <a:pt x="1104900" y="406400"/>
                </a:cubicBezTo>
                <a:cubicBezTo>
                  <a:pt x="1113179" y="409160"/>
                  <a:pt x="1122021" y="409990"/>
                  <a:pt x="1130300" y="412750"/>
                </a:cubicBezTo>
                <a:cubicBezTo>
                  <a:pt x="1135825" y="414592"/>
                  <a:pt x="1154373" y="421315"/>
                  <a:pt x="1162050" y="422275"/>
                </a:cubicBezTo>
                <a:cubicBezTo>
                  <a:pt x="1174696" y="423856"/>
                  <a:pt x="1187450" y="424392"/>
                  <a:pt x="1200150" y="425450"/>
                </a:cubicBezTo>
                <a:cubicBezTo>
                  <a:pt x="1206500" y="427567"/>
                  <a:pt x="1213631" y="428087"/>
                  <a:pt x="1219200" y="431800"/>
                </a:cubicBezTo>
                <a:cubicBezTo>
                  <a:pt x="1267348" y="463898"/>
                  <a:pt x="1217932" y="429156"/>
                  <a:pt x="1247775" y="454025"/>
                </a:cubicBezTo>
                <a:cubicBezTo>
                  <a:pt x="1250706" y="456468"/>
                  <a:pt x="1254369" y="457932"/>
                  <a:pt x="1257300" y="460375"/>
                </a:cubicBezTo>
                <a:cubicBezTo>
                  <a:pt x="1260749" y="463250"/>
                  <a:pt x="1263950" y="466451"/>
                  <a:pt x="1266825" y="469900"/>
                </a:cubicBezTo>
                <a:cubicBezTo>
                  <a:pt x="1271514" y="475527"/>
                  <a:pt x="1276785" y="485731"/>
                  <a:pt x="1279525" y="492125"/>
                </a:cubicBezTo>
                <a:cubicBezTo>
                  <a:pt x="1280843" y="495201"/>
                  <a:pt x="1281642" y="498475"/>
                  <a:pt x="1282700" y="501650"/>
                </a:cubicBezTo>
                <a:cubicBezTo>
                  <a:pt x="1287643" y="536253"/>
                  <a:pt x="1289173" y="536733"/>
                  <a:pt x="1282700" y="584200"/>
                </a:cubicBezTo>
                <a:cubicBezTo>
                  <a:pt x="1282184" y="587981"/>
                  <a:pt x="1278057" y="590312"/>
                  <a:pt x="1276350" y="593725"/>
                </a:cubicBezTo>
                <a:cubicBezTo>
                  <a:pt x="1270219" y="605987"/>
                  <a:pt x="1276735" y="602736"/>
                  <a:pt x="1266825" y="615950"/>
                </a:cubicBezTo>
                <a:cubicBezTo>
                  <a:pt x="1263233" y="620739"/>
                  <a:pt x="1258358" y="624417"/>
                  <a:pt x="1254125" y="628650"/>
                </a:cubicBezTo>
                <a:cubicBezTo>
                  <a:pt x="1248174" y="652456"/>
                  <a:pt x="1253371" y="637719"/>
                  <a:pt x="1231900" y="669925"/>
                </a:cubicBezTo>
                <a:cubicBezTo>
                  <a:pt x="1229783" y="673100"/>
                  <a:pt x="1226757" y="675830"/>
                  <a:pt x="1225550" y="679450"/>
                </a:cubicBezTo>
                <a:cubicBezTo>
                  <a:pt x="1217570" y="703391"/>
                  <a:pt x="1228335" y="673881"/>
                  <a:pt x="1216025" y="698500"/>
                </a:cubicBezTo>
                <a:cubicBezTo>
                  <a:pt x="1214528" y="701493"/>
                  <a:pt x="1214347" y="705032"/>
                  <a:pt x="1212850" y="708025"/>
                </a:cubicBezTo>
                <a:cubicBezTo>
                  <a:pt x="1211143" y="711438"/>
                  <a:pt x="1208393" y="714237"/>
                  <a:pt x="1206500" y="717550"/>
                </a:cubicBezTo>
                <a:cubicBezTo>
                  <a:pt x="1204152" y="721659"/>
                  <a:pt x="1202990" y="726464"/>
                  <a:pt x="1200150" y="730250"/>
                </a:cubicBezTo>
                <a:cubicBezTo>
                  <a:pt x="1196558" y="735039"/>
                  <a:pt x="1190883" y="738045"/>
                  <a:pt x="1187450" y="742950"/>
                </a:cubicBezTo>
                <a:cubicBezTo>
                  <a:pt x="1183379" y="748766"/>
                  <a:pt x="1181578" y="755912"/>
                  <a:pt x="1177925" y="762000"/>
                </a:cubicBezTo>
                <a:cubicBezTo>
                  <a:pt x="1175202" y="766538"/>
                  <a:pt x="1171435" y="770365"/>
                  <a:pt x="1168400" y="774700"/>
                </a:cubicBezTo>
                <a:cubicBezTo>
                  <a:pt x="1164023" y="780952"/>
                  <a:pt x="1159933" y="787400"/>
                  <a:pt x="1155700" y="793750"/>
                </a:cubicBezTo>
                <a:cubicBezTo>
                  <a:pt x="1153583" y="796925"/>
                  <a:pt x="1151057" y="799862"/>
                  <a:pt x="1149350" y="803275"/>
                </a:cubicBezTo>
                <a:cubicBezTo>
                  <a:pt x="1147233" y="807508"/>
                  <a:pt x="1145508" y="811961"/>
                  <a:pt x="1143000" y="815975"/>
                </a:cubicBezTo>
                <a:cubicBezTo>
                  <a:pt x="1140195" y="820462"/>
                  <a:pt x="1136551" y="824369"/>
                  <a:pt x="1133475" y="828675"/>
                </a:cubicBezTo>
                <a:cubicBezTo>
                  <a:pt x="1131257" y="831780"/>
                  <a:pt x="1129242" y="835025"/>
                  <a:pt x="1127125" y="838200"/>
                </a:cubicBezTo>
                <a:cubicBezTo>
                  <a:pt x="1126067" y="842433"/>
                  <a:pt x="1125669" y="846889"/>
                  <a:pt x="1123950" y="850900"/>
                </a:cubicBezTo>
                <a:cubicBezTo>
                  <a:pt x="1122447" y="854407"/>
                  <a:pt x="1119307" y="857012"/>
                  <a:pt x="1117600" y="860425"/>
                </a:cubicBezTo>
                <a:cubicBezTo>
                  <a:pt x="1116103" y="863418"/>
                  <a:pt x="1115483" y="866775"/>
                  <a:pt x="1114425" y="869950"/>
                </a:cubicBezTo>
                <a:cubicBezTo>
                  <a:pt x="1113367" y="878417"/>
                  <a:pt x="1112776" y="886955"/>
                  <a:pt x="1111250" y="895350"/>
                </a:cubicBezTo>
                <a:cubicBezTo>
                  <a:pt x="1110651" y="898643"/>
                  <a:pt x="1107866" y="901535"/>
                  <a:pt x="1108075" y="904875"/>
                </a:cubicBezTo>
                <a:cubicBezTo>
                  <a:pt x="1108943" y="918768"/>
                  <a:pt x="1112006" y="932442"/>
                  <a:pt x="1114425" y="946150"/>
                </a:cubicBezTo>
                <a:cubicBezTo>
                  <a:pt x="1115183" y="950447"/>
                  <a:pt x="1115881" y="954839"/>
                  <a:pt x="1117600" y="958850"/>
                </a:cubicBezTo>
                <a:cubicBezTo>
                  <a:pt x="1119103" y="962357"/>
                  <a:pt x="1122243" y="964962"/>
                  <a:pt x="1123950" y="968375"/>
                </a:cubicBezTo>
                <a:cubicBezTo>
                  <a:pt x="1130129" y="980732"/>
                  <a:pt x="1124196" y="976358"/>
                  <a:pt x="1130300" y="990600"/>
                </a:cubicBezTo>
                <a:cubicBezTo>
                  <a:pt x="1131803" y="994107"/>
                  <a:pt x="1133952" y="997427"/>
                  <a:pt x="1136650" y="1000125"/>
                </a:cubicBezTo>
                <a:cubicBezTo>
                  <a:pt x="1139348" y="1002823"/>
                  <a:pt x="1143000" y="1004358"/>
                  <a:pt x="1146175" y="1006475"/>
                </a:cubicBezTo>
                <a:cubicBezTo>
                  <a:pt x="1151846" y="1014981"/>
                  <a:pt x="1154485" y="1021229"/>
                  <a:pt x="1165225" y="1025525"/>
                </a:cubicBezTo>
                <a:cubicBezTo>
                  <a:pt x="1171202" y="1027916"/>
                  <a:pt x="1177991" y="1027303"/>
                  <a:pt x="1184275" y="1028700"/>
                </a:cubicBezTo>
                <a:cubicBezTo>
                  <a:pt x="1187542" y="1029426"/>
                  <a:pt x="1190553" y="1031063"/>
                  <a:pt x="1193800" y="1031875"/>
                </a:cubicBezTo>
                <a:cubicBezTo>
                  <a:pt x="1203266" y="1034242"/>
                  <a:pt x="1212850" y="1036108"/>
                  <a:pt x="1222375" y="1038225"/>
                </a:cubicBezTo>
                <a:cubicBezTo>
                  <a:pt x="1245658" y="1037167"/>
                  <a:pt x="1268992" y="1036909"/>
                  <a:pt x="1292225" y="1035050"/>
                </a:cubicBezTo>
                <a:cubicBezTo>
                  <a:pt x="1295561" y="1034783"/>
                  <a:pt x="1298757" y="1033372"/>
                  <a:pt x="1301750" y="1031875"/>
                </a:cubicBezTo>
                <a:cubicBezTo>
                  <a:pt x="1305163" y="1030168"/>
                  <a:pt x="1308100" y="1027642"/>
                  <a:pt x="1311275" y="1025525"/>
                </a:cubicBezTo>
                <a:cubicBezTo>
                  <a:pt x="1329267" y="1026583"/>
                  <a:pt x="1347289" y="1027203"/>
                  <a:pt x="1365250" y="1028700"/>
                </a:cubicBezTo>
                <a:cubicBezTo>
                  <a:pt x="1372708" y="1029321"/>
                  <a:pt x="1380307" y="1029725"/>
                  <a:pt x="1387475" y="1031875"/>
                </a:cubicBezTo>
                <a:cubicBezTo>
                  <a:pt x="1391130" y="1032971"/>
                  <a:pt x="1393427" y="1036885"/>
                  <a:pt x="1397000" y="1038225"/>
                </a:cubicBezTo>
                <a:cubicBezTo>
                  <a:pt x="1402053" y="1040120"/>
                  <a:pt x="1407583" y="1040342"/>
                  <a:pt x="1412875" y="1041400"/>
                </a:cubicBezTo>
                <a:cubicBezTo>
                  <a:pt x="1416050" y="1043517"/>
                  <a:pt x="1418913" y="1046200"/>
                  <a:pt x="1422400" y="1047750"/>
                </a:cubicBezTo>
                <a:cubicBezTo>
                  <a:pt x="1432338" y="1052167"/>
                  <a:pt x="1443595" y="1054636"/>
                  <a:pt x="1454150" y="1057275"/>
                </a:cubicBezTo>
                <a:cubicBezTo>
                  <a:pt x="1457325" y="1059392"/>
                  <a:pt x="1460262" y="1061918"/>
                  <a:pt x="1463675" y="1063625"/>
                </a:cubicBezTo>
                <a:cubicBezTo>
                  <a:pt x="1476284" y="1069930"/>
                  <a:pt x="1471026" y="1062751"/>
                  <a:pt x="1482725" y="1073150"/>
                </a:cubicBezTo>
                <a:cubicBezTo>
                  <a:pt x="1489437" y="1079116"/>
                  <a:pt x="1495425" y="1085850"/>
                  <a:pt x="1501775" y="1092200"/>
                </a:cubicBezTo>
                <a:lnTo>
                  <a:pt x="1511300" y="1101725"/>
                </a:lnTo>
                <a:cubicBezTo>
                  <a:pt x="1513417" y="1108075"/>
                  <a:pt x="1513937" y="1115206"/>
                  <a:pt x="1517650" y="1120775"/>
                </a:cubicBezTo>
                <a:cubicBezTo>
                  <a:pt x="1521883" y="1127125"/>
                  <a:pt x="1527937" y="1132585"/>
                  <a:pt x="1530350" y="1139825"/>
                </a:cubicBezTo>
                <a:cubicBezTo>
                  <a:pt x="1531408" y="1143000"/>
                  <a:pt x="1532606" y="1146132"/>
                  <a:pt x="1533525" y="1149350"/>
                </a:cubicBezTo>
                <a:cubicBezTo>
                  <a:pt x="1536296" y="1159048"/>
                  <a:pt x="1541949" y="1185670"/>
                  <a:pt x="1543050" y="1190625"/>
                </a:cubicBezTo>
                <a:cubicBezTo>
                  <a:pt x="1541992" y="1205442"/>
                  <a:pt x="1543277" y="1220615"/>
                  <a:pt x="1539875" y="1235075"/>
                </a:cubicBezTo>
                <a:cubicBezTo>
                  <a:pt x="1538847" y="1239446"/>
                  <a:pt x="1532841" y="1240864"/>
                  <a:pt x="1530350" y="1244600"/>
                </a:cubicBezTo>
                <a:cubicBezTo>
                  <a:pt x="1528494" y="1247385"/>
                  <a:pt x="1529031" y="1251340"/>
                  <a:pt x="1527175" y="1254125"/>
                </a:cubicBezTo>
                <a:cubicBezTo>
                  <a:pt x="1500908" y="1293525"/>
                  <a:pt x="1532075" y="1236818"/>
                  <a:pt x="1511300" y="1273175"/>
                </a:cubicBezTo>
                <a:cubicBezTo>
                  <a:pt x="1508952" y="1277284"/>
                  <a:pt x="1507907" y="1282179"/>
                  <a:pt x="1504950" y="1285875"/>
                </a:cubicBezTo>
                <a:cubicBezTo>
                  <a:pt x="1499340" y="1292887"/>
                  <a:pt x="1490881" y="1297453"/>
                  <a:pt x="1485900" y="1304925"/>
                </a:cubicBezTo>
                <a:lnTo>
                  <a:pt x="1479550" y="1314450"/>
                </a:lnTo>
                <a:lnTo>
                  <a:pt x="1381125" y="1438275"/>
                </a:lnTo>
                <a:lnTo>
                  <a:pt x="1206500" y="1514475"/>
                </a:lnTo>
                <a:lnTo>
                  <a:pt x="1136650" y="1536700"/>
                </a:lnTo>
                <a:lnTo>
                  <a:pt x="1006475" y="1631950"/>
                </a:lnTo>
                <a:lnTo>
                  <a:pt x="968375" y="1577975"/>
                </a:lnTo>
                <a:lnTo>
                  <a:pt x="955675" y="1555750"/>
                </a:lnTo>
                <a:lnTo>
                  <a:pt x="958850" y="1511300"/>
                </a:lnTo>
                <a:lnTo>
                  <a:pt x="711200" y="1260475"/>
                </a:lnTo>
                <a:lnTo>
                  <a:pt x="463550" y="1085850"/>
                </a:lnTo>
                <a:lnTo>
                  <a:pt x="279400" y="923925"/>
                </a:lnTo>
                <a:lnTo>
                  <a:pt x="0" y="968375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6" name="Полилиния 305"/>
          <p:cNvSpPr/>
          <p:nvPr/>
        </p:nvSpPr>
        <p:spPr>
          <a:xfrm rot="21083476">
            <a:off x="6350452" y="1860881"/>
            <a:ext cx="1364109" cy="3288295"/>
          </a:xfrm>
          <a:custGeom>
            <a:avLst/>
            <a:gdLst>
              <a:gd name="connsiteX0" fmla="*/ 806450 w 1089025"/>
              <a:gd name="connsiteY0" fmla="*/ 0 h 2232025"/>
              <a:gd name="connsiteX1" fmla="*/ 660400 w 1089025"/>
              <a:gd name="connsiteY1" fmla="*/ 88900 h 2232025"/>
              <a:gd name="connsiteX2" fmla="*/ 466725 w 1089025"/>
              <a:gd name="connsiteY2" fmla="*/ 266700 h 2232025"/>
              <a:gd name="connsiteX3" fmla="*/ 231775 w 1089025"/>
              <a:gd name="connsiteY3" fmla="*/ 466725 h 2232025"/>
              <a:gd name="connsiteX4" fmla="*/ 73025 w 1089025"/>
              <a:gd name="connsiteY4" fmla="*/ 660400 h 2232025"/>
              <a:gd name="connsiteX5" fmla="*/ 53975 w 1089025"/>
              <a:gd name="connsiteY5" fmla="*/ 701675 h 2232025"/>
              <a:gd name="connsiteX6" fmla="*/ 44450 w 1089025"/>
              <a:gd name="connsiteY6" fmla="*/ 730250 h 2232025"/>
              <a:gd name="connsiteX7" fmla="*/ 41275 w 1089025"/>
              <a:gd name="connsiteY7" fmla="*/ 746125 h 2232025"/>
              <a:gd name="connsiteX8" fmla="*/ 34925 w 1089025"/>
              <a:gd name="connsiteY8" fmla="*/ 758825 h 2232025"/>
              <a:gd name="connsiteX9" fmla="*/ 28575 w 1089025"/>
              <a:gd name="connsiteY9" fmla="*/ 774700 h 2232025"/>
              <a:gd name="connsiteX10" fmla="*/ 25400 w 1089025"/>
              <a:gd name="connsiteY10" fmla="*/ 784225 h 2232025"/>
              <a:gd name="connsiteX11" fmla="*/ 19050 w 1089025"/>
              <a:gd name="connsiteY11" fmla="*/ 793750 h 2232025"/>
              <a:gd name="connsiteX12" fmla="*/ 12700 w 1089025"/>
              <a:gd name="connsiteY12" fmla="*/ 812800 h 2232025"/>
              <a:gd name="connsiteX13" fmla="*/ 6350 w 1089025"/>
              <a:gd name="connsiteY13" fmla="*/ 831850 h 2232025"/>
              <a:gd name="connsiteX14" fmla="*/ 3175 w 1089025"/>
              <a:gd name="connsiteY14" fmla="*/ 841375 h 2232025"/>
              <a:gd name="connsiteX15" fmla="*/ 0 w 1089025"/>
              <a:gd name="connsiteY15" fmla="*/ 850900 h 2232025"/>
              <a:gd name="connsiteX16" fmla="*/ 3175 w 1089025"/>
              <a:gd name="connsiteY16" fmla="*/ 996950 h 2232025"/>
              <a:gd name="connsiteX17" fmla="*/ 9525 w 1089025"/>
              <a:gd name="connsiteY17" fmla="*/ 1022350 h 2232025"/>
              <a:gd name="connsiteX18" fmla="*/ 15875 w 1089025"/>
              <a:gd name="connsiteY18" fmla="*/ 1031875 h 2232025"/>
              <a:gd name="connsiteX19" fmla="*/ 22225 w 1089025"/>
              <a:gd name="connsiteY19" fmla="*/ 1057275 h 2232025"/>
              <a:gd name="connsiteX20" fmla="*/ 25400 w 1089025"/>
              <a:gd name="connsiteY20" fmla="*/ 1066800 h 2232025"/>
              <a:gd name="connsiteX21" fmla="*/ 28575 w 1089025"/>
              <a:gd name="connsiteY21" fmla="*/ 1085850 h 2232025"/>
              <a:gd name="connsiteX22" fmla="*/ 31750 w 1089025"/>
              <a:gd name="connsiteY22" fmla="*/ 1095375 h 2232025"/>
              <a:gd name="connsiteX23" fmla="*/ 38100 w 1089025"/>
              <a:gd name="connsiteY23" fmla="*/ 1152525 h 2232025"/>
              <a:gd name="connsiteX24" fmla="*/ 47625 w 1089025"/>
              <a:gd name="connsiteY24" fmla="*/ 1184275 h 2232025"/>
              <a:gd name="connsiteX25" fmla="*/ 50800 w 1089025"/>
              <a:gd name="connsiteY25" fmla="*/ 1193800 h 2232025"/>
              <a:gd name="connsiteX26" fmla="*/ 53975 w 1089025"/>
              <a:gd name="connsiteY26" fmla="*/ 1203325 h 2232025"/>
              <a:gd name="connsiteX27" fmla="*/ 66675 w 1089025"/>
              <a:gd name="connsiteY27" fmla="*/ 1228725 h 2232025"/>
              <a:gd name="connsiteX28" fmla="*/ 73025 w 1089025"/>
              <a:gd name="connsiteY28" fmla="*/ 1244600 h 2232025"/>
              <a:gd name="connsiteX29" fmla="*/ 76200 w 1089025"/>
              <a:gd name="connsiteY29" fmla="*/ 1257300 h 2232025"/>
              <a:gd name="connsiteX30" fmla="*/ 85725 w 1089025"/>
              <a:gd name="connsiteY30" fmla="*/ 1266825 h 2232025"/>
              <a:gd name="connsiteX31" fmla="*/ 98425 w 1089025"/>
              <a:gd name="connsiteY31" fmla="*/ 1289050 h 2232025"/>
              <a:gd name="connsiteX32" fmla="*/ 107950 w 1089025"/>
              <a:gd name="connsiteY32" fmla="*/ 1298575 h 2232025"/>
              <a:gd name="connsiteX33" fmla="*/ 114300 w 1089025"/>
              <a:gd name="connsiteY33" fmla="*/ 1308100 h 2232025"/>
              <a:gd name="connsiteX34" fmla="*/ 133350 w 1089025"/>
              <a:gd name="connsiteY34" fmla="*/ 1327150 h 2232025"/>
              <a:gd name="connsiteX35" fmla="*/ 149225 w 1089025"/>
              <a:gd name="connsiteY35" fmla="*/ 1346200 h 2232025"/>
              <a:gd name="connsiteX36" fmla="*/ 168275 w 1089025"/>
              <a:gd name="connsiteY36" fmla="*/ 1358900 h 2232025"/>
              <a:gd name="connsiteX37" fmla="*/ 177800 w 1089025"/>
              <a:gd name="connsiteY37" fmla="*/ 1365250 h 2232025"/>
              <a:gd name="connsiteX38" fmla="*/ 187325 w 1089025"/>
              <a:gd name="connsiteY38" fmla="*/ 1371600 h 2232025"/>
              <a:gd name="connsiteX39" fmla="*/ 196850 w 1089025"/>
              <a:gd name="connsiteY39" fmla="*/ 1374775 h 2232025"/>
              <a:gd name="connsiteX40" fmla="*/ 215900 w 1089025"/>
              <a:gd name="connsiteY40" fmla="*/ 1390650 h 2232025"/>
              <a:gd name="connsiteX41" fmla="*/ 228600 w 1089025"/>
              <a:gd name="connsiteY41" fmla="*/ 1397000 h 2232025"/>
              <a:gd name="connsiteX42" fmla="*/ 244475 w 1089025"/>
              <a:gd name="connsiteY42" fmla="*/ 1416050 h 2232025"/>
              <a:gd name="connsiteX43" fmla="*/ 254000 w 1089025"/>
              <a:gd name="connsiteY43" fmla="*/ 1425575 h 2232025"/>
              <a:gd name="connsiteX44" fmla="*/ 266700 w 1089025"/>
              <a:gd name="connsiteY44" fmla="*/ 1444625 h 2232025"/>
              <a:gd name="connsiteX45" fmla="*/ 276225 w 1089025"/>
              <a:gd name="connsiteY45" fmla="*/ 1454150 h 2232025"/>
              <a:gd name="connsiteX46" fmla="*/ 288925 w 1089025"/>
              <a:gd name="connsiteY46" fmla="*/ 1473200 h 2232025"/>
              <a:gd name="connsiteX47" fmla="*/ 298450 w 1089025"/>
              <a:gd name="connsiteY47" fmla="*/ 1492250 h 2232025"/>
              <a:gd name="connsiteX48" fmla="*/ 307975 w 1089025"/>
              <a:gd name="connsiteY48" fmla="*/ 1501775 h 2232025"/>
              <a:gd name="connsiteX49" fmla="*/ 317500 w 1089025"/>
              <a:gd name="connsiteY49" fmla="*/ 1524000 h 2232025"/>
              <a:gd name="connsiteX50" fmla="*/ 330200 w 1089025"/>
              <a:gd name="connsiteY50" fmla="*/ 1543050 h 2232025"/>
              <a:gd name="connsiteX51" fmla="*/ 336550 w 1089025"/>
              <a:gd name="connsiteY51" fmla="*/ 1552575 h 2232025"/>
              <a:gd name="connsiteX52" fmla="*/ 346075 w 1089025"/>
              <a:gd name="connsiteY52" fmla="*/ 1574800 h 2232025"/>
              <a:gd name="connsiteX53" fmla="*/ 349250 w 1089025"/>
              <a:gd name="connsiteY53" fmla="*/ 1584325 h 2232025"/>
              <a:gd name="connsiteX54" fmla="*/ 358775 w 1089025"/>
              <a:gd name="connsiteY54" fmla="*/ 1593850 h 2232025"/>
              <a:gd name="connsiteX55" fmla="*/ 368300 w 1089025"/>
              <a:gd name="connsiteY55" fmla="*/ 1609725 h 2232025"/>
              <a:gd name="connsiteX56" fmla="*/ 377825 w 1089025"/>
              <a:gd name="connsiteY56" fmla="*/ 1641475 h 2232025"/>
              <a:gd name="connsiteX57" fmla="*/ 381000 w 1089025"/>
              <a:gd name="connsiteY57" fmla="*/ 1651000 h 2232025"/>
              <a:gd name="connsiteX58" fmla="*/ 384175 w 1089025"/>
              <a:gd name="connsiteY58" fmla="*/ 1660525 h 2232025"/>
              <a:gd name="connsiteX59" fmla="*/ 390525 w 1089025"/>
              <a:gd name="connsiteY59" fmla="*/ 1673225 h 2232025"/>
              <a:gd name="connsiteX60" fmla="*/ 400050 w 1089025"/>
              <a:gd name="connsiteY60" fmla="*/ 1695450 h 2232025"/>
              <a:gd name="connsiteX61" fmla="*/ 419100 w 1089025"/>
              <a:gd name="connsiteY61" fmla="*/ 1708150 h 2232025"/>
              <a:gd name="connsiteX62" fmla="*/ 431800 w 1089025"/>
              <a:gd name="connsiteY62" fmla="*/ 1711325 h 2232025"/>
              <a:gd name="connsiteX63" fmla="*/ 495300 w 1089025"/>
              <a:gd name="connsiteY63" fmla="*/ 1866900 h 2232025"/>
              <a:gd name="connsiteX64" fmla="*/ 615950 w 1089025"/>
              <a:gd name="connsiteY64" fmla="*/ 1936750 h 2232025"/>
              <a:gd name="connsiteX65" fmla="*/ 631825 w 1089025"/>
              <a:gd name="connsiteY65" fmla="*/ 1965325 h 2232025"/>
              <a:gd name="connsiteX66" fmla="*/ 638175 w 1089025"/>
              <a:gd name="connsiteY66" fmla="*/ 1974850 h 2232025"/>
              <a:gd name="connsiteX67" fmla="*/ 647700 w 1089025"/>
              <a:gd name="connsiteY67" fmla="*/ 1993900 h 2232025"/>
              <a:gd name="connsiteX68" fmla="*/ 673100 w 1089025"/>
              <a:gd name="connsiteY68" fmla="*/ 2019300 h 2232025"/>
              <a:gd name="connsiteX69" fmla="*/ 688975 w 1089025"/>
              <a:gd name="connsiteY69" fmla="*/ 2035175 h 2232025"/>
              <a:gd name="connsiteX70" fmla="*/ 701675 w 1089025"/>
              <a:gd name="connsiteY70" fmla="*/ 2041525 h 2232025"/>
              <a:gd name="connsiteX71" fmla="*/ 711200 w 1089025"/>
              <a:gd name="connsiteY71" fmla="*/ 2051050 h 2232025"/>
              <a:gd name="connsiteX72" fmla="*/ 733425 w 1089025"/>
              <a:gd name="connsiteY72" fmla="*/ 2063750 h 2232025"/>
              <a:gd name="connsiteX73" fmla="*/ 765175 w 1089025"/>
              <a:gd name="connsiteY73" fmla="*/ 2089150 h 2232025"/>
              <a:gd name="connsiteX74" fmla="*/ 793750 w 1089025"/>
              <a:gd name="connsiteY74" fmla="*/ 2101850 h 2232025"/>
              <a:gd name="connsiteX75" fmla="*/ 803275 w 1089025"/>
              <a:gd name="connsiteY75" fmla="*/ 2111375 h 2232025"/>
              <a:gd name="connsiteX76" fmla="*/ 819150 w 1089025"/>
              <a:gd name="connsiteY76" fmla="*/ 2117725 h 2232025"/>
              <a:gd name="connsiteX77" fmla="*/ 844550 w 1089025"/>
              <a:gd name="connsiteY77" fmla="*/ 2136775 h 2232025"/>
              <a:gd name="connsiteX78" fmla="*/ 854075 w 1089025"/>
              <a:gd name="connsiteY78" fmla="*/ 2143125 h 2232025"/>
              <a:gd name="connsiteX79" fmla="*/ 863600 w 1089025"/>
              <a:gd name="connsiteY79" fmla="*/ 2152650 h 2232025"/>
              <a:gd name="connsiteX80" fmla="*/ 892175 w 1089025"/>
              <a:gd name="connsiteY80" fmla="*/ 2168525 h 2232025"/>
              <a:gd name="connsiteX81" fmla="*/ 898525 w 1089025"/>
              <a:gd name="connsiteY81" fmla="*/ 2178050 h 2232025"/>
              <a:gd name="connsiteX82" fmla="*/ 908050 w 1089025"/>
              <a:gd name="connsiteY82" fmla="*/ 2184400 h 2232025"/>
              <a:gd name="connsiteX83" fmla="*/ 920750 w 1089025"/>
              <a:gd name="connsiteY83" fmla="*/ 2193925 h 2232025"/>
              <a:gd name="connsiteX84" fmla="*/ 936625 w 1089025"/>
              <a:gd name="connsiteY84" fmla="*/ 2203450 h 2232025"/>
              <a:gd name="connsiteX85" fmla="*/ 949325 w 1089025"/>
              <a:gd name="connsiteY85" fmla="*/ 2212975 h 2232025"/>
              <a:gd name="connsiteX86" fmla="*/ 958850 w 1089025"/>
              <a:gd name="connsiteY86" fmla="*/ 2216150 h 2232025"/>
              <a:gd name="connsiteX87" fmla="*/ 971550 w 1089025"/>
              <a:gd name="connsiteY87" fmla="*/ 2222500 h 2232025"/>
              <a:gd name="connsiteX88" fmla="*/ 981075 w 1089025"/>
              <a:gd name="connsiteY88" fmla="*/ 2225675 h 2232025"/>
              <a:gd name="connsiteX89" fmla="*/ 1009650 w 1089025"/>
              <a:gd name="connsiteY89" fmla="*/ 2232025 h 2232025"/>
              <a:gd name="connsiteX90" fmla="*/ 1038225 w 1089025"/>
              <a:gd name="connsiteY90" fmla="*/ 2228850 h 2232025"/>
              <a:gd name="connsiteX91" fmla="*/ 1047750 w 1089025"/>
              <a:gd name="connsiteY91" fmla="*/ 2225675 h 2232025"/>
              <a:gd name="connsiteX92" fmla="*/ 1073150 w 1089025"/>
              <a:gd name="connsiteY92" fmla="*/ 2209800 h 2232025"/>
              <a:gd name="connsiteX93" fmla="*/ 1082675 w 1089025"/>
              <a:gd name="connsiteY93" fmla="*/ 2190750 h 2232025"/>
              <a:gd name="connsiteX94" fmla="*/ 1089025 w 1089025"/>
              <a:gd name="connsiteY94" fmla="*/ 2178050 h 2232025"/>
              <a:gd name="connsiteX95" fmla="*/ 1082675 w 1089025"/>
              <a:gd name="connsiteY95" fmla="*/ 2111375 h 2232025"/>
              <a:gd name="connsiteX96" fmla="*/ 1076325 w 1089025"/>
              <a:gd name="connsiteY96" fmla="*/ 2101850 h 2232025"/>
              <a:gd name="connsiteX97" fmla="*/ 1069975 w 1089025"/>
              <a:gd name="connsiteY97" fmla="*/ 2085975 h 2232025"/>
              <a:gd name="connsiteX98" fmla="*/ 1057275 w 1089025"/>
              <a:gd name="connsiteY98" fmla="*/ 2044700 h 2232025"/>
              <a:gd name="connsiteX99" fmla="*/ 1054100 w 1089025"/>
              <a:gd name="connsiteY99" fmla="*/ 2022475 h 2232025"/>
              <a:gd name="connsiteX100" fmla="*/ 1050925 w 1089025"/>
              <a:gd name="connsiteY100" fmla="*/ 2003425 h 2232025"/>
              <a:gd name="connsiteX101" fmla="*/ 1047750 w 1089025"/>
              <a:gd name="connsiteY101" fmla="*/ 1946275 h 2232025"/>
              <a:gd name="connsiteX102" fmla="*/ 1044575 w 1089025"/>
              <a:gd name="connsiteY102" fmla="*/ 1930400 h 2232025"/>
              <a:gd name="connsiteX103" fmla="*/ 1038225 w 1089025"/>
              <a:gd name="connsiteY103" fmla="*/ 1882775 h 2232025"/>
              <a:gd name="connsiteX104" fmla="*/ 1031875 w 1089025"/>
              <a:gd name="connsiteY104" fmla="*/ 1793875 h 2232025"/>
              <a:gd name="connsiteX105" fmla="*/ 1025525 w 1089025"/>
              <a:gd name="connsiteY105" fmla="*/ 1758950 h 2232025"/>
              <a:gd name="connsiteX106" fmla="*/ 1022350 w 1089025"/>
              <a:gd name="connsiteY106" fmla="*/ 1724025 h 2232025"/>
              <a:gd name="connsiteX107" fmla="*/ 1019175 w 1089025"/>
              <a:gd name="connsiteY107" fmla="*/ 1701800 h 2232025"/>
              <a:gd name="connsiteX108" fmla="*/ 1016000 w 1089025"/>
              <a:gd name="connsiteY108" fmla="*/ 1673225 h 2232025"/>
              <a:gd name="connsiteX109" fmla="*/ 1009650 w 1089025"/>
              <a:gd name="connsiteY109" fmla="*/ 1657350 h 2232025"/>
              <a:gd name="connsiteX110" fmla="*/ 1000125 w 1089025"/>
              <a:gd name="connsiteY110" fmla="*/ 1616075 h 2232025"/>
              <a:gd name="connsiteX111" fmla="*/ 993775 w 1089025"/>
              <a:gd name="connsiteY111" fmla="*/ 1600200 h 2232025"/>
              <a:gd name="connsiteX112" fmla="*/ 990600 w 1089025"/>
              <a:gd name="connsiteY112" fmla="*/ 1590675 h 2232025"/>
              <a:gd name="connsiteX113" fmla="*/ 981075 w 1089025"/>
              <a:gd name="connsiteY113" fmla="*/ 1565275 h 2232025"/>
              <a:gd name="connsiteX114" fmla="*/ 977900 w 1089025"/>
              <a:gd name="connsiteY114" fmla="*/ 1527175 h 2232025"/>
              <a:gd name="connsiteX115" fmla="*/ 974725 w 1089025"/>
              <a:gd name="connsiteY115" fmla="*/ 1511300 h 2232025"/>
              <a:gd name="connsiteX116" fmla="*/ 971550 w 1089025"/>
              <a:gd name="connsiteY116" fmla="*/ 1489075 h 2232025"/>
              <a:gd name="connsiteX117" fmla="*/ 965200 w 1089025"/>
              <a:gd name="connsiteY117" fmla="*/ 1438275 h 2232025"/>
              <a:gd name="connsiteX118" fmla="*/ 962025 w 1089025"/>
              <a:gd name="connsiteY118" fmla="*/ 1400175 h 2232025"/>
              <a:gd name="connsiteX119" fmla="*/ 958850 w 1089025"/>
              <a:gd name="connsiteY119" fmla="*/ 1390650 h 2232025"/>
              <a:gd name="connsiteX120" fmla="*/ 949325 w 1089025"/>
              <a:gd name="connsiteY120" fmla="*/ 1352550 h 2232025"/>
              <a:gd name="connsiteX121" fmla="*/ 942975 w 1089025"/>
              <a:gd name="connsiteY121" fmla="*/ 1339850 h 2232025"/>
              <a:gd name="connsiteX122" fmla="*/ 939800 w 1089025"/>
              <a:gd name="connsiteY122" fmla="*/ 1330325 h 2232025"/>
              <a:gd name="connsiteX123" fmla="*/ 933450 w 1089025"/>
              <a:gd name="connsiteY123" fmla="*/ 1317625 h 2232025"/>
              <a:gd name="connsiteX124" fmla="*/ 927100 w 1089025"/>
              <a:gd name="connsiteY124" fmla="*/ 1301750 h 2232025"/>
              <a:gd name="connsiteX125" fmla="*/ 923925 w 1089025"/>
              <a:gd name="connsiteY125" fmla="*/ 1292225 h 2232025"/>
              <a:gd name="connsiteX126" fmla="*/ 914400 w 1089025"/>
              <a:gd name="connsiteY126" fmla="*/ 1279525 h 2232025"/>
              <a:gd name="connsiteX127" fmla="*/ 901700 w 1089025"/>
              <a:gd name="connsiteY127" fmla="*/ 1257300 h 2232025"/>
              <a:gd name="connsiteX128" fmla="*/ 885825 w 1089025"/>
              <a:gd name="connsiteY128" fmla="*/ 1235075 h 2232025"/>
              <a:gd name="connsiteX129" fmla="*/ 869950 w 1089025"/>
              <a:gd name="connsiteY129" fmla="*/ 1219200 h 2232025"/>
              <a:gd name="connsiteX130" fmla="*/ 854075 w 1089025"/>
              <a:gd name="connsiteY130" fmla="*/ 1203325 h 2232025"/>
              <a:gd name="connsiteX131" fmla="*/ 844550 w 1089025"/>
              <a:gd name="connsiteY131" fmla="*/ 1187450 h 2232025"/>
              <a:gd name="connsiteX132" fmla="*/ 822325 w 1089025"/>
              <a:gd name="connsiteY132" fmla="*/ 1165225 h 2232025"/>
              <a:gd name="connsiteX133" fmla="*/ 806450 w 1089025"/>
              <a:gd name="connsiteY133" fmla="*/ 1139825 h 2232025"/>
              <a:gd name="connsiteX134" fmla="*/ 796925 w 1089025"/>
              <a:gd name="connsiteY134" fmla="*/ 1117600 h 2232025"/>
              <a:gd name="connsiteX135" fmla="*/ 790575 w 1089025"/>
              <a:gd name="connsiteY135" fmla="*/ 1098550 h 2232025"/>
              <a:gd name="connsiteX136" fmla="*/ 781050 w 1089025"/>
              <a:gd name="connsiteY136" fmla="*/ 1069975 h 2232025"/>
              <a:gd name="connsiteX137" fmla="*/ 777875 w 1089025"/>
              <a:gd name="connsiteY137" fmla="*/ 1038225 h 2232025"/>
              <a:gd name="connsiteX138" fmla="*/ 771525 w 1089025"/>
              <a:gd name="connsiteY138" fmla="*/ 1016000 h 2232025"/>
              <a:gd name="connsiteX139" fmla="*/ 765175 w 1089025"/>
              <a:gd name="connsiteY139" fmla="*/ 990600 h 2232025"/>
              <a:gd name="connsiteX140" fmla="*/ 758825 w 1089025"/>
              <a:gd name="connsiteY140" fmla="*/ 962025 h 2232025"/>
              <a:gd name="connsiteX141" fmla="*/ 755650 w 1089025"/>
              <a:gd name="connsiteY141" fmla="*/ 939800 h 2232025"/>
              <a:gd name="connsiteX142" fmla="*/ 752475 w 1089025"/>
              <a:gd name="connsiteY142" fmla="*/ 920750 h 2232025"/>
              <a:gd name="connsiteX143" fmla="*/ 749300 w 1089025"/>
              <a:gd name="connsiteY143" fmla="*/ 787400 h 2232025"/>
              <a:gd name="connsiteX144" fmla="*/ 752475 w 1089025"/>
              <a:gd name="connsiteY144" fmla="*/ 644525 h 2232025"/>
              <a:gd name="connsiteX145" fmla="*/ 765175 w 1089025"/>
              <a:gd name="connsiteY145" fmla="*/ 615950 h 2232025"/>
              <a:gd name="connsiteX146" fmla="*/ 768350 w 1089025"/>
              <a:gd name="connsiteY146" fmla="*/ 606425 h 2232025"/>
              <a:gd name="connsiteX147" fmla="*/ 777875 w 1089025"/>
              <a:gd name="connsiteY147" fmla="*/ 596900 h 2232025"/>
              <a:gd name="connsiteX148" fmla="*/ 784225 w 1089025"/>
              <a:gd name="connsiteY148" fmla="*/ 587375 h 2232025"/>
              <a:gd name="connsiteX149" fmla="*/ 800100 w 1089025"/>
              <a:gd name="connsiteY149" fmla="*/ 565150 h 2232025"/>
              <a:gd name="connsiteX150" fmla="*/ 806450 w 1089025"/>
              <a:gd name="connsiteY150" fmla="*/ 539750 h 2232025"/>
              <a:gd name="connsiteX151" fmla="*/ 876300 w 1089025"/>
              <a:gd name="connsiteY151" fmla="*/ 339725 h 2232025"/>
              <a:gd name="connsiteX152" fmla="*/ 920750 w 1089025"/>
              <a:gd name="connsiteY152" fmla="*/ 155575 h 2232025"/>
              <a:gd name="connsiteX153" fmla="*/ 923925 w 1089025"/>
              <a:gd name="connsiteY153" fmla="*/ 44450 h 2232025"/>
              <a:gd name="connsiteX154" fmla="*/ 873125 w 1089025"/>
              <a:gd name="connsiteY154" fmla="*/ 0 h 2232025"/>
              <a:gd name="connsiteX155" fmla="*/ 806450 w 1089025"/>
              <a:gd name="connsiteY155" fmla="*/ 0 h 223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1089025" h="2232025">
                <a:moveTo>
                  <a:pt x="806450" y="0"/>
                </a:moveTo>
                <a:lnTo>
                  <a:pt x="660400" y="88900"/>
                </a:lnTo>
                <a:lnTo>
                  <a:pt x="466725" y="266700"/>
                </a:lnTo>
                <a:lnTo>
                  <a:pt x="231775" y="466725"/>
                </a:lnTo>
                <a:lnTo>
                  <a:pt x="73025" y="660400"/>
                </a:lnTo>
                <a:cubicBezTo>
                  <a:pt x="63921" y="678608"/>
                  <a:pt x="60141" y="684410"/>
                  <a:pt x="53975" y="701675"/>
                </a:cubicBezTo>
                <a:cubicBezTo>
                  <a:pt x="50598" y="711130"/>
                  <a:pt x="47625" y="720725"/>
                  <a:pt x="44450" y="730250"/>
                </a:cubicBezTo>
                <a:cubicBezTo>
                  <a:pt x="42743" y="735370"/>
                  <a:pt x="42982" y="741005"/>
                  <a:pt x="41275" y="746125"/>
                </a:cubicBezTo>
                <a:cubicBezTo>
                  <a:pt x="39778" y="750615"/>
                  <a:pt x="36847" y="754500"/>
                  <a:pt x="34925" y="758825"/>
                </a:cubicBezTo>
                <a:cubicBezTo>
                  <a:pt x="32610" y="764033"/>
                  <a:pt x="30576" y="769364"/>
                  <a:pt x="28575" y="774700"/>
                </a:cubicBezTo>
                <a:cubicBezTo>
                  <a:pt x="27400" y="777834"/>
                  <a:pt x="26897" y="781232"/>
                  <a:pt x="25400" y="784225"/>
                </a:cubicBezTo>
                <a:cubicBezTo>
                  <a:pt x="23693" y="787638"/>
                  <a:pt x="20600" y="790263"/>
                  <a:pt x="19050" y="793750"/>
                </a:cubicBezTo>
                <a:cubicBezTo>
                  <a:pt x="16332" y="799867"/>
                  <a:pt x="14817" y="806450"/>
                  <a:pt x="12700" y="812800"/>
                </a:cubicBezTo>
                <a:lnTo>
                  <a:pt x="6350" y="831850"/>
                </a:lnTo>
                <a:lnTo>
                  <a:pt x="3175" y="841375"/>
                </a:lnTo>
                <a:lnTo>
                  <a:pt x="0" y="850900"/>
                </a:lnTo>
                <a:cubicBezTo>
                  <a:pt x="1058" y="899583"/>
                  <a:pt x="474" y="948330"/>
                  <a:pt x="3175" y="996950"/>
                </a:cubicBezTo>
                <a:cubicBezTo>
                  <a:pt x="3659" y="1005664"/>
                  <a:pt x="4684" y="1015088"/>
                  <a:pt x="9525" y="1022350"/>
                </a:cubicBezTo>
                <a:lnTo>
                  <a:pt x="15875" y="1031875"/>
                </a:lnTo>
                <a:cubicBezTo>
                  <a:pt x="17992" y="1040342"/>
                  <a:pt x="19465" y="1048996"/>
                  <a:pt x="22225" y="1057275"/>
                </a:cubicBezTo>
                <a:cubicBezTo>
                  <a:pt x="23283" y="1060450"/>
                  <a:pt x="24674" y="1063533"/>
                  <a:pt x="25400" y="1066800"/>
                </a:cubicBezTo>
                <a:cubicBezTo>
                  <a:pt x="26797" y="1073084"/>
                  <a:pt x="27178" y="1079566"/>
                  <a:pt x="28575" y="1085850"/>
                </a:cubicBezTo>
                <a:cubicBezTo>
                  <a:pt x="29301" y="1089117"/>
                  <a:pt x="31024" y="1092108"/>
                  <a:pt x="31750" y="1095375"/>
                </a:cubicBezTo>
                <a:cubicBezTo>
                  <a:pt x="36903" y="1118564"/>
                  <a:pt x="34622" y="1124701"/>
                  <a:pt x="38100" y="1152525"/>
                </a:cubicBezTo>
                <a:cubicBezTo>
                  <a:pt x="39060" y="1160202"/>
                  <a:pt x="45783" y="1178750"/>
                  <a:pt x="47625" y="1184275"/>
                </a:cubicBezTo>
                <a:lnTo>
                  <a:pt x="50800" y="1193800"/>
                </a:lnTo>
                <a:cubicBezTo>
                  <a:pt x="51858" y="1196975"/>
                  <a:pt x="52478" y="1200332"/>
                  <a:pt x="53975" y="1203325"/>
                </a:cubicBezTo>
                <a:cubicBezTo>
                  <a:pt x="58208" y="1211792"/>
                  <a:pt x="63159" y="1219936"/>
                  <a:pt x="66675" y="1228725"/>
                </a:cubicBezTo>
                <a:cubicBezTo>
                  <a:pt x="68792" y="1234017"/>
                  <a:pt x="71223" y="1239193"/>
                  <a:pt x="73025" y="1244600"/>
                </a:cubicBezTo>
                <a:cubicBezTo>
                  <a:pt x="74405" y="1248740"/>
                  <a:pt x="74035" y="1253511"/>
                  <a:pt x="76200" y="1257300"/>
                </a:cubicBezTo>
                <a:cubicBezTo>
                  <a:pt x="78428" y="1261199"/>
                  <a:pt x="82850" y="1263376"/>
                  <a:pt x="85725" y="1266825"/>
                </a:cubicBezTo>
                <a:cubicBezTo>
                  <a:pt x="100723" y="1284823"/>
                  <a:pt x="82898" y="1267312"/>
                  <a:pt x="98425" y="1289050"/>
                </a:cubicBezTo>
                <a:cubicBezTo>
                  <a:pt x="101035" y="1292704"/>
                  <a:pt x="105075" y="1295126"/>
                  <a:pt x="107950" y="1298575"/>
                </a:cubicBezTo>
                <a:cubicBezTo>
                  <a:pt x="110393" y="1301506"/>
                  <a:pt x="111765" y="1305248"/>
                  <a:pt x="114300" y="1308100"/>
                </a:cubicBezTo>
                <a:cubicBezTo>
                  <a:pt x="120266" y="1314812"/>
                  <a:pt x="128369" y="1319678"/>
                  <a:pt x="133350" y="1327150"/>
                </a:cubicBezTo>
                <a:cubicBezTo>
                  <a:pt x="138994" y="1335617"/>
                  <a:pt x="140763" y="1339618"/>
                  <a:pt x="149225" y="1346200"/>
                </a:cubicBezTo>
                <a:cubicBezTo>
                  <a:pt x="155249" y="1350885"/>
                  <a:pt x="161925" y="1354667"/>
                  <a:pt x="168275" y="1358900"/>
                </a:cubicBezTo>
                <a:lnTo>
                  <a:pt x="177800" y="1365250"/>
                </a:lnTo>
                <a:cubicBezTo>
                  <a:pt x="180975" y="1367367"/>
                  <a:pt x="183705" y="1370393"/>
                  <a:pt x="187325" y="1371600"/>
                </a:cubicBezTo>
                <a:cubicBezTo>
                  <a:pt x="190500" y="1372658"/>
                  <a:pt x="193857" y="1373278"/>
                  <a:pt x="196850" y="1374775"/>
                </a:cubicBezTo>
                <a:cubicBezTo>
                  <a:pt x="213647" y="1383174"/>
                  <a:pt x="199516" y="1378947"/>
                  <a:pt x="215900" y="1390650"/>
                </a:cubicBezTo>
                <a:cubicBezTo>
                  <a:pt x="219751" y="1393401"/>
                  <a:pt x="224749" y="1394249"/>
                  <a:pt x="228600" y="1397000"/>
                </a:cubicBezTo>
                <a:cubicBezTo>
                  <a:pt x="240058" y="1405185"/>
                  <a:pt x="236284" y="1406221"/>
                  <a:pt x="244475" y="1416050"/>
                </a:cubicBezTo>
                <a:cubicBezTo>
                  <a:pt x="247350" y="1419499"/>
                  <a:pt x="251243" y="1422031"/>
                  <a:pt x="254000" y="1425575"/>
                </a:cubicBezTo>
                <a:cubicBezTo>
                  <a:pt x="258685" y="1431599"/>
                  <a:pt x="261304" y="1439229"/>
                  <a:pt x="266700" y="1444625"/>
                </a:cubicBezTo>
                <a:cubicBezTo>
                  <a:pt x="269875" y="1447800"/>
                  <a:pt x="273468" y="1450606"/>
                  <a:pt x="276225" y="1454150"/>
                </a:cubicBezTo>
                <a:cubicBezTo>
                  <a:pt x="280910" y="1460174"/>
                  <a:pt x="286512" y="1465960"/>
                  <a:pt x="288925" y="1473200"/>
                </a:cubicBezTo>
                <a:cubicBezTo>
                  <a:pt x="292107" y="1482746"/>
                  <a:pt x="291611" y="1484044"/>
                  <a:pt x="298450" y="1492250"/>
                </a:cubicBezTo>
                <a:cubicBezTo>
                  <a:pt x="301325" y="1495699"/>
                  <a:pt x="305365" y="1498121"/>
                  <a:pt x="307975" y="1501775"/>
                </a:cubicBezTo>
                <a:cubicBezTo>
                  <a:pt x="323872" y="1524031"/>
                  <a:pt x="307136" y="1505345"/>
                  <a:pt x="317500" y="1524000"/>
                </a:cubicBezTo>
                <a:cubicBezTo>
                  <a:pt x="321206" y="1530671"/>
                  <a:pt x="325967" y="1536700"/>
                  <a:pt x="330200" y="1543050"/>
                </a:cubicBezTo>
                <a:lnTo>
                  <a:pt x="336550" y="1552575"/>
                </a:lnTo>
                <a:cubicBezTo>
                  <a:pt x="343158" y="1579006"/>
                  <a:pt x="335112" y="1552874"/>
                  <a:pt x="346075" y="1574800"/>
                </a:cubicBezTo>
                <a:cubicBezTo>
                  <a:pt x="347572" y="1577793"/>
                  <a:pt x="347394" y="1581540"/>
                  <a:pt x="349250" y="1584325"/>
                </a:cubicBezTo>
                <a:cubicBezTo>
                  <a:pt x="351741" y="1588061"/>
                  <a:pt x="356081" y="1590258"/>
                  <a:pt x="358775" y="1593850"/>
                </a:cubicBezTo>
                <a:cubicBezTo>
                  <a:pt x="362478" y="1598787"/>
                  <a:pt x="365125" y="1604433"/>
                  <a:pt x="368300" y="1609725"/>
                </a:cubicBezTo>
                <a:cubicBezTo>
                  <a:pt x="373098" y="1628919"/>
                  <a:pt x="370095" y="1618285"/>
                  <a:pt x="377825" y="1641475"/>
                </a:cubicBezTo>
                <a:lnTo>
                  <a:pt x="381000" y="1651000"/>
                </a:lnTo>
                <a:cubicBezTo>
                  <a:pt x="382058" y="1654175"/>
                  <a:pt x="382678" y="1657532"/>
                  <a:pt x="384175" y="1660525"/>
                </a:cubicBezTo>
                <a:cubicBezTo>
                  <a:pt x="386292" y="1664758"/>
                  <a:pt x="388661" y="1668875"/>
                  <a:pt x="390525" y="1673225"/>
                </a:cubicBezTo>
                <a:cubicBezTo>
                  <a:pt x="393371" y="1679866"/>
                  <a:pt x="394785" y="1690185"/>
                  <a:pt x="400050" y="1695450"/>
                </a:cubicBezTo>
                <a:cubicBezTo>
                  <a:pt x="405446" y="1700846"/>
                  <a:pt x="411696" y="1706299"/>
                  <a:pt x="419100" y="1708150"/>
                </a:cubicBezTo>
                <a:lnTo>
                  <a:pt x="431800" y="1711325"/>
                </a:lnTo>
                <a:lnTo>
                  <a:pt x="495300" y="1866900"/>
                </a:lnTo>
                <a:lnTo>
                  <a:pt x="615950" y="1936750"/>
                </a:lnTo>
                <a:cubicBezTo>
                  <a:pt x="621242" y="1946275"/>
                  <a:pt x="626335" y="1955913"/>
                  <a:pt x="631825" y="1965325"/>
                </a:cubicBezTo>
                <a:cubicBezTo>
                  <a:pt x="633748" y="1968621"/>
                  <a:pt x="636322" y="1971514"/>
                  <a:pt x="638175" y="1974850"/>
                </a:cubicBezTo>
                <a:cubicBezTo>
                  <a:pt x="641623" y="1981056"/>
                  <a:pt x="643314" y="1988318"/>
                  <a:pt x="647700" y="1993900"/>
                </a:cubicBezTo>
                <a:cubicBezTo>
                  <a:pt x="655098" y="2003315"/>
                  <a:pt x="664633" y="2010833"/>
                  <a:pt x="673100" y="2019300"/>
                </a:cubicBezTo>
                <a:cubicBezTo>
                  <a:pt x="678392" y="2024592"/>
                  <a:pt x="682282" y="2031828"/>
                  <a:pt x="688975" y="2035175"/>
                </a:cubicBezTo>
                <a:cubicBezTo>
                  <a:pt x="693208" y="2037292"/>
                  <a:pt x="697824" y="2038774"/>
                  <a:pt x="701675" y="2041525"/>
                </a:cubicBezTo>
                <a:cubicBezTo>
                  <a:pt x="705329" y="2044135"/>
                  <a:pt x="707791" y="2048128"/>
                  <a:pt x="711200" y="2051050"/>
                </a:cubicBezTo>
                <a:cubicBezTo>
                  <a:pt x="723432" y="2061535"/>
                  <a:pt x="720869" y="2059565"/>
                  <a:pt x="733425" y="2063750"/>
                </a:cubicBezTo>
                <a:cubicBezTo>
                  <a:pt x="742096" y="2072421"/>
                  <a:pt x="753159" y="2085145"/>
                  <a:pt x="765175" y="2089150"/>
                </a:cubicBezTo>
                <a:cubicBezTo>
                  <a:pt x="776240" y="2092838"/>
                  <a:pt x="782728" y="2094502"/>
                  <a:pt x="793750" y="2101850"/>
                </a:cubicBezTo>
                <a:cubicBezTo>
                  <a:pt x="797486" y="2104341"/>
                  <a:pt x="799467" y="2108995"/>
                  <a:pt x="803275" y="2111375"/>
                </a:cubicBezTo>
                <a:cubicBezTo>
                  <a:pt x="808108" y="2114396"/>
                  <a:pt x="814296" y="2114738"/>
                  <a:pt x="819150" y="2117725"/>
                </a:cubicBezTo>
                <a:cubicBezTo>
                  <a:pt x="828163" y="2123272"/>
                  <a:pt x="835744" y="2130904"/>
                  <a:pt x="844550" y="2136775"/>
                </a:cubicBezTo>
                <a:cubicBezTo>
                  <a:pt x="847725" y="2138892"/>
                  <a:pt x="851144" y="2140682"/>
                  <a:pt x="854075" y="2143125"/>
                </a:cubicBezTo>
                <a:cubicBezTo>
                  <a:pt x="857524" y="2146000"/>
                  <a:pt x="860151" y="2149775"/>
                  <a:pt x="863600" y="2152650"/>
                </a:cubicBezTo>
                <a:cubicBezTo>
                  <a:pt x="871316" y="2159080"/>
                  <a:pt x="884068" y="2164471"/>
                  <a:pt x="892175" y="2168525"/>
                </a:cubicBezTo>
                <a:cubicBezTo>
                  <a:pt x="894292" y="2171700"/>
                  <a:pt x="895827" y="2175352"/>
                  <a:pt x="898525" y="2178050"/>
                </a:cubicBezTo>
                <a:cubicBezTo>
                  <a:pt x="901223" y="2180748"/>
                  <a:pt x="904945" y="2182182"/>
                  <a:pt x="908050" y="2184400"/>
                </a:cubicBezTo>
                <a:cubicBezTo>
                  <a:pt x="912356" y="2187476"/>
                  <a:pt x="916347" y="2190990"/>
                  <a:pt x="920750" y="2193925"/>
                </a:cubicBezTo>
                <a:cubicBezTo>
                  <a:pt x="925885" y="2197348"/>
                  <a:pt x="931490" y="2200027"/>
                  <a:pt x="936625" y="2203450"/>
                </a:cubicBezTo>
                <a:cubicBezTo>
                  <a:pt x="941028" y="2206385"/>
                  <a:pt x="944731" y="2210350"/>
                  <a:pt x="949325" y="2212975"/>
                </a:cubicBezTo>
                <a:cubicBezTo>
                  <a:pt x="952231" y="2214635"/>
                  <a:pt x="955774" y="2214832"/>
                  <a:pt x="958850" y="2216150"/>
                </a:cubicBezTo>
                <a:cubicBezTo>
                  <a:pt x="963200" y="2218014"/>
                  <a:pt x="967200" y="2220636"/>
                  <a:pt x="971550" y="2222500"/>
                </a:cubicBezTo>
                <a:cubicBezTo>
                  <a:pt x="974626" y="2223818"/>
                  <a:pt x="977857" y="2224756"/>
                  <a:pt x="981075" y="2225675"/>
                </a:cubicBezTo>
                <a:cubicBezTo>
                  <a:pt x="991537" y="2228664"/>
                  <a:pt x="998738" y="2229843"/>
                  <a:pt x="1009650" y="2232025"/>
                </a:cubicBezTo>
                <a:cubicBezTo>
                  <a:pt x="1019175" y="2230967"/>
                  <a:pt x="1028772" y="2230426"/>
                  <a:pt x="1038225" y="2228850"/>
                </a:cubicBezTo>
                <a:cubicBezTo>
                  <a:pt x="1041526" y="2228300"/>
                  <a:pt x="1044674" y="2226993"/>
                  <a:pt x="1047750" y="2225675"/>
                </a:cubicBezTo>
                <a:cubicBezTo>
                  <a:pt x="1056553" y="2221902"/>
                  <a:pt x="1066313" y="2216637"/>
                  <a:pt x="1073150" y="2209800"/>
                </a:cubicBezTo>
                <a:cubicBezTo>
                  <a:pt x="1080777" y="2202173"/>
                  <a:pt x="1078802" y="2199788"/>
                  <a:pt x="1082675" y="2190750"/>
                </a:cubicBezTo>
                <a:cubicBezTo>
                  <a:pt x="1084539" y="2186400"/>
                  <a:pt x="1086908" y="2182283"/>
                  <a:pt x="1089025" y="2178050"/>
                </a:cubicBezTo>
                <a:cubicBezTo>
                  <a:pt x="1088917" y="2176532"/>
                  <a:pt x="1086137" y="2122916"/>
                  <a:pt x="1082675" y="2111375"/>
                </a:cubicBezTo>
                <a:cubicBezTo>
                  <a:pt x="1081579" y="2107720"/>
                  <a:pt x="1078032" y="2105263"/>
                  <a:pt x="1076325" y="2101850"/>
                </a:cubicBezTo>
                <a:cubicBezTo>
                  <a:pt x="1073776" y="2096752"/>
                  <a:pt x="1071923" y="2091331"/>
                  <a:pt x="1069975" y="2085975"/>
                </a:cubicBezTo>
                <a:cubicBezTo>
                  <a:pt x="1066665" y="2076872"/>
                  <a:pt x="1059160" y="2053497"/>
                  <a:pt x="1057275" y="2044700"/>
                </a:cubicBezTo>
                <a:cubicBezTo>
                  <a:pt x="1055707" y="2037383"/>
                  <a:pt x="1055238" y="2029872"/>
                  <a:pt x="1054100" y="2022475"/>
                </a:cubicBezTo>
                <a:cubicBezTo>
                  <a:pt x="1053121" y="2016112"/>
                  <a:pt x="1051983" y="2009775"/>
                  <a:pt x="1050925" y="2003425"/>
                </a:cubicBezTo>
                <a:cubicBezTo>
                  <a:pt x="1049867" y="1984375"/>
                  <a:pt x="1049403" y="1965283"/>
                  <a:pt x="1047750" y="1946275"/>
                </a:cubicBezTo>
                <a:cubicBezTo>
                  <a:pt x="1047283" y="1940899"/>
                  <a:pt x="1045206" y="1935759"/>
                  <a:pt x="1044575" y="1930400"/>
                </a:cubicBezTo>
                <a:cubicBezTo>
                  <a:pt x="1038925" y="1882373"/>
                  <a:pt x="1046007" y="1906121"/>
                  <a:pt x="1038225" y="1882775"/>
                </a:cubicBezTo>
                <a:cubicBezTo>
                  <a:pt x="1036108" y="1853142"/>
                  <a:pt x="1037189" y="1823105"/>
                  <a:pt x="1031875" y="1793875"/>
                </a:cubicBezTo>
                <a:cubicBezTo>
                  <a:pt x="1029758" y="1782233"/>
                  <a:pt x="1027124" y="1770674"/>
                  <a:pt x="1025525" y="1758950"/>
                </a:cubicBezTo>
                <a:cubicBezTo>
                  <a:pt x="1023946" y="1747368"/>
                  <a:pt x="1023641" y="1735643"/>
                  <a:pt x="1022350" y="1724025"/>
                </a:cubicBezTo>
                <a:cubicBezTo>
                  <a:pt x="1021524" y="1716587"/>
                  <a:pt x="1020103" y="1709226"/>
                  <a:pt x="1019175" y="1701800"/>
                </a:cubicBezTo>
                <a:cubicBezTo>
                  <a:pt x="1017986" y="1692290"/>
                  <a:pt x="1018008" y="1682596"/>
                  <a:pt x="1016000" y="1673225"/>
                </a:cubicBezTo>
                <a:cubicBezTo>
                  <a:pt x="1014806" y="1667652"/>
                  <a:pt x="1011452" y="1662757"/>
                  <a:pt x="1009650" y="1657350"/>
                </a:cubicBezTo>
                <a:cubicBezTo>
                  <a:pt x="989014" y="1595443"/>
                  <a:pt x="1015025" y="1670708"/>
                  <a:pt x="1000125" y="1616075"/>
                </a:cubicBezTo>
                <a:cubicBezTo>
                  <a:pt x="998625" y="1610577"/>
                  <a:pt x="995776" y="1605536"/>
                  <a:pt x="993775" y="1600200"/>
                </a:cubicBezTo>
                <a:cubicBezTo>
                  <a:pt x="992600" y="1597066"/>
                  <a:pt x="991744" y="1593820"/>
                  <a:pt x="990600" y="1590675"/>
                </a:cubicBezTo>
                <a:cubicBezTo>
                  <a:pt x="987510" y="1582177"/>
                  <a:pt x="984250" y="1573742"/>
                  <a:pt x="981075" y="1565275"/>
                </a:cubicBezTo>
                <a:cubicBezTo>
                  <a:pt x="980017" y="1552575"/>
                  <a:pt x="979389" y="1539832"/>
                  <a:pt x="977900" y="1527175"/>
                </a:cubicBezTo>
                <a:cubicBezTo>
                  <a:pt x="977269" y="1521816"/>
                  <a:pt x="975612" y="1516623"/>
                  <a:pt x="974725" y="1511300"/>
                </a:cubicBezTo>
                <a:cubicBezTo>
                  <a:pt x="973495" y="1503918"/>
                  <a:pt x="972376" y="1496513"/>
                  <a:pt x="971550" y="1489075"/>
                </a:cubicBezTo>
                <a:cubicBezTo>
                  <a:pt x="966055" y="1439617"/>
                  <a:pt x="971513" y="1469841"/>
                  <a:pt x="965200" y="1438275"/>
                </a:cubicBezTo>
                <a:cubicBezTo>
                  <a:pt x="964142" y="1425575"/>
                  <a:pt x="963709" y="1412807"/>
                  <a:pt x="962025" y="1400175"/>
                </a:cubicBezTo>
                <a:cubicBezTo>
                  <a:pt x="961583" y="1396858"/>
                  <a:pt x="959662" y="1393897"/>
                  <a:pt x="958850" y="1390650"/>
                </a:cubicBezTo>
                <a:cubicBezTo>
                  <a:pt x="953707" y="1370077"/>
                  <a:pt x="957810" y="1375885"/>
                  <a:pt x="949325" y="1352550"/>
                </a:cubicBezTo>
                <a:cubicBezTo>
                  <a:pt x="947708" y="1348102"/>
                  <a:pt x="944839" y="1344200"/>
                  <a:pt x="942975" y="1339850"/>
                </a:cubicBezTo>
                <a:cubicBezTo>
                  <a:pt x="941657" y="1336774"/>
                  <a:pt x="941118" y="1333401"/>
                  <a:pt x="939800" y="1330325"/>
                </a:cubicBezTo>
                <a:cubicBezTo>
                  <a:pt x="937936" y="1325975"/>
                  <a:pt x="935372" y="1321950"/>
                  <a:pt x="933450" y="1317625"/>
                </a:cubicBezTo>
                <a:cubicBezTo>
                  <a:pt x="931135" y="1312417"/>
                  <a:pt x="929101" y="1307086"/>
                  <a:pt x="927100" y="1301750"/>
                </a:cubicBezTo>
                <a:cubicBezTo>
                  <a:pt x="925925" y="1298616"/>
                  <a:pt x="925585" y="1295131"/>
                  <a:pt x="923925" y="1292225"/>
                </a:cubicBezTo>
                <a:cubicBezTo>
                  <a:pt x="921300" y="1287631"/>
                  <a:pt x="917241" y="1283989"/>
                  <a:pt x="914400" y="1279525"/>
                </a:cubicBezTo>
                <a:cubicBezTo>
                  <a:pt x="909819" y="1272326"/>
                  <a:pt x="905933" y="1264708"/>
                  <a:pt x="901700" y="1257300"/>
                </a:cubicBezTo>
                <a:cubicBezTo>
                  <a:pt x="896129" y="1235016"/>
                  <a:pt x="903365" y="1252615"/>
                  <a:pt x="885825" y="1235075"/>
                </a:cubicBezTo>
                <a:cubicBezTo>
                  <a:pt x="864658" y="1213908"/>
                  <a:pt x="895350" y="1236133"/>
                  <a:pt x="869950" y="1219200"/>
                </a:cubicBezTo>
                <a:cubicBezTo>
                  <a:pt x="842433" y="1177925"/>
                  <a:pt x="885825" y="1240367"/>
                  <a:pt x="854075" y="1203325"/>
                </a:cubicBezTo>
                <a:cubicBezTo>
                  <a:pt x="850059" y="1198640"/>
                  <a:pt x="848501" y="1192191"/>
                  <a:pt x="844550" y="1187450"/>
                </a:cubicBezTo>
                <a:cubicBezTo>
                  <a:pt x="837843" y="1179401"/>
                  <a:pt x="827010" y="1174596"/>
                  <a:pt x="822325" y="1165225"/>
                </a:cubicBezTo>
                <a:cubicBezTo>
                  <a:pt x="813608" y="1147792"/>
                  <a:pt x="818815" y="1156311"/>
                  <a:pt x="806450" y="1139825"/>
                </a:cubicBezTo>
                <a:cubicBezTo>
                  <a:pt x="796230" y="1109164"/>
                  <a:pt x="812618" y="1156834"/>
                  <a:pt x="796925" y="1117600"/>
                </a:cubicBezTo>
                <a:cubicBezTo>
                  <a:pt x="794439" y="1111385"/>
                  <a:pt x="793061" y="1104765"/>
                  <a:pt x="790575" y="1098550"/>
                </a:cubicBezTo>
                <a:cubicBezTo>
                  <a:pt x="782604" y="1078623"/>
                  <a:pt x="785607" y="1088204"/>
                  <a:pt x="781050" y="1069975"/>
                </a:cubicBezTo>
                <a:cubicBezTo>
                  <a:pt x="779992" y="1059392"/>
                  <a:pt x="779379" y="1048754"/>
                  <a:pt x="777875" y="1038225"/>
                </a:cubicBezTo>
                <a:cubicBezTo>
                  <a:pt x="776289" y="1027120"/>
                  <a:pt x="774239" y="1025951"/>
                  <a:pt x="771525" y="1016000"/>
                </a:cubicBezTo>
                <a:cubicBezTo>
                  <a:pt x="769229" y="1007580"/>
                  <a:pt x="767004" y="999134"/>
                  <a:pt x="765175" y="990600"/>
                </a:cubicBezTo>
                <a:cubicBezTo>
                  <a:pt x="758470" y="959308"/>
                  <a:pt x="765585" y="982305"/>
                  <a:pt x="758825" y="962025"/>
                </a:cubicBezTo>
                <a:cubicBezTo>
                  <a:pt x="757767" y="954617"/>
                  <a:pt x="756788" y="947197"/>
                  <a:pt x="755650" y="939800"/>
                </a:cubicBezTo>
                <a:cubicBezTo>
                  <a:pt x="754671" y="933437"/>
                  <a:pt x="752743" y="927182"/>
                  <a:pt x="752475" y="920750"/>
                </a:cubicBezTo>
                <a:cubicBezTo>
                  <a:pt x="750624" y="876326"/>
                  <a:pt x="750358" y="831850"/>
                  <a:pt x="749300" y="787400"/>
                </a:cubicBezTo>
                <a:cubicBezTo>
                  <a:pt x="750358" y="739775"/>
                  <a:pt x="749678" y="692080"/>
                  <a:pt x="752475" y="644525"/>
                </a:cubicBezTo>
                <a:cubicBezTo>
                  <a:pt x="753567" y="625958"/>
                  <a:pt x="758797" y="628705"/>
                  <a:pt x="765175" y="615950"/>
                </a:cubicBezTo>
                <a:cubicBezTo>
                  <a:pt x="766672" y="612957"/>
                  <a:pt x="766494" y="609210"/>
                  <a:pt x="768350" y="606425"/>
                </a:cubicBezTo>
                <a:cubicBezTo>
                  <a:pt x="770841" y="602689"/>
                  <a:pt x="775000" y="600349"/>
                  <a:pt x="777875" y="596900"/>
                </a:cubicBezTo>
                <a:cubicBezTo>
                  <a:pt x="780318" y="593969"/>
                  <a:pt x="782007" y="590480"/>
                  <a:pt x="784225" y="587375"/>
                </a:cubicBezTo>
                <a:cubicBezTo>
                  <a:pt x="785605" y="585443"/>
                  <a:pt x="798339" y="569111"/>
                  <a:pt x="800100" y="565150"/>
                </a:cubicBezTo>
                <a:cubicBezTo>
                  <a:pt x="807119" y="549356"/>
                  <a:pt x="806450" y="551129"/>
                  <a:pt x="806450" y="539750"/>
                </a:cubicBezTo>
                <a:lnTo>
                  <a:pt x="876300" y="339725"/>
                </a:lnTo>
                <a:lnTo>
                  <a:pt x="920750" y="155575"/>
                </a:lnTo>
                <a:cubicBezTo>
                  <a:pt x="921808" y="118533"/>
                  <a:pt x="922867" y="81492"/>
                  <a:pt x="923925" y="44450"/>
                </a:cubicBezTo>
                <a:lnTo>
                  <a:pt x="873125" y="0"/>
                </a:lnTo>
                <a:lnTo>
                  <a:pt x="806450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7" name="Полилиния 306"/>
          <p:cNvSpPr/>
          <p:nvPr/>
        </p:nvSpPr>
        <p:spPr>
          <a:xfrm rot="21083476">
            <a:off x="7905979" y="2428746"/>
            <a:ext cx="2716322" cy="3403289"/>
          </a:xfrm>
          <a:custGeom>
            <a:avLst/>
            <a:gdLst>
              <a:gd name="connsiteX0" fmla="*/ 609604 w 2168552"/>
              <a:gd name="connsiteY0" fmla="*/ 9525 h 2343150"/>
              <a:gd name="connsiteX1" fmla="*/ 190504 w 2168552"/>
              <a:gd name="connsiteY1" fmla="*/ 161925 h 2343150"/>
              <a:gd name="connsiteX2" fmla="*/ 155579 w 2168552"/>
              <a:gd name="connsiteY2" fmla="*/ 184150 h 2343150"/>
              <a:gd name="connsiteX3" fmla="*/ 136529 w 2168552"/>
              <a:gd name="connsiteY3" fmla="*/ 196850 h 2343150"/>
              <a:gd name="connsiteX4" fmla="*/ 120654 w 2168552"/>
              <a:gd name="connsiteY4" fmla="*/ 212725 h 2343150"/>
              <a:gd name="connsiteX5" fmla="*/ 114304 w 2168552"/>
              <a:gd name="connsiteY5" fmla="*/ 222250 h 2343150"/>
              <a:gd name="connsiteX6" fmla="*/ 104779 w 2168552"/>
              <a:gd name="connsiteY6" fmla="*/ 231775 h 2343150"/>
              <a:gd name="connsiteX7" fmla="*/ 98429 w 2168552"/>
              <a:gd name="connsiteY7" fmla="*/ 241300 h 2343150"/>
              <a:gd name="connsiteX8" fmla="*/ 79379 w 2168552"/>
              <a:gd name="connsiteY8" fmla="*/ 260350 h 2343150"/>
              <a:gd name="connsiteX9" fmla="*/ 69854 w 2168552"/>
              <a:gd name="connsiteY9" fmla="*/ 269875 h 2343150"/>
              <a:gd name="connsiteX10" fmla="*/ 57154 w 2168552"/>
              <a:gd name="connsiteY10" fmla="*/ 288925 h 2343150"/>
              <a:gd name="connsiteX11" fmla="*/ 50804 w 2168552"/>
              <a:gd name="connsiteY11" fmla="*/ 298450 h 2343150"/>
              <a:gd name="connsiteX12" fmla="*/ 44454 w 2168552"/>
              <a:gd name="connsiteY12" fmla="*/ 317500 h 2343150"/>
              <a:gd name="connsiteX13" fmla="*/ 41279 w 2168552"/>
              <a:gd name="connsiteY13" fmla="*/ 358775 h 2343150"/>
              <a:gd name="connsiteX14" fmla="*/ 34929 w 2168552"/>
              <a:gd name="connsiteY14" fmla="*/ 381000 h 2343150"/>
              <a:gd name="connsiteX15" fmla="*/ 31754 w 2168552"/>
              <a:gd name="connsiteY15" fmla="*/ 400050 h 2343150"/>
              <a:gd name="connsiteX16" fmla="*/ 25404 w 2168552"/>
              <a:gd name="connsiteY16" fmla="*/ 419100 h 2343150"/>
              <a:gd name="connsiteX17" fmla="*/ 22229 w 2168552"/>
              <a:gd name="connsiteY17" fmla="*/ 434975 h 2343150"/>
              <a:gd name="connsiteX18" fmla="*/ 15879 w 2168552"/>
              <a:gd name="connsiteY18" fmla="*/ 454025 h 2343150"/>
              <a:gd name="connsiteX19" fmla="*/ 9529 w 2168552"/>
              <a:gd name="connsiteY19" fmla="*/ 488950 h 2343150"/>
              <a:gd name="connsiteX20" fmla="*/ 6354 w 2168552"/>
              <a:gd name="connsiteY20" fmla="*/ 498475 h 2343150"/>
              <a:gd name="connsiteX21" fmla="*/ 3179 w 2168552"/>
              <a:gd name="connsiteY21" fmla="*/ 523875 h 2343150"/>
              <a:gd name="connsiteX22" fmla="*/ 4 w 2168552"/>
              <a:gd name="connsiteY22" fmla="*/ 619125 h 2343150"/>
              <a:gd name="connsiteX23" fmla="*/ 15879 w 2168552"/>
              <a:gd name="connsiteY23" fmla="*/ 933450 h 2343150"/>
              <a:gd name="connsiteX24" fmla="*/ 63504 w 2168552"/>
              <a:gd name="connsiteY24" fmla="*/ 1374775 h 2343150"/>
              <a:gd name="connsiteX25" fmla="*/ 120654 w 2168552"/>
              <a:gd name="connsiteY25" fmla="*/ 1590675 h 2343150"/>
              <a:gd name="connsiteX26" fmla="*/ 219079 w 2168552"/>
              <a:gd name="connsiteY26" fmla="*/ 1695450 h 2343150"/>
              <a:gd name="connsiteX27" fmla="*/ 587379 w 2168552"/>
              <a:gd name="connsiteY27" fmla="*/ 2000250 h 2343150"/>
              <a:gd name="connsiteX28" fmla="*/ 771529 w 2168552"/>
              <a:gd name="connsiteY28" fmla="*/ 2092325 h 2343150"/>
              <a:gd name="connsiteX29" fmla="*/ 771529 w 2168552"/>
              <a:gd name="connsiteY29" fmla="*/ 2063750 h 2343150"/>
              <a:gd name="connsiteX30" fmla="*/ 771529 w 2168552"/>
              <a:gd name="connsiteY30" fmla="*/ 2025650 h 2343150"/>
              <a:gd name="connsiteX31" fmla="*/ 854079 w 2168552"/>
              <a:gd name="connsiteY31" fmla="*/ 1990725 h 2343150"/>
              <a:gd name="connsiteX32" fmla="*/ 949329 w 2168552"/>
              <a:gd name="connsiteY32" fmla="*/ 2082800 h 2343150"/>
              <a:gd name="connsiteX33" fmla="*/ 1066804 w 2168552"/>
              <a:gd name="connsiteY33" fmla="*/ 2206625 h 2343150"/>
              <a:gd name="connsiteX34" fmla="*/ 1111254 w 2168552"/>
              <a:gd name="connsiteY34" fmla="*/ 2232025 h 2343150"/>
              <a:gd name="connsiteX35" fmla="*/ 1120779 w 2168552"/>
              <a:gd name="connsiteY35" fmla="*/ 2241550 h 2343150"/>
              <a:gd name="connsiteX36" fmla="*/ 1130304 w 2168552"/>
              <a:gd name="connsiteY36" fmla="*/ 2244725 h 2343150"/>
              <a:gd name="connsiteX37" fmla="*/ 1149354 w 2168552"/>
              <a:gd name="connsiteY37" fmla="*/ 2257425 h 2343150"/>
              <a:gd name="connsiteX38" fmla="*/ 1158879 w 2168552"/>
              <a:gd name="connsiteY38" fmla="*/ 2263775 h 2343150"/>
              <a:gd name="connsiteX39" fmla="*/ 1168404 w 2168552"/>
              <a:gd name="connsiteY39" fmla="*/ 2273300 h 2343150"/>
              <a:gd name="connsiteX40" fmla="*/ 1181104 w 2168552"/>
              <a:gd name="connsiteY40" fmla="*/ 2279650 h 2343150"/>
              <a:gd name="connsiteX41" fmla="*/ 1190629 w 2168552"/>
              <a:gd name="connsiteY41" fmla="*/ 2286000 h 2343150"/>
              <a:gd name="connsiteX42" fmla="*/ 1209679 w 2168552"/>
              <a:gd name="connsiteY42" fmla="*/ 2292350 h 2343150"/>
              <a:gd name="connsiteX43" fmla="*/ 1219204 w 2168552"/>
              <a:gd name="connsiteY43" fmla="*/ 2301875 h 2343150"/>
              <a:gd name="connsiteX44" fmla="*/ 1231904 w 2168552"/>
              <a:gd name="connsiteY44" fmla="*/ 2305050 h 2343150"/>
              <a:gd name="connsiteX45" fmla="*/ 1263654 w 2168552"/>
              <a:gd name="connsiteY45" fmla="*/ 2314575 h 2343150"/>
              <a:gd name="connsiteX46" fmla="*/ 1289054 w 2168552"/>
              <a:gd name="connsiteY46" fmla="*/ 2320925 h 2343150"/>
              <a:gd name="connsiteX47" fmla="*/ 1298579 w 2168552"/>
              <a:gd name="connsiteY47" fmla="*/ 2324100 h 2343150"/>
              <a:gd name="connsiteX48" fmla="*/ 1330329 w 2168552"/>
              <a:gd name="connsiteY48" fmla="*/ 2330450 h 2343150"/>
              <a:gd name="connsiteX49" fmla="*/ 1339854 w 2168552"/>
              <a:gd name="connsiteY49" fmla="*/ 2333625 h 2343150"/>
              <a:gd name="connsiteX50" fmla="*/ 1374779 w 2168552"/>
              <a:gd name="connsiteY50" fmla="*/ 2343150 h 2343150"/>
              <a:gd name="connsiteX51" fmla="*/ 1435104 w 2168552"/>
              <a:gd name="connsiteY51" fmla="*/ 2339975 h 2343150"/>
              <a:gd name="connsiteX52" fmla="*/ 1454154 w 2168552"/>
              <a:gd name="connsiteY52" fmla="*/ 2330450 h 2343150"/>
              <a:gd name="connsiteX53" fmla="*/ 1479554 w 2168552"/>
              <a:gd name="connsiteY53" fmla="*/ 2327275 h 2343150"/>
              <a:gd name="connsiteX54" fmla="*/ 1504954 w 2168552"/>
              <a:gd name="connsiteY54" fmla="*/ 2317750 h 2343150"/>
              <a:gd name="connsiteX55" fmla="*/ 1520829 w 2168552"/>
              <a:gd name="connsiteY55" fmla="*/ 2311400 h 2343150"/>
              <a:gd name="connsiteX56" fmla="*/ 1533529 w 2168552"/>
              <a:gd name="connsiteY56" fmla="*/ 2308225 h 2343150"/>
              <a:gd name="connsiteX57" fmla="*/ 1574804 w 2168552"/>
              <a:gd name="connsiteY57" fmla="*/ 2292350 h 2343150"/>
              <a:gd name="connsiteX58" fmla="*/ 1593854 w 2168552"/>
              <a:gd name="connsiteY58" fmla="*/ 2273300 h 2343150"/>
              <a:gd name="connsiteX59" fmla="*/ 1603379 w 2168552"/>
              <a:gd name="connsiteY59" fmla="*/ 2263775 h 2343150"/>
              <a:gd name="connsiteX60" fmla="*/ 1619254 w 2168552"/>
              <a:gd name="connsiteY60" fmla="*/ 2244725 h 2343150"/>
              <a:gd name="connsiteX61" fmla="*/ 1628779 w 2168552"/>
              <a:gd name="connsiteY61" fmla="*/ 2241550 h 2343150"/>
              <a:gd name="connsiteX62" fmla="*/ 1638304 w 2168552"/>
              <a:gd name="connsiteY62" fmla="*/ 2235200 h 2343150"/>
              <a:gd name="connsiteX63" fmla="*/ 1663704 w 2168552"/>
              <a:gd name="connsiteY63" fmla="*/ 2232025 h 2343150"/>
              <a:gd name="connsiteX64" fmla="*/ 1724029 w 2168552"/>
              <a:gd name="connsiteY64" fmla="*/ 2225675 h 2343150"/>
              <a:gd name="connsiteX65" fmla="*/ 1822454 w 2168552"/>
              <a:gd name="connsiteY65" fmla="*/ 2228850 h 2343150"/>
              <a:gd name="connsiteX66" fmla="*/ 1854204 w 2168552"/>
              <a:gd name="connsiteY66" fmla="*/ 2238375 h 2343150"/>
              <a:gd name="connsiteX67" fmla="*/ 1879604 w 2168552"/>
              <a:gd name="connsiteY67" fmla="*/ 2244725 h 2343150"/>
              <a:gd name="connsiteX68" fmla="*/ 1889129 w 2168552"/>
              <a:gd name="connsiteY68" fmla="*/ 2247900 h 2343150"/>
              <a:gd name="connsiteX69" fmla="*/ 1911354 w 2168552"/>
              <a:gd name="connsiteY69" fmla="*/ 2251075 h 2343150"/>
              <a:gd name="connsiteX70" fmla="*/ 1943104 w 2168552"/>
              <a:gd name="connsiteY70" fmla="*/ 2263775 h 2343150"/>
              <a:gd name="connsiteX71" fmla="*/ 1978029 w 2168552"/>
              <a:gd name="connsiteY71" fmla="*/ 2270125 h 2343150"/>
              <a:gd name="connsiteX72" fmla="*/ 1993904 w 2168552"/>
              <a:gd name="connsiteY72" fmla="*/ 2273300 h 2343150"/>
              <a:gd name="connsiteX73" fmla="*/ 2076454 w 2168552"/>
              <a:gd name="connsiteY73" fmla="*/ 2270125 h 2343150"/>
              <a:gd name="connsiteX74" fmla="*/ 2089154 w 2168552"/>
              <a:gd name="connsiteY74" fmla="*/ 2266950 h 2343150"/>
              <a:gd name="connsiteX75" fmla="*/ 2108204 w 2168552"/>
              <a:gd name="connsiteY75" fmla="*/ 2254250 h 2343150"/>
              <a:gd name="connsiteX76" fmla="*/ 2120904 w 2168552"/>
              <a:gd name="connsiteY76" fmla="*/ 2241550 h 2343150"/>
              <a:gd name="connsiteX77" fmla="*/ 2130429 w 2168552"/>
              <a:gd name="connsiteY77" fmla="*/ 2219325 h 2343150"/>
              <a:gd name="connsiteX78" fmla="*/ 2136779 w 2168552"/>
              <a:gd name="connsiteY78" fmla="*/ 2200275 h 2343150"/>
              <a:gd name="connsiteX79" fmla="*/ 2143129 w 2168552"/>
              <a:gd name="connsiteY79" fmla="*/ 2181225 h 2343150"/>
              <a:gd name="connsiteX80" fmla="*/ 2149479 w 2168552"/>
              <a:gd name="connsiteY80" fmla="*/ 2162175 h 2343150"/>
              <a:gd name="connsiteX81" fmla="*/ 2159004 w 2168552"/>
              <a:gd name="connsiteY81" fmla="*/ 2130425 h 2343150"/>
              <a:gd name="connsiteX82" fmla="*/ 2162179 w 2168552"/>
              <a:gd name="connsiteY82" fmla="*/ 2111375 h 2343150"/>
              <a:gd name="connsiteX83" fmla="*/ 2165354 w 2168552"/>
              <a:gd name="connsiteY83" fmla="*/ 2063750 h 2343150"/>
              <a:gd name="connsiteX84" fmla="*/ 2168529 w 2168552"/>
              <a:gd name="connsiteY84" fmla="*/ 2054225 h 2343150"/>
              <a:gd name="connsiteX85" fmla="*/ 2159004 w 2168552"/>
              <a:gd name="connsiteY85" fmla="*/ 1870075 h 2343150"/>
              <a:gd name="connsiteX86" fmla="*/ 2152654 w 2168552"/>
              <a:gd name="connsiteY86" fmla="*/ 1825625 h 2343150"/>
              <a:gd name="connsiteX87" fmla="*/ 2146304 w 2168552"/>
              <a:gd name="connsiteY87" fmla="*/ 1809750 h 2343150"/>
              <a:gd name="connsiteX88" fmla="*/ 2136779 w 2168552"/>
              <a:gd name="connsiteY88" fmla="*/ 1800225 h 2343150"/>
              <a:gd name="connsiteX89" fmla="*/ 2130429 w 2168552"/>
              <a:gd name="connsiteY89" fmla="*/ 1790700 h 2343150"/>
              <a:gd name="connsiteX90" fmla="*/ 2111379 w 2168552"/>
              <a:gd name="connsiteY90" fmla="*/ 1765300 h 2343150"/>
              <a:gd name="connsiteX91" fmla="*/ 2092329 w 2168552"/>
              <a:gd name="connsiteY91" fmla="*/ 1739900 h 2343150"/>
              <a:gd name="connsiteX92" fmla="*/ 2082804 w 2168552"/>
              <a:gd name="connsiteY92" fmla="*/ 1727200 h 2343150"/>
              <a:gd name="connsiteX93" fmla="*/ 2073279 w 2168552"/>
              <a:gd name="connsiteY93" fmla="*/ 1720850 h 2343150"/>
              <a:gd name="connsiteX94" fmla="*/ 2063754 w 2168552"/>
              <a:gd name="connsiteY94" fmla="*/ 1711325 h 2343150"/>
              <a:gd name="connsiteX95" fmla="*/ 2041529 w 2168552"/>
              <a:gd name="connsiteY95" fmla="*/ 1701800 h 2343150"/>
              <a:gd name="connsiteX96" fmla="*/ 2032004 w 2168552"/>
              <a:gd name="connsiteY96" fmla="*/ 1692275 h 2343150"/>
              <a:gd name="connsiteX97" fmla="*/ 2022479 w 2168552"/>
              <a:gd name="connsiteY97" fmla="*/ 1685925 h 2343150"/>
              <a:gd name="connsiteX98" fmla="*/ 1704979 w 2168552"/>
              <a:gd name="connsiteY98" fmla="*/ 1438275 h 2343150"/>
              <a:gd name="connsiteX99" fmla="*/ 1597029 w 2168552"/>
              <a:gd name="connsiteY99" fmla="*/ 1349375 h 2343150"/>
              <a:gd name="connsiteX100" fmla="*/ 1381129 w 2168552"/>
              <a:gd name="connsiteY100" fmla="*/ 1171575 h 2343150"/>
              <a:gd name="connsiteX101" fmla="*/ 1006479 w 2168552"/>
              <a:gd name="connsiteY101" fmla="*/ 841375 h 2343150"/>
              <a:gd name="connsiteX102" fmla="*/ 936629 w 2168552"/>
              <a:gd name="connsiteY102" fmla="*/ 739775 h 2343150"/>
              <a:gd name="connsiteX103" fmla="*/ 917579 w 2168552"/>
              <a:gd name="connsiteY103" fmla="*/ 685800 h 2343150"/>
              <a:gd name="connsiteX104" fmla="*/ 930279 w 2168552"/>
              <a:gd name="connsiteY104" fmla="*/ 523875 h 2343150"/>
              <a:gd name="connsiteX105" fmla="*/ 904879 w 2168552"/>
              <a:gd name="connsiteY105" fmla="*/ 168275 h 2343150"/>
              <a:gd name="connsiteX106" fmla="*/ 863604 w 2168552"/>
              <a:gd name="connsiteY106" fmla="*/ 104775 h 2343150"/>
              <a:gd name="connsiteX107" fmla="*/ 819154 w 2168552"/>
              <a:gd name="connsiteY107" fmla="*/ 92075 h 2343150"/>
              <a:gd name="connsiteX108" fmla="*/ 765179 w 2168552"/>
              <a:gd name="connsiteY108" fmla="*/ 107950 h 2343150"/>
              <a:gd name="connsiteX109" fmla="*/ 727079 w 2168552"/>
              <a:gd name="connsiteY109" fmla="*/ 98425 h 2343150"/>
              <a:gd name="connsiteX110" fmla="*/ 685804 w 2168552"/>
              <a:gd name="connsiteY110" fmla="*/ 12700 h 2343150"/>
              <a:gd name="connsiteX111" fmla="*/ 666754 w 2168552"/>
              <a:gd name="connsiteY111" fmla="*/ 0 h 2343150"/>
              <a:gd name="connsiteX112" fmla="*/ 609604 w 2168552"/>
              <a:gd name="connsiteY112" fmla="*/ 9525 h 23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2168552" h="2343150">
                <a:moveTo>
                  <a:pt x="609604" y="9525"/>
                </a:moveTo>
                <a:lnTo>
                  <a:pt x="190504" y="161925"/>
                </a:lnTo>
                <a:cubicBezTo>
                  <a:pt x="133735" y="190310"/>
                  <a:pt x="184772" y="161444"/>
                  <a:pt x="155579" y="184150"/>
                </a:cubicBezTo>
                <a:cubicBezTo>
                  <a:pt x="149555" y="188835"/>
                  <a:pt x="136529" y="196850"/>
                  <a:pt x="136529" y="196850"/>
                </a:cubicBezTo>
                <a:cubicBezTo>
                  <a:pt x="119596" y="222250"/>
                  <a:pt x="141821" y="191558"/>
                  <a:pt x="120654" y="212725"/>
                </a:cubicBezTo>
                <a:cubicBezTo>
                  <a:pt x="117956" y="215423"/>
                  <a:pt x="116747" y="219319"/>
                  <a:pt x="114304" y="222250"/>
                </a:cubicBezTo>
                <a:cubicBezTo>
                  <a:pt x="111429" y="225699"/>
                  <a:pt x="107654" y="228326"/>
                  <a:pt x="104779" y="231775"/>
                </a:cubicBezTo>
                <a:cubicBezTo>
                  <a:pt x="102336" y="234706"/>
                  <a:pt x="100964" y="238448"/>
                  <a:pt x="98429" y="241300"/>
                </a:cubicBezTo>
                <a:cubicBezTo>
                  <a:pt x="92463" y="248012"/>
                  <a:pt x="85729" y="254000"/>
                  <a:pt x="79379" y="260350"/>
                </a:cubicBezTo>
                <a:cubicBezTo>
                  <a:pt x="76204" y="263525"/>
                  <a:pt x="72345" y="266139"/>
                  <a:pt x="69854" y="269875"/>
                </a:cubicBezTo>
                <a:lnTo>
                  <a:pt x="57154" y="288925"/>
                </a:lnTo>
                <a:cubicBezTo>
                  <a:pt x="55037" y="292100"/>
                  <a:pt x="52011" y="294830"/>
                  <a:pt x="50804" y="298450"/>
                </a:cubicBezTo>
                <a:lnTo>
                  <a:pt x="44454" y="317500"/>
                </a:lnTo>
                <a:cubicBezTo>
                  <a:pt x="43396" y="331258"/>
                  <a:pt x="42891" y="345071"/>
                  <a:pt x="41279" y="358775"/>
                </a:cubicBezTo>
                <a:cubicBezTo>
                  <a:pt x="39550" y="373469"/>
                  <a:pt x="37752" y="368296"/>
                  <a:pt x="34929" y="381000"/>
                </a:cubicBezTo>
                <a:cubicBezTo>
                  <a:pt x="33532" y="387284"/>
                  <a:pt x="33315" y="393805"/>
                  <a:pt x="31754" y="400050"/>
                </a:cubicBezTo>
                <a:cubicBezTo>
                  <a:pt x="30131" y="406544"/>
                  <a:pt x="26717" y="412536"/>
                  <a:pt x="25404" y="419100"/>
                </a:cubicBezTo>
                <a:cubicBezTo>
                  <a:pt x="24346" y="424392"/>
                  <a:pt x="23649" y="429769"/>
                  <a:pt x="22229" y="434975"/>
                </a:cubicBezTo>
                <a:cubicBezTo>
                  <a:pt x="20468" y="441433"/>
                  <a:pt x="16979" y="447423"/>
                  <a:pt x="15879" y="454025"/>
                </a:cubicBezTo>
                <a:cubicBezTo>
                  <a:pt x="14464" y="462517"/>
                  <a:pt x="11748" y="480075"/>
                  <a:pt x="9529" y="488950"/>
                </a:cubicBezTo>
                <a:cubicBezTo>
                  <a:pt x="8717" y="492197"/>
                  <a:pt x="7412" y="495300"/>
                  <a:pt x="6354" y="498475"/>
                </a:cubicBezTo>
                <a:cubicBezTo>
                  <a:pt x="5296" y="506942"/>
                  <a:pt x="3711" y="515359"/>
                  <a:pt x="3179" y="523875"/>
                </a:cubicBezTo>
                <a:cubicBezTo>
                  <a:pt x="-260" y="578905"/>
                  <a:pt x="4" y="581526"/>
                  <a:pt x="4" y="619125"/>
                </a:cubicBezTo>
                <a:lnTo>
                  <a:pt x="15879" y="933450"/>
                </a:lnTo>
                <a:lnTo>
                  <a:pt x="63504" y="1374775"/>
                </a:lnTo>
                <a:lnTo>
                  <a:pt x="120654" y="1590675"/>
                </a:lnTo>
                <a:lnTo>
                  <a:pt x="219079" y="1695450"/>
                </a:lnTo>
                <a:lnTo>
                  <a:pt x="587379" y="2000250"/>
                </a:lnTo>
                <a:lnTo>
                  <a:pt x="771529" y="2092325"/>
                </a:lnTo>
                <a:lnTo>
                  <a:pt x="771529" y="2063750"/>
                </a:lnTo>
                <a:lnTo>
                  <a:pt x="771529" y="2025650"/>
                </a:lnTo>
                <a:lnTo>
                  <a:pt x="854079" y="1990725"/>
                </a:lnTo>
                <a:lnTo>
                  <a:pt x="949329" y="2082800"/>
                </a:lnTo>
                <a:lnTo>
                  <a:pt x="1066804" y="2206625"/>
                </a:lnTo>
                <a:cubicBezTo>
                  <a:pt x="1076765" y="2211605"/>
                  <a:pt x="1102279" y="2223050"/>
                  <a:pt x="1111254" y="2232025"/>
                </a:cubicBezTo>
                <a:cubicBezTo>
                  <a:pt x="1114429" y="2235200"/>
                  <a:pt x="1117043" y="2239059"/>
                  <a:pt x="1120779" y="2241550"/>
                </a:cubicBezTo>
                <a:cubicBezTo>
                  <a:pt x="1123564" y="2243406"/>
                  <a:pt x="1127378" y="2243100"/>
                  <a:pt x="1130304" y="2244725"/>
                </a:cubicBezTo>
                <a:cubicBezTo>
                  <a:pt x="1136975" y="2248431"/>
                  <a:pt x="1143004" y="2253192"/>
                  <a:pt x="1149354" y="2257425"/>
                </a:cubicBezTo>
                <a:cubicBezTo>
                  <a:pt x="1152529" y="2259542"/>
                  <a:pt x="1156181" y="2261077"/>
                  <a:pt x="1158879" y="2263775"/>
                </a:cubicBezTo>
                <a:cubicBezTo>
                  <a:pt x="1162054" y="2266950"/>
                  <a:pt x="1164750" y="2270690"/>
                  <a:pt x="1168404" y="2273300"/>
                </a:cubicBezTo>
                <a:cubicBezTo>
                  <a:pt x="1172255" y="2276051"/>
                  <a:pt x="1176995" y="2277302"/>
                  <a:pt x="1181104" y="2279650"/>
                </a:cubicBezTo>
                <a:cubicBezTo>
                  <a:pt x="1184417" y="2281543"/>
                  <a:pt x="1187142" y="2284450"/>
                  <a:pt x="1190629" y="2286000"/>
                </a:cubicBezTo>
                <a:cubicBezTo>
                  <a:pt x="1196746" y="2288718"/>
                  <a:pt x="1209679" y="2292350"/>
                  <a:pt x="1209679" y="2292350"/>
                </a:cubicBezTo>
                <a:cubicBezTo>
                  <a:pt x="1212854" y="2295525"/>
                  <a:pt x="1215305" y="2299647"/>
                  <a:pt x="1219204" y="2301875"/>
                </a:cubicBezTo>
                <a:cubicBezTo>
                  <a:pt x="1222993" y="2304040"/>
                  <a:pt x="1227764" y="2303670"/>
                  <a:pt x="1231904" y="2305050"/>
                </a:cubicBezTo>
                <a:cubicBezTo>
                  <a:pt x="1273165" y="2318804"/>
                  <a:pt x="1222897" y="2305170"/>
                  <a:pt x="1263654" y="2314575"/>
                </a:cubicBezTo>
                <a:cubicBezTo>
                  <a:pt x="1272158" y="2316537"/>
                  <a:pt x="1280775" y="2318165"/>
                  <a:pt x="1289054" y="2320925"/>
                </a:cubicBezTo>
                <a:cubicBezTo>
                  <a:pt x="1292229" y="2321983"/>
                  <a:pt x="1295318" y="2323347"/>
                  <a:pt x="1298579" y="2324100"/>
                </a:cubicBezTo>
                <a:cubicBezTo>
                  <a:pt x="1309096" y="2326527"/>
                  <a:pt x="1320090" y="2327037"/>
                  <a:pt x="1330329" y="2330450"/>
                </a:cubicBezTo>
                <a:cubicBezTo>
                  <a:pt x="1333504" y="2331508"/>
                  <a:pt x="1336625" y="2332744"/>
                  <a:pt x="1339854" y="2333625"/>
                </a:cubicBezTo>
                <a:cubicBezTo>
                  <a:pt x="1379243" y="2344368"/>
                  <a:pt x="1352855" y="2335842"/>
                  <a:pt x="1374779" y="2343150"/>
                </a:cubicBezTo>
                <a:cubicBezTo>
                  <a:pt x="1394887" y="2342092"/>
                  <a:pt x="1415051" y="2341798"/>
                  <a:pt x="1435104" y="2339975"/>
                </a:cubicBezTo>
                <a:cubicBezTo>
                  <a:pt x="1454114" y="2338247"/>
                  <a:pt x="1435157" y="2335631"/>
                  <a:pt x="1454154" y="2330450"/>
                </a:cubicBezTo>
                <a:cubicBezTo>
                  <a:pt x="1462386" y="2328205"/>
                  <a:pt x="1471087" y="2328333"/>
                  <a:pt x="1479554" y="2327275"/>
                </a:cubicBezTo>
                <a:cubicBezTo>
                  <a:pt x="1505535" y="2314285"/>
                  <a:pt x="1479016" y="2326396"/>
                  <a:pt x="1504954" y="2317750"/>
                </a:cubicBezTo>
                <a:cubicBezTo>
                  <a:pt x="1510361" y="2315948"/>
                  <a:pt x="1515422" y="2313202"/>
                  <a:pt x="1520829" y="2311400"/>
                </a:cubicBezTo>
                <a:cubicBezTo>
                  <a:pt x="1524969" y="2310020"/>
                  <a:pt x="1529358" y="2309508"/>
                  <a:pt x="1533529" y="2308225"/>
                </a:cubicBezTo>
                <a:cubicBezTo>
                  <a:pt x="1536846" y="2307204"/>
                  <a:pt x="1567147" y="2298476"/>
                  <a:pt x="1574804" y="2292350"/>
                </a:cubicBezTo>
                <a:cubicBezTo>
                  <a:pt x="1581816" y="2286740"/>
                  <a:pt x="1587504" y="2279650"/>
                  <a:pt x="1593854" y="2273300"/>
                </a:cubicBezTo>
                <a:cubicBezTo>
                  <a:pt x="1597029" y="2270125"/>
                  <a:pt x="1600888" y="2267511"/>
                  <a:pt x="1603379" y="2263775"/>
                </a:cubicBezTo>
                <a:cubicBezTo>
                  <a:pt x="1608065" y="2256747"/>
                  <a:pt x="1611920" y="2249614"/>
                  <a:pt x="1619254" y="2244725"/>
                </a:cubicBezTo>
                <a:cubicBezTo>
                  <a:pt x="1622039" y="2242869"/>
                  <a:pt x="1625786" y="2243047"/>
                  <a:pt x="1628779" y="2241550"/>
                </a:cubicBezTo>
                <a:cubicBezTo>
                  <a:pt x="1632192" y="2239843"/>
                  <a:pt x="1634623" y="2236204"/>
                  <a:pt x="1638304" y="2235200"/>
                </a:cubicBezTo>
                <a:cubicBezTo>
                  <a:pt x="1646536" y="2232955"/>
                  <a:pt x="1655257" y="2233232"/>
                  <a:pt x="1663704" y="2232025"/>
                </a:cubicBezTo>
                <a:cubicBezTo>
                  <a:pt x="1708160" y="2225674"/>
                  <a:pt x="1651054" y="2231288"/>
                  <a:pt x="1724029" y="2225675"/>
                </a:cubicBezTo>
                <a:cubicBezTo>
                  <a:pt x="1756837" y="2226733"/>
                  <a:pt x="1789679" y="2227029"/>
                  <a:pt x="1822454" y="2228850"/>
                </a:cubicBezTo>
                <a:cubicBezTo>
                  <a:pt x="1838861" y="2229762"/>
                  <a:pt x="1838658" y="2233592"/>
                  <a:pt x="1854204" y="2238375"/>
                </a:cubicBezTo>
                <a:cubicBezTo>
                  <a:pt x="1862545" y="2240942"/>
                  <a:pt x="1871184" y="2242429"/>
                  <a:pt x="1879604" y="2244725"/>
                </a:cubicBezTo>
                <a:cubicBezTo>
                  <a:pt x="1882833" y="2245606"/>
                  <a:pt x="1885847" y="2247244"/>
                  <a:pt x="1889129" y="2247900"/>
                </a:cubicBezTo>
                <a:cubicBezTo>
                  <a:pt x="1896467" y="2249368"/>
                  <a:pt x="1903946" y="2250017"/>
                  <a:pt x="1911354" y="2251075"/>
                </a:cubicBezTo>
                <a:cubicBezTo>
                  <a:pt x="1921937" y="2255308"/>
                  <a:pt x="1931927" y="2261540"/>
                  <a:pt x="1943104" y="2263775"/>
                </a:cubicBezTo>
                <a:cubicBezTo>
                  <a:pt x="1982318" y="2271618"/>
                  <a:pt x="1933345" y="2262001"/>
                  <a:pt x="1978029" y="2270125"/>
                </a:cubicBezTo>
                <a:cubicBezTo>
                  <a:pt x="1983338" y="2271090"/>
                  <a:pt x="1988612" y="2272242"/>
                  <a:pt x="1993904" y="2273300"/>
                </a:cubicBezTo>
                <a:cubicBezTo>
                  <a:pt x="2021421" y="2272242"/>
                  <a:pt x="2048978" y="2271957"/>
                  <a:pt x="2076454" y="2270125"/>
                </a:cubicBezTo>
                <a:cubicBezTo>
                  <a:pt x="2080808" y="2269835"/>
                  <a:pt x="2085251" y="2268901"/>
                  <a:pt x="2089154" y="2266950"/>
                </a:cubicBezTo>
                <a:cubicBezTo>
                  <a:pt x="2095980" y="2263537"/>
                  <a:pt x="2102808" y="2259646"/>
                  <a:pt x="2108204" y="2254250"/>
                </a:cubicBezTo>
                <a:lnTo>
                  <a:pt x="2120904" y="2241550"/>
                </a:lnTo>
                <a:cubicBezTo>
                  <a:pt x="2131124" y="2210889"/>
                  <a:pt x="2114736" y="2258559"/>
                  <a:pt x="2130429" y="2219325"/>
                </a:cubicBezTo>
                <a:cubicBezTo>
                  <a:pt x="2132915" y="2213110"/>
                  <a:pt x="2134662" y="2206625"/>
                  <a:pt x="2136779" y="2200275"/>
                </a:cubicBezTo>
                <a:lnTo>
                  <a:pt x="2143129" y="2181225"/>
                </a:lnTo>
                <a:lnTo>
                  <a:pt x="2149479" y="2162175"/>
                </a:lnTo>
                <a:cubicBezTo>
                  <a:pt x="2153117" y="2151261"/>
                  <a:pt x="2156278" y="2142238"/>
                  <a:pt x="2159004" y="2130425"/>
                </a:cubicBezTo>
                <a:cubicBezTo>
                  <a:pt x="2160452" y="2124152"/>
                  <a:pt x="2161121" y="2117725"/>
                  <a:pt x="2162179" y="2111375"/>
                </a:cubicBezTo>
                <a:cubicBezTo>
                  <a:pt x="2163237" y="2095500"/>
                  <a:pt x="2163597" y="2079563"/>
                  <a:pt x="2165354" y="2063750"/>
                </a:cubicBezTo>
                <a:cubicBezTo>
                  <a:pt x="2165724" y="2060424"/>
                  <a:pt x="2168529" y="2057572"/>
                  <a:pt x="2168529" y="2054225"/>
                </a:cubicBezTo>
                <a:cubicBezTo>
                  <a:pt x="2168529" y="1905132"/>
                  <a:pt x="2169494" y="1964489"/>
                  <a:pt x="2159004" y="1870075"/>
                </a:cubicBezTo>
                <a:cubicBezTo>
                  <a:pt x="2155691" y="1840257"/>
                  <a:pt x="2159478" y="1843823"/>
                  <a:pt x="2152654" y="1825625"/>
                </a:cubicBezTo>
                <a:cubicBezTo>
                  <a:pt x="2150653" y="1820289"/>
                  <a:pt x="2149325" y="1814583"/>
                  <a:pt x="2146304" y="1809750"/>
                </a:cubicBezTo>
                <a:cubicBezTo>
                  <a:pt x="2143924" y="1805942"/>
                  <a:pt x="2139654" y="1803674"/>
                  <a:pt x="2136779" y="1800225"/>
                </a:cubicBezTo>
                <a:cubicBezTo>
                  <a:pt x="2134336" y="1797294"/>
                  <a:pt x="2132673" y="1793786"/>
                  <a:pt x="2130429" y="1790700"/>
                </a:cubicBezTo>
                <a:cubicBezTo>
                  <a:pt x="2124204" y="1782141"/>
                  <a:pt x="2116112" y="1774766"/>
                  <a:pt x="2111379" y="1765300"/>
                </a:cubicBezTo>
                <a:cubicBezTo>
                  <a:pt x="2100237" y="1743017"/>
                  <a:pt x="2111050" y="1761296"/>
                  <a:pt x="2092329" y="1739900"/>
                </a:cubicBezTo>
                <a:cubicBezTo>
                  <a:pt x="2088844" y="1735918"/>
                  <a:pt x="2086546" y="1730942"/>
                  <a:pt x="2082804" y="1727200"/>
                </a:cubicBezTo>
                <a:cubicBezTo>
                  <a:pt x="2080106" y="1724502"/>
                  <a:pt x="2076210" y="1723293"/>
                  <a:pt x="2073279" y="1720850"/>
                </a:cubicBezTo>
                <a:cubicBezTo>
                  <a:pt x="2069830" y="1717975"/>
                  <a:pt x="2067408" y="1713935"/>
                  <a:pt x="2063754" y="1711325"/>
                </a:cubicBezTo>
                <a:cubicBezTo>
                  <a:pt x="2056888" y="1706421"/>
                  <a:pt x="2049302" y="1704391"/>
                  <a:pt x="2041529" y="1701800"/>
                </a:cubicBezTo>
                <a:cubicBezTo>
                  <a:pt x="2038354" y="1698625"/>
                  <a:pt x="2035453" y="1695150"/>
                  <a:pt x="2032004" y="1692275"/>
                </a:cubicBezTo>
                <a:cubicBezTo>
                  <a:pt x="2029073" y="1689832"/>
                  <a:pt x="2022479" y="1685925"/>
                  <a:pt x="2022479" y="1685925"/>
                </a:cubicBezTo>
                <a:lnTo>
                  <a:pt x="1704979" y="1438275"/>
                </a:lnTo>
                <a:lnTo>
                  <a:pt x="1597029" y="1349375"/>
                </a:lnTo>
                <a:lnTo>
                  <a:pt x="1381129" y="1171575"/>
                </a:lnTo>
                <a:lnTo>
                  <a:pt x="1006479" y="841375"/>
                </a:lnTo>
                <a:lnTo>
                  <a:pt x="936629" y="739775"/>
                </a:lnTo>
                <a:lnTo>
                  <a:pt x="917579" y="685800"/>
                </a:lnTo>
                <a:lnTo>
                  <a:pt x="930279" y="523875"/>
                </a:lnTo>
                <a:lnTo>
                  <a:pt x="904879" y="168275"/>
                </a:lnTo>
                <a:lnTo>
                  <a:pt x="863604" y="104775"/>
                </a:lnTo>
                <a:lnTo>
                  <a:pt x="819154" y="92075"/>
                </a:lnTo>
                <a:lnTo>
                  <a:pt x="765179" y="107950"/>
                </a:lnTo>
                <a:lnTo>
                  <a:pt x="727079" y="98425"/>
                </a:lnTo>
                <a:lnTo>
                  <a:pt x="685804" y="12700"/>
                </a:lnTo>
                <a:lnTo>
                  <a:pt x="666754" y="0"/>
                </a:lnTo>
                <a:lnTo>
                  <a:pt x="609604" y="9525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0086975" y="6016162"/>
            <a:ext cx="851319" cy="403688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666568" y="1228725"/>
            <a:ext cx="1629832" cy="381000"/>
          </a:xfrm>
          <a:prstGeom prst="round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9" name="Прямоугольник: скругленные углы 298">
            <a:extLst>
              <a:ext uri="{FF2B5EF4-FFF2-40B4-BE49-F238E27FC236}">
                <a16:creationId xmlns:a16="http://schemas.microsoft.com/office/drawing/2014/main" id="{2C5734D3-132F-451B-A5CA-186B27316E24}"/>
              </a:ext>
            </a:extLst>
          </p:cNvPr>
          <p:cNvSpPr/>
          <p:nvPr/>
        </p:nvSpPr>
        <p:spPr>
          <a:xfrm>
            <a:off x="4298343" y="1978939"/>
            <a:ext cx="4339126" cy="545185"/>
          </a:xfrm>
          <a:prstGeom prst="roundRect">
            <a:avLst>
              <a:gd name="adj" fmla="val 22361"/>
            </a:avLst>
          </a:prstGeom>
          <a:noFill/>
          <a:ln w="19050">
            <a:solidFill>
              <a:srgbClr val="0A2E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</a:t>
            </a:r>
            <a:r>
              <a:rPr lang="ru-RU" sz="12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асы сосредоточены в 3-х крупных месторождениях </a:t>
            </a:r>
            <a:r>
              <a:rPr lang="ru-RU" sz="1200" b="1" dirty="0" err="1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чаганак</a:t>
            </a:r>
            <a:r>
              <a:rPr lang="ru-RU" sz="1200" b="1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енгиз, </a:t>
            </a:r>
            <a:r>
              <a:rPr lang="ru-RU" sz="1200" b="1" dirty="0" err="1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r>
              <a:rPr lang="ru-RU" sz="1200" b="1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rgbClr val="2D4B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10" name="Таблица 309">
            <a:extLst>
              <a:ext uri="{FF2B5EF4-FFF2-40B4-BE49-F238E27FC236}">
                <a16:creationId xmlns:a16="http://schemas.microsoft.com/office/drawing/2014/main" id="{C99E8D13-02DE-4C6C-8A9B-2834C95548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6139798"/>
              </p:ext>
            </p:extLst>
          </p:nvPr>
        </p:nvGraphicFramePr>
        <p:xfrm>
          <a:off x="8698802" y="1064181"/>
          <a:ext cx="3242451" cy="33880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4671">
                  <a:extLst>
                    <a:ext uri="{9D8B030D-6E8A-4147-A177-3AD203B41FA5}">
                      <a16:colId xmlns:a16="http://schemas.microsoft.com/office/drawing/2014/main" val="46743712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392564817"/>
                    </a:ext>
                  </a:extLst>
                </a:gridCol>
                <a:gridCol w="761363">
                  <a:extLst>
                    <a:ext uri="{9D8B030D-6E8A-4147-A177-3AD203B41FA5}">
                      <a16:colId xmlns:a16="http://schemas.microsoft.com/office/drawing/2014/main" val="1072677559"/>
                    </a:ext>
                  </a:extLst>
                </a:gridCol>
                <a:gridCol w="557398">
                  <a:extLst>
                    <a:ext uri="{9D8B030D-6E8A-4147-A177-3AD203B41FA5}">
                      <a16:colId xmlns:a16="http://schemas.microsoft.com/office/drawing/2014/main" val="1582730572"/>
                    </a:ext>
                  </a:extLst>
                </a:gridCol>
              </a:tblGrid>
              <a:tr h="2867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39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39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</a:pPr>
                      <a:r>
                        <a:rPr lang="ru-RU" sz="900" b="1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щность, млрд.м</a:t>
                      </a:r>
                      <a:r>
                        <a:rPr lang="ru-RU" sz="900" b="1" u="none" strike="noStrike" baseline="300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900" b="1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год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39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</a:pPr>
                      <a:r>
                        <a:rPr lang="ru-RU" sz="900" b="1" i="0" u="none" strike="noStrike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грузка,</a:t>
                      </a:r>
                      <a:r>
                        <a:rPr lang="ru-RU" sz="900" b="1" i="0" u="none" strike="noStrike" baseline="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39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747404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Тенгиз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3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7929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ГПЗ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Жанажол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8,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44986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НиГ</a:t>
                      </a:r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Болашак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6,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364191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ГПЗ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Чинаревский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4,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850746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КазГПЗ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,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354176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ГПЗ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Шагырлы</a:t>
                      </a:r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,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890773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Амангельды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7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243608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ПГ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Акшабулак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2383730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ПГ Тарбагатай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595860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Кожасай</a:t>
                      </a:r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en-US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GPC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4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585581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ГПЗ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Алибекмола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4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719059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ГПЗ </a:t>
                      </a:r>
                      <a:r>
                        <a:rPr lang="ru-RU" sz="900" b="1" i="0" u="none" strike="noStrike" dirty="0" err="1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Боранколь</a:t>
                      </a:r>
                      <a:endParaRPr lang="ru-RU" sz="900" b="1" i="0" u="none" strike="noStrike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3952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Северный Нуржанов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304770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Каракудук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438469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ПГ Арыстановское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5864966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Восточный Макат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181094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ППГ ЭмирОйл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28546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КПГ Балгинбаев С.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55450"/>
                  </a:ext>
                </a:extLst>
              </a:tr>
              <a:tr h="13390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 smtClean="0">
                          <a:solidFill>
                            <a:srgbClr val="2D4B70"/>
                          </a:solidFill>
                          <a:effectLst>
                            <a:glow rad="63500">
                              <a:schemeClr val="bg1">
                                <a:alpha val="91000"/>
                              </a:schemeClr>
                            </a:glo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ru-RU" sz="900" b="1" u="none" strike="noStrike" kern="1200" dirty="0">
                        <a:solidFill>
                          <a:srgbClr val="2D4B70"/>
                        </a:solidFill>
                        <a:effectLst>
                          <a:glow rad="63500">
                            <a:schemeClr val="bg1">
                              <a:alpha val="91000"/>
                            </a:schemeClr>
                          </a:glo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739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900" b="1" i="0" u="none" strike="noStrike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УПГ Кульжан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0,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275222"/>
                  </a:ext>
                </a:extLst>
              </a:tr>
              <a:tr h="17674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ая мощно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,2 млрд.м</a:t>
                      </a:r>
                      <a:r>
                        <a:rPr lang="ru-RU" sz="1000" b="1" i="0" u="none" strike="noStrike" kern="1200" baseline="300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ru-RU" sz="1000" b="1" i="0" u="none" strike="noStrike" kern="1200" baseline="300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  <a:r>
                        <a:rPr lang="en-US" sz="1000" b="1" i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%</a:t>
                      </a:r>
                      <a:endParaRPr lang="ru-RU" sz="1000" b="1" i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186523"/>
                  </a:ext>
                </a:extLst>
              </a:tr>
            </a:tbl>
          </a:graphicData>
        </a:graphic>
      </p:graphicFrame>
      <p:sp>
        <p:nvSpPr>
          <p:cNvPr id="311" name="Полилиния 265">
            <a:extLst>
              <a:ext uri="{FF2B5EF4-FFF2-40B4-BE49-F238E27FC236}">
                <a16:creationId xmlns:a16="http://schemas.microsoft.com/office/drawing/2014/main" id="{F4F81222-1F9D-4FCC-BEF8-0B5D9CE0A7F3}"/>
              </a:ext>
            </a:extLst>
          </p:cNvPr>
          <p:cNvSpPr/>
          <p:nvPr/>
        </p:nvSpPr>
        <p:spPr>
          <a:xfrm>
            <a:off x="2767152" y="1427129"/>
            <a:ext cx="463980" cy="217950"/>
          </a:xfrm>
          <a:custGeom>
            <a:avLst/>
            <a:gdLst>
              <a:gd name="connsiteX0" fmla="*/ 38100 w 1016000"/>
              <a:gd name="connsiteY0" fmla="*/ 184150 h 596900"/>
              <a:gd name="connsiteX1" fmla="*/ 38100 w 1016000"/>
              <a:gd name="connsiteY1" fmla="*/ 184150 h 596900"/>
              <a:gd name="connsiteX2" fmla="*/ 31750 w 1016000"/>
              <a:gd name="connsiteY2" fmla="*/ 260350 h 596900"/>
              <a:gd name="connsiteX3" fmla="*/ 19050 w 1016000"/>
              <a:gd name="connsiteY3" fmla="*/ 279400 h 596900"/>
              <a:gd name="connsiteX4" fmla="*/ 0 w 1016000"/>
              <a:gd name="connsiteY4" fmla="*/ 292100 h 596900"/>
              <a:gd name="connsiteX5" fmla="*/ 50800 w 1016000"/>
              <a:gd name="connsiteY5" fmla="*/ 381000 h 596900"/>
              <a:gd name="connsiteX6" fmla="*/ 165100 w 1016000"/>
              <a:gd name="connsiteY6" fmla="*/ 431800 h 596900"/>
              <a:gd name="connsiteX7" fmla="*/ 247650 w 1016000"/>
              <a:gd name="connsiteY7" fmla="*/ 508000 h 596900"/>
              <a:gd name="connsiteX8" fmla="*/ 349250 w 1016000"/>
              <a:gd name="connsiteY8" fmla="*/ 520700 h 596900"/>
              <a:gd name="connsiteX9" fmla="*/ 419100 w 1016000"/>
              <a:gd name="connsiteY9" fmla="*/ 596900 h 596900"/>
              <a:gd name="connsiteX10" fmla="*/ 596900 w 1016000"/>
              <a:gd name="connsiteY10" fmla="*/ 590550 h 596900"/>
              <a:gd name="connsiteX11" fmla="*/ 971550 w 1016000"/>
              <a:gd name="connsiteY11" fmla="*/ 520700 h 596900"/>
              <a:gd name="connsiteX12" fmla="*/ 850900 w 1016000"/>
              <a:gd name="connsiteY12" fmla="*/ 311150 h 596900"/>
              <a:gd name="connsiteX13" fmla="*/ 1016000 w 1016000"/>
              <a:gd name="connsiteY13" fmla="*/ 69850 h 596900"/>
              <a:gd name="connsiteX14" fmla="*/ 838200 w 1016000"/>
              <a:gd name="connsiteY14" fmla="*/ 0 h 596900"/>
              <a:gd name="connsiteX15" fmla="*/ 730250 w 1016000"/>
              <a:gd name="connsiteY15" fmla="*/ 38100 h 596900"/>
              <a:gd name="connsiteX16" fmla="*/ 635000 w 1016000"/>
              <a:gd name="connsiteY16" fmla="*/ 0 h 596900"/>
              <a:gd name="connsiteX17" fmla="*/ 463550 w 1016000"/>
              <a:gd name="connsiteY17" fmla="*/ 76200 h 596900"/>
              <a:gd name="connsiteX18" fmla="*/ 349250 w 1016000"/>
              <a:gd name="connsiteY18" fmla="*/ 177800 h 596900"/>
              <a:gd name="connsiteX19" fmla="*/ 38100 w 1016000"/>
              <a:gd name="connsiteY19" fmla="*/ 184150 h 596900"/>
              <a:gd name="connsiteX0" fmla="*/ 38100 w 1016000"/>
              <a:gd name="connsiteY0" fmla="*/ 184150 h 596900"/>
              <a:gd name="connsiteX1" fmla="*/ 38100 w 1016000"/>
              <a:gd name="connsiteY1" fmla="*/ 184150 h 596900"/>
              <a:gd name="connsiteX2" fmla="*/ 19050 w 1016000"/>
              <a:gd name="connsiteY2" fmla="*/ 279400 h 596900"/>
              <a:gd name="connsiteX3" fmla="*/ 0 w 1016000"/>
              <a:gd name="connsiteY3" fmla="*/ 292100 h 596900"/>
              <a:gd name="connsiteX4" fmla="*/ 50800 w 1016000"/>
              <a:gd name="connsiteY4" fmla="*/ 381000 h 596900"/>
              <a:gd name="connsiteX5" fmla="*/ 165100 w 1016000"/>
              <a:gd name="connsiteY5" fmla="*/ 431800 h 596900"/>
              <a:gd name="connsiteX6" fmla="*/ 247650 w 1016000"/>
              <a:gd name="connsiteY6" fmla="*/ 508000 h 596900"/>
              <a:gd name="connsiteX7" fmla="*/ 349250 w 1016000"/>
              <a:gd name="connsiteY7" fmla="*/ 520700 h 596900"/>
              <a:gd name="connsiteX8" fmla="*/ 419100 w 1016000"/>
              <a:gd name="connsiteY8" fmla="*/ 596900 h 596900"/>
              <a:gd name="connsiteX9" fmla="*/ 596900 w 1016000"/>
              <a:gd name="connsiteY9" fmla="*/ 590550 h 596900"/>
              <a:gd name="connsiteX10" fmla="*/ 971550 w 1016000"/>
              <a:gd name="connsiteY10" fmla="*/ 520700 h 596900"/>
              <a:gd name="connsiteX11" fmla="*/ 850900 w 1016000"/>
              <a:gd name="connsiteY11" fmla="*/ 311150 h 596900"/>
              <a:gd name="connsiteX12" fmla="*/ 1016000 w 1016000"/>
              <a:gd name="connsiteY12" fmla="*/ 69850 h 596900"/>
              <a:gd name="connsiteX13" fmla="*/ 838200 w 1016000"/>
              <a:gd name="connsiteY13" fmla="*/ 0 h 596900"/>
              <a:gd name="connsiteX14" fmla="*/ 730250 w 1016000"/>
              <a:gd name="connsiteY14" fmla="*/ 38100 h 596900"/>
              <a:gd name="connsiteX15" fmla="*/ 635000 w 1016000"/>
              <a:gd name="connsiteY15" fmla="*/ 0 h 596900"/>
              <a:gd name="connsiteX16" fmla="*/ 463550 w 1016000"/>
              <a:gd name="connsiteY16" fmla="*/ 76200 h 596900"/>
              <a:gd name="connsiteX17" fmla="*/ 349250 w 1016000"/>
              <a:gd name="connsiteY17" fmla="*/ 177800 h 596900"/>
              <a:gd name="connsiteX18" fmla="*/ 38100 w 1016000"/>
              <a:gd name="connsiteY18" fmla="*/ 184150 h 596900"/>
              <a:gd name="connsiteX0" fmla="*/ 38195 w 1016095"/>
              <a:gd name="connsiteY0" fmla="*/ 184150 h 596900"/>
              <a:gd name="connsiteX1" fmla="*/ 38195 w 1016095"/>
              <a:gd name="connsiteY1" fmla="*/ 184150 h 596900"/>
              <a:gd name="connsiteX2" fmla="*/ 95 w 1016095"/>
              <a:gd name="connsiteY2" fmla="*/ 292100 h 596900"/>
              <a:gd name="connsiteX3" fmla="*/ 50895 w 1016095"/>
              <a:gd name="connsiteY3" fmla="*/ 381000 h 596900"/>
              <a:gd name="connsiteX4" fmla="*/ 165195 w 1016095"/>
              <a:gd name="connsiteY4" fmla="*/ 431800 h 596900"/>
              <a:gd name="connsiteX5" fmla="*/ 247745 w 1016095"/>
              <a:gd name="connsiteY5" fmla="*/ 508000 h 596900"/>
              <a:gd name="connsiteX6" fmla="*/ 349345 w 1016095"/>
              <a:gd name="connsiteY6" fmla="*/ 520700 h 596900"/>
              <a:gd name="connsiteX7" fmla="*/ 419195 w 1016095"/>
              <a:gd name="connsiteY7" fmla="*/ 596900 h 596900"/>
              <a:gd name="connsiteX8" fmla="*/ 596995 w 1016095"/>
              <a:gd name="connsiteY8" fmla="*/ 590550 h 596900"/>
              <a:gd name="connsiteX9" fmla="*/ 971645 w 1016095"/>
              <a:gd name="connsiteY9" fmla="*/ 520700 h 596900"/>
              <a:gd name="connsiteX10" fmla="*/ 850995 w 1016095"/>
              <a:gd name="connsiteY10" fmla="*/ 311150 h 596900"/>
              <a:gd name="connsiteX11" fmla="*/ 1016095 w 1016095"/>
              <a:gd name="connsiteY11" fmla="*/ 69850 h 596900"/>
              <a:gd name="connsiteX12" fmla="*/ 838295 w 1016095"/>
              <a:gd name="connsiteY12" fmla="*/ 0 h 596900"/>
              <a:gd name="connsiteX13" fmla="*/ 730345 w 1016095"/>
              <a:gd name="connsiteY13" fmla="*/ 38100 h 596900"/>
              <a:gd name="connsiteX14" fmla="*/ 635095 w 1016095"/>
              <a:gd name="connsiteY14" fmla="*/ 0 h 596900"/>
              <a:gd name="connsiteX15" fmla="*/ 463645 w 1016095"/>
              <a:gd name="connsiteY15" fmla="*/ 76200 h 596900"/>
              <a:gd name="connsiteX16" fmla="*/ 349345 w 1016095"/>
              <a:gd name="connsiteY16" fmla="*/ 177800 h 596900"/>
              <a:gd name="connsiteX17" fmla="*/ 38195 w 1016095"/>
              <a:gd name="connsiteY17" fmla="*/ 18415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16095" h="596900">
                <a:moveTo>
                  <a:pt x="38195" y="184150"/>
                </a:moveTo>
                <a:lnTo>
                  <a:pt x="38195" y="184150"/>
                </a:lnTo>
                <a:cubicBezTo>
                  <a:pt x="31845" y="202142"/>
                  <a:pt x="-2022" y="259292"/>
                  <a:pt x="95" y="292100"/>
                </a:cubicBezTo>
                <a:cubicBezTo>
                  <a:pt x="2212" y="324908"/>
                  <a:pt x="33962" y="351367"/>
                  <a:pt x="50895" y="381000"/>
                </a:cubicBezTo>
                <a:lnTo>
                  <a:pt x="165195" y="431800"/>
                </a:lnTo>
                <a:lnTo>
                  <a:pt x="247745" y="508000"/>
                </a:lnTo>
                <a:lnTo>
                  <a:pt x="349345" y="520700"/>
                </a:lnTo>
                <a:lnTo>
                  <a:pt x="419195" y="596900"/>
                </a:lnTo>
                <a:lnTo>
                  <a:pt x="596995" y="590550"/>
                </a:lnTo>
                <a:lnTo>
                  <a:pt x="971645" y="520700"/>
                </a:lnTo>
                <a:lnTo>
                  <a:pt x="850995" y="311150"/>
                </a:lnTo>
                <a:lnTo>
                  <a:pt x="1016095" y="69850"/>
                </a:lnTo>
                <a:lnTo>
                  <a:pt x="838295" y="0"/>
                </a:lnTo>
                <a:lnTo>
                  <a:pt x="730345" y="38100"/>
                </a:lnTo>
                <a:lnTo>
                  <a:pt x="635095" y="0"/>
                </a:lnTo>
                <a:lnTo>
                  <a:pt x="463645" y="76200"/>
                </a:lnTo>
                <a:lnTo>
                  <a:pt x="349345" y="177800"/>
                </a:lnTo>
                <a:lnTo>
                  <a:pt x="38195" y="184150"/>
                </a:lnTo>
                <a:close/>
              </a:path>
            </a:pathLst>
          </a:custGeom>
          <a:solidFill>
            <a:srgbClr val="2D4B7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schemeClr val="tx1"/>
              </a:solidFill>
            </a:endParaRPr>
          </a:p>
        </p:txBody>
      </p:sp>
      <p:sp>
        <p:nvSpPr>
          <p:cNvPr id="312" name="Овал 311">
            <a:extLst>
              <a:ext uri="{FF2B5EF4-FFF2-40B4-BE49-F238E27FC236}">
                <a16:creationId xmlns:a16="http://schemas.microsoft.com/office/drawing/2014/main" id="{149D7BE0-79D5-4463-9AA1-089A64F18AD0}"/>
              </a:ext>
            </a:extLst>
          </p:cNvPr>
          <p:cNvSpPr/>
          <p:nvPr/>
        </p:nvSpPr>
        <p:spPr>
          <a:xfrm>
            <a:off x="2059865" y="1246370"/>
            <a:ext cx="127259" cy="12725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B3B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60EF3F35-898B-420F-9678-4F6B91E6A8BA}"/>
              </a:ext>
            </a:extLst>
          </p:cNvPr>
          <p:cNvSpPr txBox="1"/>
          <p:nvPr/>
        </p:nvSpPr>
        <p:spPr>
          <a:xfrm>
            <a:off x="1501269" y="1077093"/>
            <a:ext cx="6748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УРАЛЬСК</a:t>
            </a:r>
            <a:endParaRPr lang="ru-RU" sz="700" dirty="0"/>
          </a:p>
        </p:txBody>
      </p:sp>
      <p:grpSp>
        <p:nvGrpSpPr>
          <p:cNvPr id="314" name="Группа 313">
            <a:extLst>
              <a:ext uri="{FF2B5EF4-FFF2-40B4-BE49-F238E27FC236}">
                <a16:creationId xmlns:a16="http://schemas.microsoft.com/office/drawing/2014/main" id="{79292B78-9977-4C52-A0F2-CF47F5D7FC99}"/>
              </a:ext>
            </a:extLst>
          </p:cNvPr>
          <p:cNvGrpSpPr/>
          <p:nvPr/>
        </p:nvGrpSpPr>
        <p:grpSpPr>
          <a:xfrm>
            <a:off x="2386390" y="980898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15" name="Полилиния 410">
              <a:extLst>
                <a:ext uri="{FF2B5EF4-FFF2-40B4-BE49-F238E27FC236}">
                  <a16:creationId xmlns:a16="http://schemas.microsoft.com/office/drawing/2014/main" id="{88627C9C-4AC3-4889-967D-7854E3769D8F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16" name="Прямоугольник 315">
              <a:extLst>
                <a:ext uri="{FF2B5EF4-FFF2-40B4-BE49-F238E27FC236}">
                  <a16:creationId xmlns:a16="http://schemas.microsoft.com/office/drawing/2014/main" id="{71DD14D6-ECBA-497C-8525-4335B842C83F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17" name="Прямоугольник 316">
              <a:extLst>
                <a:ext uri="{FF2B5EF4-FFF2-40B4-BE49-F238E27FC236}">
                  <a16:creationId xmlns:a16="http://schemas.microsoft.com/office/drawing/2014/main" id="{58B10F32-F0EF-4D38-9559-A7DD34AF348E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18" name="Прямоугольник 317">
              <a:extLst>
                <a:ext uri="{FF2B5EF4-FFF2-40B4-BE49-F238E27FC236}">
                  <a16:creationId xmlns:a16="http://schemas.microsoft.com/office/drawing/2014/main" id="{9D45486F-E395-49C6-9DF4-3CE7507FFC58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19" name="Прямоугольник 318">
              <a:extLst>
                <a:ext uri="{FF2B5EF4-FFF2-40B4-BE49-F238E27FC236}">
                  <a16:creationId xmlns:a16="http://schemas.microsoft.com/office/drawing/2014/main" id="{86E6FF53-DB29-4745-8D64-FDEE0E92D5D9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0" name="Прямоугольник 319">
              <a:extLst>
                <a:ext uri="{FF2B5EF4-FFF2-40B4-BE49-F238E27FC236}">
                  <a16:creationId xmlns:a16="http://schemas.microsoft.com/office/drawing/2014/main" id="{A7CF115A-826B-429F-BE6C-28C043360645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1" name="Полилиния 416">
              <a:extLst>
                <a:ext uri="{FF2B5EF4-FFF2-40B4-BE49-F238E27FC236}">
                  <a16:creationId xmlns:a16="http://schemas.microsoft.com/office/drawing/2014/main" id="{948770B1-C663-430C-A741-6B7D123B1F41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2" name="Прямоугольник 321">
              <a:extLst>
                <a:ext uri="{FF2B5EF4-FFF2-40B4-BE49-F238E27FC236}">
                  <a16:creationId xmlns:a16="http://schemas.microsoft.com/office/drawing/2014/main" id="{5670B879-18E3-4702-BD48-0CA3023A0A79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3" name="Прямоугольник 322">
              <a:extLst>
                <a:ext uri="{FF2B5EF4-FFF2-40B4-BE49-F238E27FC236}">
                  <a16:creationId xmlns:a16="http://schemas.microsoft.com/office/drawing/2014/main" id="{C5FC91D6-27AE-48DD-96DB-C5417382846A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324" name="Группа 323">
            <a:extLst>
              <a:ext uri="{FF2B5EF4-FFF2-40B4-BE49-F238E27FC236}">
                <a16:creationId xmlns:a16="http://schemas.microsoft.com/office/drawing/2014/main" id="{B2611062-F06F-402C-B554-A1EA891833E5}"/>
              </a:ext>
            </a:extLst>
          </p:cNvPr>
          <p:cNvGrpSpPr/>
          <p:nvPr/>
        </p:nvGrpSpPr>
        <p:grpSpPr>
          <a:xfrm>
            <a:off x="2826583" y="1314278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25" name="Полилиния 410">
              <a:extLst>
                <a:ext uri="{FF2B5EF4-FFF2-40B4-BE49-F238E27FC236}">
                  <a16:creationId xmlns:a16="http://schemas.microsoft.com/office/drawing/2014/main" id="{5C268755-D54A-4931-9F20-5CFF4770524B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26" name="Прямоугольник 325">
              <a:extLst>
                <a:ext uri="{FF2B5EF4-FFF2-40B4-BE49-F238E27FC236}">
                  <a16:creationId xmlns:a16="http://schemas.microsoft.com/office/drawing/2014/main" id="{18734A98-5E6A-4EDF-8FF7-DAB808E7075B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7" name="Прямоугольник 326">
              <a:extLst>
                <a:ext uri="{FF2B5EF4-FFF2-40B4-BE49-F238E27FC236}">
                  <a16:creationId xmlns:a16="http://schemas.microsoft.com/office/drawing/2014/main" id="{8A00FA78-5A50-4327-B442-C874C7AFCFE8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8" name="Прямоугольник 327">
              <a:extLst>
                <a:ext uri="{FF2B5EF4-FFF2-40B4-BE49-F238E27FC236}">
                  <a16:creationId xmlns:a16="http://schemas.microsoft.com/office/drawing/2014/main" id="{E3A600D8-3912-42E6-AE7F-740E6196B781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29" name="Прямоугольник 328">
              <a:extLst>
                <a:ext uri="{FF2B5EF4-FFF2-40B4-BE49-F238E27FC236}">
                  <a16:creationId xmlns:a16="http://schemas.microsoft.com/office/drawing/2014/main" id="{1303DFAE-6248-41F5-A78A-C53A2906C18F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30" name="Прямоугольник 329">
              <a:extLst>
                <a:ext uri="{FF2B5EF4-FFF2-40B4-BE49-F238E27FC236}">
                  <a16:creationId xmlns:a16="http://schemas.microsoft.com/office/drawing/2014/main" id="{F7D78869-D7C4-42AD-A38A-FD19093C938C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31" name="Полилиния 416">
              <a:extLst>
                <a:ext uri="{FF2B5EF4-FFF2-40B4-BE49-F238E27FC236}">
                  <a16:creationId xmlns:a16="http://schemas.microsoft.com/office/drawing/2014/main" id="{5C679155-C389-4158-9477-32770982F9D2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32" name="Прямоугольник 331">
              <a:extLst>
                <a:ext uri="{FF2B5EF4-FFF2-40B4-BE49-F238E27FC236}">
                  <a16:creationId xmlns:a16="http://schemas.microsoft.com/office/drawing/2014/main" id="{570F9EBF-AB1E-4AE6-B30B-E429C77E9940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33" name="Прямоугольник 332">
              <a:extLst>
                <a:ext uri="{FF2B5EF4-FFF2-40B4-BE49-F238E27FC236}">
                  <a16:creationId xmlns:a16="http://schemas.microsoft.com/office/drawing/2014/main" id="{4CCEFC7E-46FB-4260-9F98-2130A4C58920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334" name="Овал 333">
            <a:extLst>
              <a:ext uri="{FF2B5EF4-FFF2-40B4-BE49-F238E27FC236}">
                <a16:creationId xmlns:a16="http://schemas.microsoft.com/office/drawing/2014/main" id="{0E017DE9-948F-4ABF-89BA-ACCDB267BD06}"/>
              </a:ext>
            </a:extLst>
          </p:cNvPr>
          <p:cNvSpPr/>
          <p:nvPr/>
        </p:nvSpPr>
        <p:spPr>
          <a:xfrm>
            <a:off x="4121475" y="1798501"/>
            <a:ext cx="127259" cy="12725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B3B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FE19CC1F-6EB3-4C5D-B86D-A8084AAEAAD2}"/>
              </a:ext>
            </a:extLst>
          </p:cNvPr>
          <p:cNvSpPr txBox="1"/>
          <p:nvPr/>
        </p:nvSpPr>
        <p:spPr>
          <a:xfrm>
            <a:off x="3521127" y="1698849"/>
            <a:ext cx="58028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АКТОБЕ</a:t>
            </a:r>
            <a:endParaRPr lang="ru-RU" sz="700" dirty="0"/>
          </a:p>
        </p:txBody>
      </p:sp>
      <p:grpSp>
        <p:nvGrpSpPr>
          <p:cNvPr id="336" name="Группа 335">
            <a:extLst>
              <a:ext uri="{FF2B5EF4-FFF2-40B4-BE49-F238E27FC236}">
                <a16:creationId xmlns:a16="http://schemas.microsoft.com/office/drawing/2014/main" id="{DFB28EFA-58FA-40FA-A5FF-994C247E335E}"/>
              </a:ext>
            </a:extLst>
          </p:cNvPr>
          <p:cNvGrpSpPr/>
          <p:nvPr/>
        </p:nvGrpSpPr>
        <p:grpSpPr>
          <a:xfrm>
            <a:off x="4265457" y="2511604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37" name="Полилиния 410">
              <a:extLst>
                <a:ext uri="{FF2B5EF4-FFF2-40B4-BE49-F238E27FC236}">
                  <a16:creationId xmlns:a16="http://schemas.microsoft.com/office/drawing/2014/main" id="{5784D2CE-6B8B-4172-B4EC-D9681A377120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38" name="Прямоугольник 337">
              <a:extLst>
                <a:ext uri="{FF2B5EF4-FFF2-40B4-BE49-F238E27FC236}">
                  <a16:creationId xmlns:a16="http://schemas.microsoft.com/office/drawing/2014/main" id="{56FEE719-377B-4B8D-8F8B-1F42525A3F2F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39" name="Прямоугольник 338">
              <a:extLst>
                <a:ext uri="{FF2B5EF4-FFF2-40B4-BE49-F238E27FC236}">
                  <a16:creationId xmlns:a16="http://schemas.microsoft.com/office/drawing/2014/main" id="{737794E2-518D-4072-8F54-B72BF341E73F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0" name="Прямоугольник 339">
              <a:extLst>
                <a:ext uri="{FF2B5EF4-FFF2-40B4-BE49-F238E27FC236}">
                  <a16:creationId xmlns:a16="http://schemas.microsoft.com/office/drawing/2014/main" id="{BDB1B745-27C0-4639-862E-B1399FAD6867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1" name="Прямоугольник 340">
              <a:extLst>
                <a:ext uri="{FF2B5EF4-FFF2-40B4-BE49-F238E27FC236}">
                  <a16:creationId xmlns:a16="http://schemas.microsoft.com/office/drawing/2014/main" id="{A4FC3B92-FD00-48EA-BC0C-6DEC1EC65F27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2" name="Прямоугольник 341">
              <a:extLst>
                <a:ext uri="{FF2B5EF4-FFF2-40B4-BE49-F238E27FC236}">
                  <a16:creationId xmlns:a16="http://schemas.microsoft.com/office/drawing/2014/main" id="{BA663AC3-C83C-4F76-B11D-384032EA4E8B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3" name="Полилиния 416">
              <a:extLst>
                <a:ext uri="{FF2B5EF4-FFF2-40B4-BE49-F238E27FC236}">
                  <a16:creationId xmlns:a16="http://schemas.microsoft.com/office/drawing/2014/main" id="{FF017B49-123C-458A-9715-822CC3D81739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4" name="Прямоугольник 343">
              <a:extLst>
                <a:ext uri="{FF2B5EF4-FFF2-40B4-BE49-F238E27FC236}">
                  <a16:creationId xmlns:a16="http://schemas.microsoft.com/office/drawing/2014/main" id="{78455588-A170-4B50-84E4-57AD8562FAB5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5" name="Прямоугольник 344">
              <a:extLst>
                <a:ext uri="{FF2B5EF4-FFF2-40B4-BE49-F238E27FC236}">
                  <a16:creationId xmlns:a16="http://schemas.microsoft.com/office/drawing/2014/main" id="{129E6E74-8171-488D-BF20-E42F5847DA6E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356" name="Группа 355">
            <a:extLst>
              <a:ext uri="{FF2B5EF4-FFF2-40B4-BE49-F238E27FC236}">
                <a16:creationId xmlns:a16="http://schemas.microsoft.com/office/drawing/2014/main" id="{C06367EC-D082-4DBD-9771-AEBA40E8FB9B}"/>
              </a:ext>
            </a:extLst>
          </p:cNvPr>
          <p:cNvGrpSpPr/>
          <p:nvPr/>
        </p:nvGrpSpPr>
        <p:grpSpPr>
          <a:xfrm>
            <a:off x="3709376" y="2920170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57" name="Полилиния 410">
              <a:extLst>
                <a:ext uri="{FF2B5EF4-FFF2-40B4-BE49-F238E27FC236}">
                  <a16:creationId xmlns:a16="http://schemas.microsoft.com/office/drawing/2014/main" id="{A5723244-271E-4443-A2D3-617234332209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58" name="Прямоугольник 357">
              <a:extLst>
                <a:ext uri="{FF2B5EF4-FFF2-40B4-BE49-F238E27FC236}">
                  <a16:creationId xmlns:a16="http://schemas.microsoft.com/office/drawing/2014/main" id="{06B93571-13B9-4713-A99E-647F1EFA073B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9" name="Прямоугольник 358">
              <a:extLst>
                <a:ext uri="{FF2B5EF4-FFF2-40B4-BE49-F238E27FC236}">
                  <a16:creationId xmlns:a16="http://schemas.microsoft.com/office/drawing/2014/main" id="{4297A072-D96C-4C42-918B-424E8EB90BA5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60" name="Прямоугольник 359">
              <a:extLst>
                <a:ext uri="{FF2B5EF4-FFF2-40B4-BE49-F238E27FC236}">
                  <a16:creationId xmlns:a16="http://schemas.microsoft.com/office/drawing/2014/main" id="{4865077B-959B-463D-A3AB-4A4E60186C04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61" name="Прямоугольник 360">
              <a:extLst>
                <a:ext uri="{FF2B5EF4-FFF2-40B4-BE49-F238E27FC236}">
                  <a16:creationId xmlns:a16="http://schemas.microsoft.com/office/drawing/2014/main" id="{27ECC483-127A-4A05-A134-10F5DC53D52D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62" name="Прямоугольник 361">
              <a:extLst>
                <a:ext uri="{FF2B5EF4-FFF2-40B4-BE49-F238E27FC236}">
                  <a16:creationId xmlns:a16="http://schemas.microsoft.com/office/drawing/2014/main" id="{5A7AF51B-EF94-40CA-8930-31F9E555F380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63" name="Полилиния 416">
              <a:extLst>
                <a:ext uri="{FF2B5EF4-FFF2-40B4-BE49-F238E27FC236}">
                  <a16:creationId xmlns:a16="http://schemas.microsoft.com/office/drawing/2014/main" id="{F37F8EF1-B298-4CFE-A790-AE8D14669216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64" name="Прямоугольник 363">
              <a:extLst>
                <a:ext uri="{FF2B5EF4-FFF2-40B4-BE49-F238E27FC236}">
                  <a16:creationId xmlns:a16="http://schemas.microsoft.com/office/drawing/2014/main" id="{3AAE0BEC-063D-4F4C-897A-DF518A3DA9DE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65" name="Прямоугольник 364">
              <a:extLst>
                <a:ext uri="{FF2B5EF4-FFF2-40B4-BE49-F238E27FC236}">
                  <a16:creationId xmlns:a16="http://schemas.microsoft.com/office/drawing/2014/main" id="{DB1209A2-2742-4110-96A1-3E50FE70FB73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366" name="TextBox 365">
            <a:extLst>
              <a:ext uri="{FF2B5EF4-FFF2-40B4-BE49-F238E27FC236}">
                <a16:creationId xmlns:a16="http://schemas.microsoft.com/office/drawing/2014/main" id="{43AE02EB-2F58-4834-913E-0841DA84871E}"/>
              </a:ext>
            </a:extLst>
          </p:cNvPr>
          <p:cNvSpPr txBox="1"/>
          <p:nvPr/>
        </p:nvSpPr>
        <p:spPr>
          <a:xfrm>
            <a:off x="2188938" y="1661999"/>
            <a:ext cx="106279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100" b="1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dirty="0"/>
              <a:t>КАРАЧАГАНАК</a:t>
            </a:r>
          </a:p>
        </p:txBody>
      </p:sp>
      <p:sp>
        <p:nvSpPr>
          <p:cNvPr id="367" name="Полилиния 268">
            <a:extLst>
              <a:ext uri="{FF2B5EF4-FFF2-40B4-BE49-F238E27FC236}">
                <a16:creationId xmlns:a16="http://schemas.microsoft.com/office/drawing/2014/main" id="{363DE62E-ED87-4817-9E77-35CBE23824E4}"/>
              </a:ext>
            </a:extLst>
          </p:cNvPr>
          <p:cNvSpPr/>
          <p:nvPr/>
        </p:nvSpPr>
        <p:spPr>
          <a:xfrm>
            <a:off x="3878104" y="2597312"/>
            <a:ext cx="267660" cy="285373"/>
          </a:xfrm>
          <a:custGeom>
            <a:avLst/>
            <a:gdLst>
              <a:gd name="connsiteX0" fmla="*/ 431800 w 431800"/>
              <a:gd name="connsiteY0" fmla="*/ 79375 h 460375"/>
              <a:gd name="connsiteX1" fmla="*/ 425450 w 431800"/>
              <a:gd name="connsiteY1" fmla="*/ 28575 h 460375"/>
              <a:gd name="connsiteX2" fmla="*/ 361950 w 431800"/>
              <a:gd name="connsiteY2" fmla="*/ 0 h 460375"/>
              <a:gd name="connsiteX3" fmla="*/ 317500 w 431800"/>
              <a:gd name="connsiteY3" fmla="*/ 19050 h 460375"/>
              <a:gd name="connsiteX4" fmla="*/ 304800 w 431800"/>
              <a:gd name="connsiteY4" fmla="*/ 63500 h 460375"/>
              <a:gd name="connsiteX5" fmla="*/ 222250 w 431800"/>
              <a:gd name="connsiteY5" fmla="*/ 95250 h 460375"/>
              <a:gd name="connsiteX6" fmla="*/ 161925 w 431800"/>
              <a:gd name="connsiteY6" fmla="*/ 187325 h 460375"/>
              <a:gd name="connsiteX7" fmla="*/ 50800 w 431800"/>
              <a:gd name="connsiteY7" fmla="*/ 298450 h 460375"/>
              <a:gd name="connsiteX8" fmla="*/ 6350 w 431800"/>
              <a:gd name="connsiteY8" fmla="*/ 371475 h 460375"/>
              <a:gd name="connsiteX9" fmla="*/ 0 w 431800"/>
              <a:gd name="connsiteY9" fmla="*/ 406400 h 460375"/>
              <a:gd name="connsiteX10" fmla="*/ 28575 w 431800"/>
              <a:gd name="connsiteY10" fmla="*/ 409575 h 460375"/>
              <a:gd name="connsiteX11" fmla="*/ 47625 w 431800"/>
              <a:gd name="connsiteY11" fmla="*/ 412750 h 460375"/>
              <a:gd name="connsiteX12" fmla="*/ 50800 w 431800"/>
              <a:gd name="connsiteY12" fmla="*/ 428625 h 460375"/>
              <a:gd name="connsiteX13" fmla="*/ 53975 w 431800"/>
              <a:gd name="connsiteY13" fmla="*/ 438150 h 460375"/>
              <a:gd name="connsiteX14" fmla="*/ 57150 w 431800"/>
              <a:gd name="connsiteY14" fmla="*/ 450850 h 460375"/>
              <a:gd name="connsiteX15" fmla="*/ 66675 w 431800"/>
              <a:gd name="connsiteY15" fmla="*/ 460375 h 460375"/>
              <a:gd name="connsiteX16" fmla="*/ 88900 w 431800"/>
              <a:gd name="connsiteY16" fmla="*/ 457200 h 460375"/>
              <a:gd name="connsiteX17" fmla="*/ 104775 w 431800"/>
              <a:gd name="connsiteY17" fmla="*/ 438150 h 460375"/>
              <a:gd name="connsiteX18" fmla="*/ 123825 w 431800"/>
              <a:gd name="connsiteY18" fmla="*/ 419100 h 460375"/>
              <a:gd name="connsiteX19" fmla="*/ 133350 w 431800"/>
              <a:gd name="connsiteY19" fmla="*/ 409575 h 460375"/>
              <a:gd name="connsiteX20" fmla="*/ 142875 w 431800"/>
              <a:gd name="connsiteY20" fmla="*/ 400050 h 460375"/>
              <a:gd name="connsiteX21" fmla="*/ 152400 w 431800"/>
              <a:gd name="connsiteY21" fmla="*/ 396875 h 460375"/>
              <a:gd name="connsiteX22" fmla="*/ 165100 w 431800"/>
              <a:gd name="connsiteY22" fmla="*/ 377825 h 460375"/>
              <a:gd name="connsiteX23" fmla="*/ 171450 w 431800"/>
              <a:gd name="connsiteY23" fmla="*/ 358775 h 460375"/>
              <a:gd name="connsiteX24" fmla="*/ 177800 w 431800"/>
              <a:gd name="connsiteY24" fmla="*/ 349250 h 460375"/>
              <a:gd name="connsiteX25" fmla="*/ 180975 w 431800"/>
              <a:gd name="connsiteY25" fmla="*/ 339725 h 460375"/>
              <a:gd name="connsiteX26" fmla="*/ 200025 w 431800"/>
              <a:gd name="connsiteY26" fmla="*/ 327025 h 460375"/>
              <a:gd name="connsiteX27" fmla="*/ 209550 w 431800"/>
              <a:gd name="connsiteY27" fmla="*/ 320675 h 460375"/>
              <a:gd name="connsiteX28" fmla="*/ 238125 w 431800"/>
              <a:gd name="connsiteY28" fmla="*/ 323850 h 460375"/>
              <a:gd name="connsiteX29" fmla="*/ 269875 w 431800"/>
              <a:gd name="connsiteY29" fmla="*/ 307975 h 460375"/>
              <a:gd name="connsiteX30" fmla="*/ 279400 w 431800"/>
              <a:gd name="connsiteY30" fmla="*/ 301625 h 460375"/>
              <a:gd name="connsiteX31" fmla="*/ 304800 w 431800"/>
              <a:gd name="connsiteY31" fmla="*/ 292100 h 460375"/>
              <a:gd name="connsiteX32" fmla="*/ 314325 w 431800"/>
              <a:gd name="connsiteY32" fmla="*/ 288925 h 460375"/>
              <a:gd name="connsiteX33" fmla="*/ 323850 w 431800"/>
              <a:gd name="connsiteY33" fmla="*/ 273050 h 460375"/>
              <a:gd name="connsiteX34" fmla="*/ 355600 w 431800"/>
              <a:gd name="connsiteY34" fmla="*/ 206375 h 460375"/>
              <a:gd name="connsiteX35" fmla="*/ 431800 w 431800"/>
              <a:gd name="connsiteY35" fmla="*/ 79375 h 460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31800" h="460375">
                <a:moveTo>
                  <a:pt x="431800" y="79375"/>
                </a:moveTo>
                <a:lnTo>
                  <a:pt x="425450" y="28575"/>
                </a:lnTo>
                <a:lnTo>
                  <a:pt x="361950" y="0"/>
                </a:lnTo>
                <a:lnTo>
                  <a:pt x="317500" y="19050"/>
                </a:lnTo>
                <a:lnTo>
                  <a:pt x="304800" y="63500"/>
                </a:lnTo>
                <a:lnTo>
                  <a:pt x="222250" y="95250"/>
                </a:lnTo>
                <a:lnTo>
                  <a:pt x="161925" y="187325"/>
                </a:lnTo>
                <a:lnTo>
                  <a:pt x="50800" y="298450"/>
                </a:lnTo>
                <a:lnTo>
                  <a:pt x="6350" y="371475"/>
                </a:lnTo>
                <a:lnTo>
                  <a:pt x="0" y="406400"/>
                </a:lnTo>
                <a:cubicBezTo>
                  <a:pt x="9525" y="407458"/>
                  <a:pt x="19075" y="408308"/>
                  <a:pt x="28575" y="409575"/>
                </a:cubicBezTo>
                <a:cubicBezTo>
                  <a:pt x="34956" y="410426"/>
                  <a:pt x="42737" y="408560"/>
                  <a:pt x="47625" y="412750"/>
                </a:cubicBezTo>
                <a:cubicBezTo>
                  <a:pt x="51722" y="416262"/>
                  <a:pt x="49491" y="423390"/>
                  <a:pt x="50800" y="428625"/>
                </a:cubicBezTo>
                <a:cubicBezTo>
                  <a:pt x="51612" y="431872"/>
                  <a:pt x="53056" y="434932"/>
                  <a:pt x="53975" y="438150"/>
                </a:cubicBezTo>
                <a:cubicBezTo>
                  <a:pt x="55174" y="442346"/>
                  <a:pt x="54985" y="447061"/>
                  <a:pt x="57150" y="450850"/>
                </a:cubicBezTo>
                <a:cubicBezTo>
                  <a:pt x="59378" y="454749"/>
                  <a:pt x="63500" y="457200"/>
                  <a:pt x="66675" y="460375"/>
                </a:cubicBezTo>
                <a:cubicBezTo>
                  <a:pt x="74083" y="459317"/>
                  <a:pt x="81952" y="459979"/>
                  <a:pt x="88900" y="457200"/>
                </a:cubicBezTo>
                <a:cubicBezTo>
                  <a:pt x="96388" y="454205"/>
                  <a:pt x="99958" y="443569"/>
                  <a:pt x="104775" y="438150"/>
                </a:cubicBezTo>
                <a:cubicBezTo>
                  <a:pt x="110741" y="431438"/>
                  <a:pt x="117475" y="425450"/>
                  <a:pt x="123825" y="419100"/>
                </a:cubicBezTo>
                <a:lnTo>
                  <a:pt x="133350" y="409575"/>
                </a:lnTo>
                <a:cubicBezTo>
                  <a:pt x="136525" y="406400"/>
                  <a:pt x="138615" y="401470"/>
                  <a:pt x="142875" y="400050"/>
                </a:cubicBezTo>
                <a:lnTo>
                  <a:pt x="152400" y="396875"/>
                </a:lnTo>
                <a:cubicBezTo>
                  <a:pt x="156633" y="390525"/>
                  <a:pt x="162687" y="385065"/>
                  <a:pt x="165100" y="377825"/>
                </a:cubicBezTo>
                <a:cubicBezTo>
                  <a:pt x="167217" y="371475"/>
                  <a:pt x="167737" y="364344"/>
                  <a:pt x="171450" y="358775"/>
                </a:cubicBezTo>
                <a:cubicBezTo>
                  <a:pt x="173567" y="355600"/>
                  <a:pt x="176093" y="352663"/>
                  <a:pt x="177800" y="349250"/>
                </a:cubicBezTo>
                <a:cubicBezTo>
                  <a:pt x="179297" y="346257"/>
                  <a:pt x="178608" y="342092"/>
                  <a:pt x="180975" y="339725"/>
                </a:cubicBezTo>
                <a:cubicBezTo>
                  <a:pt x="186371" y="334329"/>
                  <a:pt x="193675" y="331258"/>
                  <a:pt x="200025" y="327025"/>
                </a:cubicBezTo>
                <a:lnTo>
                  <a:pt x="209550" y="320675"/>
                </a:lnTo>
                <a:cubicBezTo>
                  <a:pt x="219075" y="321733"/>
                  <a:pt x="228541" y="323850"/>
                  <a:pt x="238125" y="323850"/>
                </a:cubicBezTo>
                <a:cubicBezTo>
                  <a:pt x="250690" y="323850"/>
                  <a:pt x="260380" y="314305"/>
                  <a:pt x="269875" y="307975"/>
                </a:cubicBezTo>
                <a:cubicBezTo>
                  <a:pt x="273050" y="305858"/>
                  <a:pt x="275780" y="302832"/>
                  <a:pt x="279400" y="301625"/>
                </a:cubicBezTo>
                <a:cubicBezTo>
                  <a:pt x="301020" y="294418"/>
                  <a:pt x="274428" y="303489"/>
                  <a:pt x="304800" y="292100"/>
                </a:cubicBezTo>
                <a:cubicBezTo>
                  <a:pt x="307934" y="290925"/>
                  <a:pt x="311150" y="289983"/>
                  <a:pt x="314325" y="288925"/>
                </a:cubicBezTo>
                <a:cubicBezTo>
                  <a:pt x="321988" y="277431"/>
                  <a:pt x="318968" y="282813"/>
                  <a:pt x="323850" y="273050"/>
                </a:cubicBezTo>
                <a:lnTo>
                  <a:pt x="355600" y="206375"/>
                </a:lnTo>
                <a:lnTo>
                  <a:pt x="431800" y="79375"/>
                </a:lnTo>
                <a:close/>
              </a:path>
            </a:pathLst>
          </a:custGeom>
          <a:solidFill>
            <a:srgbClr val="2D4B7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schemeClr val="tx1"/>
              </a:solidFill>
            </a:endParaRP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CECACBCB-479A-4E56-A4E7-265CE9DEF89B}"/>
              </a:ext>
            </a:extLst>
          </p:cNvPr>
          <p:cNvSpPr txBox="1"/>
          <p:nvPr/>
        </p:nvSpPr>
        <p:spPr>
          <a:xfrm>
            <a:off x="3258269" y="2522869"/>
            <a:ext cx="77264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100" b="1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dirty="0"/>
              <a:t>ЖАНАЖОЛ</a:t>
            </a: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CF250B1D-2E23-466A-AD2B-2006E8868756}"/>
              </a:ext>
            </a:extLst>
          </p:cNvPr>
          <p:cNvSpPr txBox="1"/>
          <p:nvPr/>
        </p:nvSpPr>
        <p:spPr>
          <a:xfrm>
            <a:off x="1647707" y="1953218"/>
            <a:ext cx="20005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i="1" dirty="0">
                <a:solidFill>
                  <a:schemeClr val="accent2">
                    <a:lumMod val="75000"/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спийский бассейн</a:t>
            </a:r>
            <a:endParaRPr lang="ru-RU" sz="1000" i="1" dirty="0">
              <a:solidFill>
                <a:schemeClr val="accent2">
                  <a:alpha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900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ные ресурсы </a:t>
            </a:r>
            <a:r>
              <a:rPr lang="ru-RU" sz="900" b="1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,9</a:t>
            </a:r>
            <a:r>
              <a:rPr lang="ru-RU" sz="900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.м</a:t>
            </a:r>
            <a:r>
              <a:rPr lang="ru-RU" sz="900" b="1" i="1" baseline="30000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r>
              <a:rPr lang="kk-KZ" sz="900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влекаемые запасы </a:t>
            </a:r>
            <a:r>
              <a:rPr lang="ru-RU" sz="900" b="1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5</a:t>
            </a:r>
            <a:r>
              <a:rPr lang="ru-RU" sz="900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i="1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.м</a:t>
            </a:r>
            <a:r>
              <a:rPr lang="ru-RU" sz="900" b="1" i="1" baseline="30000" dirty="0">
                <a:solidFill>
                  <a:schemeClr val="accent2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900" b="1" i="1" dirty="0">
              <a:solidFill>
                <a:schemeClr val="accent2">
                  <a:alpha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5" name="Полилиния 272">
            <a:extLst>
              <a:ext uri="{FF2B5EF4-FFF2-40B4-BE49-F238E27FC236}">
                <a16:creationId xmlns:a16="http://schemas.microsoft.com/office/drawing/2014/main" id="{9A3940D1-F392-49E9-BDC0-B14CA04C8249}"/>
              </a:ext>
            </a:extLst>
          </p:cNvPr>
          <p:cNvSpPr/>
          <p:nvPr/>
        </p:nvSpPr>
        <p:spPr>
          <a:xfrm>
            <a:off x="2706938" y="3846650"/>
            <a:ext cx="284610" cy="321723"/>
          </a:xfrm>
          <a:custGeom>
            <a:avLst/>
            <a:gdLst>
              <a:gd name="connsiteX0" fmla="*/ 0 w 348514"/>
              <a:gd name="connsiteY0" fmla="*/ 95250 h 393956"/>
              <a:gd name="connsiteX1" fmla="*/ 234950 w 348514"/>
              <a:gd name="connsiteY1" fmla="*/ 0 h 393956"/>
              <a:gd name="connsiteX2" fmla="*/ 288925 w 348514"/>
              <a:gd name="connsiteY2" fmla="*/ 31750 h 393956"/>
              <a:gd name="connsiteX3" fmla="*/ 288925 w 348514"/>
              <a:gd name="connsiteY3" fmla="*/ 73025 h 393956"/>
              <a:gd name="connsiteX4" fmla="*/ 288925 w 348514"/>
              <a:gd name="connsiteY4" fmla="*/ 123825 h 393956"/>
              <a:gd name="connsiteX5" fmla="*/ 323850 w 348514"/>
              <a:gd name="connsiteY5" fmla="*/ 177800 h 393956"/>
              <a:gd name="connsiteX6" fmla="*/ 323850 w 348514"/>
              <a:gd name="connsiteY6" fmla="*/ 209550 h 393956"/>
              <a:gd name="connsiteX7" fmla="*/ 320675 w 348514"/>
              <a:gd name="connsiteY7" fmla="*/ 257175 h 393956"/>
              <a:gd name="connsiteX8" fmla="*/ 330200 w 348514"/>
              <a:gd name="connsiteY8" fmla="*/ 260350 h 393956"/>
              <a:gd name="connsiteX9" fmla="*/ 339725 w 348514"/>
              <a:gd name="connsiteY9" fmla="*/ 266700 h 393956"/>
              <a:gd name="connsiteX10" fmla="*/ 342900 w 348514"/>
              <a:gd name="connsiteY10" fmla="*/ 336550 h 393956"/>
              <a:gd name="connsiteX11" fmla="*/ 330200 w 348514"/>
              <a:gd name="connsiteY11" fmla="*/ 355600 h 393956"/>
              <a:gd name="connsiteX12" fmla="*/ 323850 w 348514"/>
              <a:gd name="connsiteY12" fmla="*/ 365125 h 393956"/>
              <a:gd name="connsiteX13" fmla="*/ 314325 w 348514"/>
              <a:gd name="connsiteY13" fmla="*/ 374650 h 393956"/>
              <a:gd name="connsiteX14" fmla="*/ 292100 w 348514"/>
              <a:gd name="connsiteY14" fmla="*/ 387350 h 393956"/>
              <a:gd name="connsiteX15" fmla="*/ 273050 w 348514"/>
              <a:gd name="connsiteY15" fmla="*/ 393700 h 393956"/>
              <a:gd name="connsiteX16" fmla="*/ 228600 w 348514"/>
              <a:gd name="connsiteY16" fmla="*/ 390525 h 393956"/>
              <a:gd name="connsiteX17" fmla="*/ 222250 w 348514"/>
              <a:gd name="connsiteY17" fmla="*/ 371475 h 393956"/>
              <a:gd name="connsiteX18" fmla="*/ 212725 w 348514"/>
              <a:gd name="connsiteY18" fmla="*/ 361950 h 393956"/>
              <a:gd name="connsiteX19" fmla="*/ 193675 w 348514"/>
              <a:gd name="connsiteY19" fmla="*/ 352425 h 393956"/>
              <a:gd name="connsiteX20" fmla="*/ 174625 w 348514"/>
              <a:gd name="connsiteY20" fmla="*/ 339725 h 393956"/>
              <a:gd name="connsiteX21" fmla="*/ 155575 w 348514"/>
              <a:gd name="connsiteY21" fmla="*/ 323850 h 393956"/>
              <a:gd name="connsiteX22" fmla="*/ 127000 w 348514"/>
              <a:gd name="connsiteY22" fmla="*/ 307975 h 393956"/>
              <a:gd name="connsiteX23" fmla="*/ 107950 w 348514"/>
              <a:gd name="connsiteY23" fmla="*/ 292100 h 393956"/>
              <a:gd name="connsiteX24" fmla="*/ 98425 w 348514"/>
              <a:gd name="connsiteY24" fmla="*/ 288925 h 393956"/>
              <a:gd name="connsiteX25" fmla="*/ 85725 w 348514"/>
              <a:gd name="connsiteY25" fmla="*/ 282575 h 393956"/>
              <a:gd name="connsiteX26" fmla="*/ 76200 w 348514"/>
              <a:gd name="connsiteY26" fmla="*/ 279400 h 393956"/>
              <a:gd name="connsiteX27" fmla="*/ 53975 w 348514"/>
              <a:gd name="connsiteY27" fmla="*/ 269875 h 393956"/>
              <a:gd name="connsiteX28" fmla="*/ 41275 w 348514"/>
              <a:gd name="connsiteY28" fmla="*/ 260350 h 393956"/>
              <a:gd name="connsiteX29" fmla="*/ 31750 w 348514"/>
              <a:gd name="connsiteY29" fmla="*/ 250825 h 393956"/>
              <a:gd name="connsiteX30" fmla="*/ 19050 w 348514"/>
              <a:gd name="connsiteY30" fmla="*/ 247650 h 393956"/>
              <a:gd name="connsiteX31" fmla="*/ 9525 w 348514"/>
              <a:gd name="connsiteY31" fmla="*/ 244475 h 393956"/>
              <a:gd name="connsiteX32" fmla="*/ 9525 w 348514"/>
              <a:gd name="connsiteY32" fmla="*/ 196850 h 393956"/>
              <a:gd name="connsiteX33" fmla="*/ 0 w 348514"/>
              <a:gd name="connsiteY33" fmla="*/ 95250 h 39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48514" h="393956">
                <a:moveTo>
                  <a:pt x="0" y="95250"/>
                </a:moveTo>
                <a:lnTo>
                  <a:pt x="234950" y="0"/>
                </a:lnTo>
                <a:lnTo>
                  <a:pt x="288925" y="31750"/>
                </a:lnTo>
                <a:lnTo>
                  <a:pt x="288925" y="73025"/>
                </a:lnTo>
                <a:lnTo>
                  <a:pt x="288925" y="123825"/>
                </a:lnTo>
                <a:lnTo>
                  <a:pt x="323850" y="177800"/>
                </a:lnTo>
                <a:lnTo>
                  <a:pt x="323850" y="209550"/>
                </a:lnTo>
                <a:cubicBezTo>
                  <a:pt x="321029" y="222244"/>
                  <a:pt x="312646" y="243124"/>
                  <a:pt x="320675" y="257175"/>
                </a:cubicBezTo>
                <a:cubicBezTo>
                  <a:pt x="322335" y="260081"/>
                  <a:pt x="327207" y="258853"/>
                  <a:pt x="330200" y="260350"/>
                </a:cubicBezTo>
                <a:cubicBezTo>
                  <a:pt x="333613" y="262057"/>
                  <a:pt x="336550" y="264583"/>
                  <a:pt x="339725" y="266700"/>
                </a:cubicBezTo>
                <a:cubicBezTo>
                  <a:pt x="349219" y="295181"/>
                  <a:pt x="352124" y="295964"/>
                  <a:pt x="342900" y="336550"/>
                </a:cubicBezTo>
                <a:cubicBezTo>
                  <a:pt x="341209" y="343992"/>
                  <a:pt x="334433" y="349250"/>
                  <a:pt x="330200" y="355600"/>
                </a:cubicBezTo>
                <a:cubicBezTo>
                  <a:pt x="328083" y="358775"/>
                  <a:pt x="326548" y="362427"/>
                  <a:pt x="323850" y="365125"/>
                </a:cubicBezTo>
                <a:cubicBezTo>
                  <a:pt x="320675" y="368300"/>
                  <a:pt x="317774" y="371775"/>
                  <a:pt x="314325" y="374650"/>
                </a:cubicBezTo>
                <a:cubicBezTo>
                  <a:pt x="309038" y="379056"/>
                  <a:pt x="298072" y="384961"/>
                  <a:pt x="292100" y="387350"/>
                </a:cubicBezTo>
                <a:cubicBezTo>
                  <a:pt x="285885" y="389836"/>
                  <a:pt x="273050" y="393700"/>
                  <a:pt x="273050" y="393700"/>
                </a:cubicBezTo>
                <a:cubicBezTo>
                  <a:pt x="258233" y="392642"/>
                  <a:pt x="242209" y="396479"/>
                  <a:pt x="228600" y="390525"/>
                </a:cubicBezTo>
                <a:cubicBezTo>
                  <a:pt x="222468" y="387842"/>
                  <a:pt x="226983" y="376208"/>
                  <a:pt x="222250" y="371475"/>
                </a:cubicBezTo>
                <a:cubicBezTo>
                  <a:pt x="219075" y="368300"/>
                  <a:pt x="216174" y="364825"/>
                  <a:pt x="212725" y="361950"/>
                </a:cubicBezTo>
                <a:cubicBezTo>
                  <a:pt x="195811" y="347855"/>
                  <a:pt x="210858" y="361971"/>
                  <a:pt x="193675" y="352425"/>
                </a:cubicBezTo>
                <a:cubicBezTo>
                  <a:pt x="187004" y="348719"/>
                  <a:pt x="180975" y="343958"/>
                  <a:pt x="174625" y="339725"/>
                </a:cubicBezTo>
                <a:cubicBezTo>
                  <a:pt x="140588" y="317034"/>
                  <a:pt x="192245" y="352371"/>
                  <a:pt x="155575" y="323850"/>
                </a:cubicBezTo>
                <a:cubicBezTo>
                  <a:pt x="139199" y="311113"/>
                  <a:pt x="141371" y="312765"/>
                  <a:pt x="127000" y="307975"/>
                </a:cubicBezTo>
                <a:cubicBezTo>
                  <a:pt x="119978" y="300953"/>
                  <a:pt x="116791" y="296520"/>
                  <a:pt x="107950" y="292100"/>
                </a:cubicBezTo>
                <a:cubicBezTo>
                  <a:pt x="104957" y="290603"/>
                  <a:pt x="101501" y="290243"/>
                  <a:pt x="98425" y="288925"/>
                </a:cubicBezTo>
                <a:cubicBezTo>
                  <a:pt x="94075" y="287061"/>
                  <a:pt x="90075" y="284439"/>
                  <a:pt x="85725" y="282575"/>
                </a:cubicBezTo>
                <a:cubicBezTo>
                  <a:pt x="82649" y="281257"/>
                  <a:pt x="79276" y="280718"/>
                  <a:pt x="76200" y="279400"/>
                </a:cubicBezTo>
                <a:cubicBezTo>
                  <a:pt x="48737" y="267630"/>
                  <a:pt x="76313" y="277321"/>
                  <a:pt x="53975" y="269875"/>
                </a:cubicBezTo>
                <a:cubicBezTo>
                  <a:pt x="49742" y="266700"/>
                  <a:pt x="45293" y="263794"/>
                  <a:pt x="41275" y="260350"/>
                </a:cubicBezTo>
                <a:cubicBezTo>
                  <a:pt x="37866" y="257428"/>
                  <a:pt x="35649" y="253053"/>
                  <a:pt x="31750" y="250825"/>
                </a:cubicBezTo>
                <a:cubicBezTo>
                  <a:pt x="27961" y="248660"/>
                  <a:pt x="23246" y="248849"/>
                  <a:pt x="19050" y="247650"/>
                </a:cubicBezTo>
                <a:cubicBezTo>
                  <a:pt x="15832" y="246731"/>
                  <a:pt x="9525" y="244475"/>
                  <a:pt x="9525" y="244475"/>
                </a:cubicBezTo>
                <a:lnTo>
                  <a:pt x="9525" y="196850"/>
                </a:lnTo>
                <a:lnTo>
                  <a:pt x="0" y="95250"/>
                </a:lnTo>
                <a:close/>
              </a:path>
            </a:pathLst>
          </a:custGeom>
          <a:solidFill>
            <a:srgbClr val="2D4B7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schemeClr val="tx1"/>
              </a:solidFill>
            </a:endParaRPr>
          </a:p>
        </p:txBody>
      </p:sp>
      <p:sp>
        <p:nvSpPr>
          <p:cNvPr id="376" name="Овал 375">
            <a:extLst>
              <a:ext uri="{FF2B5EF4-FFF2-40B4-BE49-F238E27FC236}">
                <a16:creationId xmlns:a16="http://schemas.microsoft.com/office/drawing/2014/main" id="{ECCBA662-E461-4430-BCED-8656DB4F63EC}"/>
              </a:ext>
            </a:extLst>
          </p:cNvPr>
          <p:cNvSpPr/>
          <p:nvPr/>
        </p:nvSpPr>
        <p:spPr>
          <a:xfrm>
            <a:off x="2037849" y="3457958"/>
            <a:ext cx="127259" cy="12725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B3B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E0568744-31F3-4016-BDA0-D7C6BEF3E147}"/>
              </a:ext>
            </a:extLst>
          </p:cNvPr>
          <p:cNvSpPr txBox="1"/>
          <p:nvPr/>
        </p:nvSpPr>
        <p:spPr>
          <a:xfrm>
            <a:off x="1615126" y="3293841"/>
            <a:ext cx="61234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АТЫРАУ</a:t>
            </a:r>
            <a:endParaRPr lang="ru-RU" sz="700" dirty="0"/>
          </a:p>
        </p:txBody>
      </p:sp>
      <p:grpSp>
        <p:nvGrpSpPr>
          <p:cNvPr id="378" name="Группа 377">
            <a:extLst>
              <a:ext uri="{FF2B5EF4-FFF2-40B4-BE49-F238E27FC236}">
                <a16:creationId xmlns:a16="http://schemas.microsoft.com/office/drawing/2014/main" id="{9C89A327-5D81-4605-80E2-6DCB5B925212}"/>
              </a:ext>
            </a:extLst>
          </p:cNvPr>
          <p:cNvGrpSpPr/>
          <p:nvPr/>
        </p:nvGrpSpPr>
        <p:grpSpPr>
          <a:xfrm>
            <a:off x="2205991" y="3475170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79" name="Полилиния 410">
              <a:extLst>
                <a:ext uri="{FF2B5EF4-FFF2-40B4-BE49-F238E27FC236}">
                  <a16:creationId xmlns:a16="http://schemas.microsoft.com/office/drawing/2014/main" id="{E36966F1-5AF2-4A64-ABF7-85E87C93BA5E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80" name="Прямоугольник 379">
              <a:extLst>
                <a:ext uri="{FF2B5EF4-FFF2-40B4-BE49-F238E27FC236}">
                  <a16:creationId xmlns:a16="http://schemas.microsoft.com/office/drawing/2014/main" id="{57B5B457-9C24-4580-99D3-F62892FD1A01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1" name="Прямоугольник 380">
              <a:extLst>
                <a:ext uri="{FF2B5EF4-FFF2-40B4-BE49-F238E27FC236}">
                  <a16:creationId xmlns:a16="http://schemas.microsoft.com/office/drawing/2014/main" id="{3F9A199A-1437-4E32-819D-767AA31983C9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2" name="Прямоугольник 381">
              <a:extLst>
                <a:ext uri="{FF2B5EF4-FFF2-40B4-BE49-F238E27FC236}">
                  <a16:creationId xmlns:a16="http://schemas.microsoft.com/office/drawing/2014/main" id="{66CE88E9-3F17-44C7-A8A0-24E6533F3327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EA4FCEC8-E8FB-4494-838D-FBE0A7E83C93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4" name="Прямоугольник 383">
              <a:extLst>
                <a:ext uri="{FF2B5EF4-FFF2-40B4-BE49-F238E27FC236}">
                  <a16:creationId xmlns:a16="http://schemas.microsoft.com/office/drawing/2014/main" id="{23E2259C-02D2-4E5F-AAFC-888BCDD54CAB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5" name="Полилиния 416">
              <a:extLst>
                <a:ext uri="{FF2B5EF4-FFF2-40B4-BE49-F238E27FC236}">
                  <a16:creationId xmlns:a16="http://schemas.microsoft.com/office/drawing/2014/main" id="{36082CA0-1CEB-4F10-9CFA-32A57429C86D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:a16="http://schemas.microsoft.com/office/drawing/2014/main" id="{B5CFE28F-6CF1-46C3-9F40-27DB1DB2A9A4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87" name="Прямоугольник 386">
              <a:extLst>
                <a:ext uri="{FF2B5EF4-FFF2-40B4-BE49-F238E27FC236}">
                  <a16:creationId xmlns:a16="http://schemas.microsoft.com/office/drawing/2014/main" id="{3DF65BEA-F432-4653-8278-40E0D41658E1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388" name="Группа 387">
            <a:extLst>
              <a:ext uri="{FF2B5EF4-FFF2-40B4-BE49-F238E27FC236}">
                <a16:creationId xmlns:a16="http://schemas.microsoft.com/office/drawing/2014/main" id="{246FF615-1E65-4803-AA9C-97E76F9233B9}"/>
              </a:ext>
            </a:extLst>
          </p:cNvPr>
          <p:cNvGrpSpPr/>
          <p:nvPr/>
        </p:nvGrpSpPr>
        <p:grpSpPr>
          <a:xfrm>
            <a:off x="2953697" y="4238664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89" name="Полилиния 410">
              <a:extLst>
                <a:ext uri="{FF2B5EF4-FFF2-40B4-BE49-F238E27FC236}">
                  <a16:creationId xmlns:a16="http://schemas.microsoft.com/office/drawing/2014/main" id="{E34D7638-7903-464A-958D-62E342E0A844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90" name="Прямоугольник 389">
              <a:extLst>
                <a:ext uri="{FF2B5EF4-FFF2-40B4-BE49-F238E27FC236}">
                  <a16:creationId xmlns:a16="http://schemas.microsoft.com/office/drawing/2014/main" id="{09ABB497-D2ED-497C-BFF6-8748FDE9465C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1" name="Прямоугольник 390">
              <a:extLst>
                <a:ext uri="{FF2B5EF4-FFF2-40B4-BE49-F238E27FC236}">
                  <a16:creationId xmlns:a16="http://schemas.microsoft.com/office/drawing/2014/main" id="{A136187B-DB66-4655-9F66-B581B4137B2D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2" name="Прямоугольник 391">
              <a:extLst>
                <a:ext uri="{FF2B5EF4-FFF2-40B4-BE49-F238E27FC236}">
                  <a16:creationId xmlns:a16="http://schemas.microsoft.com/office/drawing/2014/main" id="{778B7C8B-5A96-483B-9B36-730BA3132CE5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3" name="Прямоугольник 392">
              <a:extLst>
                <a:ext uri="{FF2B5EF4-FFF2-40B4-BE49-F238E27FC236}">
                  <a16:creationId xmlns:a16="http://schemas.microsoft.com/office/drawing/2014/main" id="{FCD926BA-A949-4692-9C13-DED882216782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4" name="Прямоугольник 393">
              <a:extLst>
                <a:ext uri="{FF2B5EF4-FFF2-40B4-BE49-F238E27FC236}">
                  <a16:creationId xmlns:a16="http://schemas.microsoft.com/office/drawing/2014/main" id="{7AA5AEAB-BC56-4E35-8FF6-754969DFAE11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5" name="Полилиния 416">
              <a:extLst>
                <a:ext uri="{FF2B5EF4-FFF2-40B4-BE49-F238E27FC236}">
                  <a16:creationId xmlns:a16="http://schemas.microsoft.com/office/drawing/2014/main" id="{0BF05A1D-E934-46FD-B7F5-F6577556E576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6" name="Прямоугольник 395">
              <a:extLst>
                <a:ext uri="{FF2B5EF4-FFF2-40B4-BE49-F238E27FC236}">
                  <a16:creationId xmlns:a16="http://schemas.microsoft.com/office/drawing/2014/main" id="{1CDD3BC6-1147-4CFB-9B92-7299E0ABF8AA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97" name="Прямоугольник 396">
              <a:extLst>
                <a:ext uri="{FF2B5EF4-FFF2-40B4-BE49-F238E27FC236}">
                  <a16:creationId xmlns:a16="http://schemas.microsoft.com/office/drawing/2014/main" id="{625FFBD6-764B-4EBB-9D4B-A496427BEAB6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398" name="Группа 397">
            <a:extLst>
              <a:ext uri="{FF2B5EF4-FFF2-40B4-BE49-F238E27FC236}">
                <a16:creationId xmlns:a16="http://schemas.microsoft.com/office/drawing/2014/main" id="{B6660D5C-8CB6-4F88-B28C-8793BCB0776E}"/>
              </a:ext>
            </a:extLst>
          </p:cNvPr>
          <p:cNvGrpSpPr/>
          <p:nvPr/>
        </p:nvGrpSpPr>
        <p:grpSpPr>
          <a:xfrm>
            <a:off x="2647958" y="4162044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99" name="Полилиния 410">
              <a:extLst>
                <a:ext uri="{FF2B5EF4-FFF2-40B4-BE49-F238E27FC236}">
                  <a16:creationId xmlns:a16="http://schemas.microsoft.com/office/drawing/2014/main" id="{E9FEDE3F-8249-4D58-9420-9E028539BA87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00" name="Прямоугольник 399">
              <a:extLst>
                <a:ext uri="{FF2B5EF4-FFF2-40B4-BE49-F238E27FC236}">
                  <a16:creationId xmlns:a16="http://schemas.microsoft.com/office/drawing/2014/main" id="{9430E0E7-CBD1-4DDE-A372-E1AE902E999B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1" name="Прямоугольник 400">
              <a:extLst>
                <a:ext uri="{FF2B5EF4-FFF2-40B4-BE49-F238E27FC236}">
                  <a16:creationId xmlns:a16="http://schemas.microsoft.com/office/drawing/2014/main" id="{A603CF9D-5856-400B-910E-13B4AB1914C0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2" name="Прямоугольник 401">
              <a:extLst>
                <a:ext uri="{FF2B5EF4-FFF2-40B4-BE49-F238E27FC236}">
                  <a16:creationId xmlns:a16="http://schemas.microsoft.com/office/drawing/2014/main" id="{91DD3FB0-3BD5-4965-8149-3B8693C8B3B7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3" name="Прямоугольник 402">
              <a:extLst>
                <a:ext uri="{FF2B5EF4-FFF2-40B4-BE49-F238E27FC236}">
                  <a16:creationId xmlns:a16="http://schemas.microsoft.com/office/drawing/2014/main" id="{28E3F119-B3CE-4A36-A1B4-EE16FF8F59E2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4" name="Прямоугольник 403">
              <a:extLst>
                <a:ext uri="{FF2B5EF4-FFF2-40B4-BE49-F238E27FC236}">
                  <a16:creationId xmlns:a16="http://schemas.microsoft.com/office/drawing/2014/main" id="{035EDD50-59F4-4EFF-A613-CAA328E20102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5" name="Полилиния 416">
              <a:extLst>
                <a:ext uri="{FF2B5EF4-FFF2-40B4-BE49-F238E27FC236}">
                  <a16:creationId xmlns:a16="http://schemas.microsoft.com/office/drawing/2014/main" id="{43951D7F-73C9-4BD8-A8CB-51BC548923BD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6" name="Прямоугольник 405">
              <a:extLst>
                <a:ext uri="{FF2B5EF4-FFF2-40B4-BE49-F238E27FC236}">
                  <a16:creationId xmlns:a16="http://schemas.microsoft.com/office/drawing/2014/main" id="{5431D323-C220-4509-A0D8-76367D4A936A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07" name="Прямоугольник 406">
              <a:extLst>
                <a:ext uri="{FF2B5EF4-FFF2-40B4-BE49-F238E27FC236}">
                  <a16:creationId xmlns:a16="http://schemas.microsoft.com/office/drawing/2014/main" id="{B34C4485-F7BA-4F78-8F3B-173C0102CBC8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408" name="Группа 407">
            <a:extLst>
              <a:ext uri="{FF2B5EF4-FFF2-40B4-BE49-F238E27FC236}">
                <a16:creationId xmlns:a16="http://schemas.microsoft.com/office/drawing/2014/main" id="{B2090802-8622-42FE-875F-631F658667AB}"/>
              </a:ext>
            </a:extLst>
          </p:cNvPr>
          <p:cNvGrpSpPr/>
          <p:nvPr/>
        </p:nvGrpSpPr>
        <p:grpSpPr>
          <a:xfrm>
            <a:off x="2621619" y="4479029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09" name="Полилиния 410">
              <a:extLst>
                <a:ext uri="{FF2B5EF4-FFF2-40B4-BE49-F238E27FC236}">
                  <a16:creationId xmlns:a16="http://schemas.microsoft.com/office/drawing/2014/main" id="{76770801-EC62-4698-A64D-3F25CF123344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10" name="Прямоугольник 409">
              <a:extLst>
                <a:ext uri="{FF2B5EF4-FFF2-40B4-BE49-F238E27FC236}">
                  <a16:creationId xmlns:a16="http://schemas.microsoft.com/office/drawing/2014/main" id="{7229CED4-D6AC-4DF4-8E42-203321FED638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1" name="Прямоугольник 410">
              <a:extLst>
                <a:ext uri="{FF2B5EF4-FFF2-40B4-BE49-F238E27FC236}">
                  <a16:creationId xmlns:a16="http://schemas.microsoft.com/office/drawing/2014/main" id="{6F25E104-2F2D-4FFD-86A6-6AAB287EAA93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2" name="Прямоугольник 411">
              <a:extLst>
                <a:ext uri="{FF2B5EF4-FFF2-40B4-BE49-F238E27FC236}">
                  <a16:creationId xmlns:a16="http://schemas.microsoft.com/office/drawing/2014/main" id="{0FAB1359-DDBB-4EF6-A94D-B6EB736A71D6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3" name="Прямоугольник 412">
              <a:extLst>
                <a:ext uri="{FF2B5EF4-FFF2-40B4-BE49-F238E27FC236}">
                  <a16:creationId xmlns:a16="http://schemas.microsoft.com/office/drawing/2014/main" id="{8E5E0E3A-FB04-44C8-A46F-0A8269298F60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4" name="Прямоугольник 413">
              <a:extLst>
                <a:ext uri="{FF2B5EF4-FFF2-40B4-BE49-F238E27FC236}">
                  <a16:creationId xmlns:a16="http://schemas.microsoft.com/office/drawing/2014/main" id="{3FC09A75-1342-442A-A365-D3B42CE790C6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5" name="Полилиния 416">
              <a:extLst>
                <a:ext uri="{FF2B5EF4-FFF2-40B4-BE49-F238E27FC236}">
                  <a16:creationId xmlns:a16="http://schemas.microsoft.com/office/drawing/2014/main" id="{9EB4F8CA-1E99-4387-8450-8F1AF0DC111B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6" name="Прямоугольник 415">
              <a:extLst>
                <a:ext uri="{FF2B5EF4-FFF2-40B4-BE49-F238E27FC236}">
                  <a16:creationId xmlns:a16="http://schemas.microsoft.com/office/drawing/2014/main" id="{A844E493-FDDD-4070-BF4B-09967EF81FC6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17" name="Прямоугольник 416">
              <a:extLst>
                <a:ext uri="{FF2B5EF4-FFF2-40B4-BE49-F238E27FC236}">
                  <a16:creationId xmlns:a16="http://schemas.microsoft.com/office/drawing/2014/main" id="{6238FCB8-19C5-4F07-914F-03463CFA1D9D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418" name="Группа 417">
            <a:extLst>
              <a:ext uri="{FF2B5EF4-FFF2-40B4-BE49-F238E27FC236}">
                <a16:creationId xmlns:a16="http://schemas.microsoft.com/office/drawing/2014/main" id="{4FE87D6B-341B-44F2-BD63-8D422A7E197E}"/>
              </a:ext>
            </a:extLst>
          </p:cNvPr>
          <p:cNvGrpSpPr/>
          <p:nvPr/>
        </p:nvGrpSpPr>
        <p:grpSpPr>
          <a:xfrm>
            <a:off x="2803685" y="4604031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19" name="Полилиния 410">
              <a:extLst>
                <a:ext uri="{FF2B5EF4-FFF2-40B4-BE49-F238E27FC236}">
                  <a16:creationId xmlns:a16="http://schemas.microsoft.com/office/drawing/2014/main" id="{6FF17050-BB25-4AB2-A0DA-58B141BD7ACF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20" name="Прямоугольник 419">
              <a:extLst>
                <a:ext uri="{FF2B5EF4-FFF2-40B4-BE49-F238E27FC236}">
                  <a16:creationId xmlns:a16="http://schemas.microsoft.com/office/drawing/2014/main" id="{0553BDC3-CC3E-4928-89C7-3A0B70A1C61B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1" name="Прямоугольник 420">
              <a:extLst>
                <a:ext uri="{FF2B5EF4-FFF2-40B4-BE49-F238E27FC236}">
                  <a16:creationId xmlns:a16="http://schemas.microsoft.com/office/drawing/2014/main" id="{250D8590-E0F0-4350-AAEC-23C06943652F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2" name="Прямоугольник 421">
              <a:extLst>
                <a:ext uri="{FF2B5EF4-FFF2-40B4-BE49-F238E27FC236}">
                  <a16:creationId xmlns:a16="http://schemas.microsoft.com/office/drawing/2014/main" id="{C16AB4ED-2B59-441A-ADAF-1B642C61C426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3" name="Прямоугольник 422">
              <a:extLst>
                <a:ext uri="{FF2B5EF4-FFF2-40B4-BE49-F238E27FC236}">
                  <a16:creationId xmlns:a16="http://schemas.microsoft.com/office/drawing/2014/main" id="{17415011-352E-4FBC-988A-2A001CC3CA52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4" name="Прямоугольник 423">
              <a:extLst>
                <a:ext uri="{FF2B5EF4-FFF2-40B4-BE49-F238E27FC236}">
                  <a16:creationId xmlns:a16="http://schemas.microsoft.com/office/drawing/2014/main" id="{063546B2-AF18-4D43-B7E1-57C1C3A70430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5" name="Полилиния 416">
              <a:extLst>
                <a:ext uri="{FF2B5EF4-FFF2-40B4-BE49-F238E27FC236}">
                  <a16:creationId xmlns:a16="http://schemas.microsoft.com/office/drawing/2014/main" id="{A986163F-CD5B-4C76-96E9-6E6B50201029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6" name="Прямоугольник 425">
              <a:extLst>
                <a:ext uri="{FF2B5EF4-FFF2-40B4-BE49-F238E27FC236}">
                  <a16:creationId xmlns:a16="http://schemas.microsoft.com/office/drawing/2014/main" id="{BC8613ED-CF32-465C-A4FF-F8B624ACD52C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27" name="Прямоугольник 426">
              <a:extLst>
                <a:ext uri="{FF2B5EF4-FFF2-40B4-BE49-F238E27FC236}">
                  <a16:creationId xmlns:a16="http://schemas.microsoft.com/office/drawing/2014/main" id="{8BE5612D-DE4B-4C93-9829-5AFAD48993FC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428" name="Группа 427">
            <a:extLst>
              <a:ext uri="{FF2B5EF4-FFF2-40B4-BE49-F238E27FC236}">
                <a16:creationId xmlns:a16="http://schemas.microsoft.com/office/drawing/2014/main" id="{3A9C80CA-97E0-43A2-82D2-D6D17534EE30}"/>
              </a:ext>
            </a:extLst>
          </p:cNvPr>
          <p:cNvGrpSpPr/>
          <p:nvPr/>
        </p:nvGrpSpPr>
        <p:grpSpPr>
          <a:xfrm>
            <a:off x="2770493" y="3753990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29" name="Полилиния 410">
              <a:extLst>
                <a:ext uri="{FF2B5EF4-FFF2-40B4-BE49-F238E27FC236}">
                  <a16:creationId xmlns:a16="http://schemas.microsoft.com/office/drawing/2014/main" id="{F4E657C4-156E-448C-B996-4AFA9EE83A3E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30" name="Прямоугольник 429">
              <a:extLst>
                <a:ext uri="{FF2B5EF4-FFF2-40B4-BE49-F238E27FC236}">
                  <a16:creationId xmlns:a16="http://schemas.microsoft.com/office/drawing/2014/main" id="{848A7ED8-6057-4E48-8846-0291F327788E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1" name="Прямоугольник 430">
              <a:extLst>
                <a:ext uri="{FF2B5EF4-FFF2-40B4-BE49-F238E27FC236}">
                  <a16:creationId xmlns:a16="http://schemas.microsoft.com/office/drawing/2014/main" id="{CA944E4D-00C6-4C57-A243-E7D5F84F2C2B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2" name="Прямоугольник 431">
              <a:extLst>
                <a:ext uri="{FF2B5EF4-FFF2-40B4-BE49-F238E27FC236}">
                  <a16:creationId xmlns:a16="http://schemas.microsoft.com/office/drawing/2014/main" id="{85888C24-AEA2-4A00-A660-0D26DF04AD5B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3" name="Прямоугольник 432">
              <a:extLst>
                <a:ext uri="{FF2B5EF4-FFF2-40B4-BE49-F238E27FC236}">
                  <a16:creationId xmlns:a16="http://schemas.microsoft.com/office/drawing/2014/main" id="{7F1E1C40-5ED3-43C2-8349-DD6AD39FEE9C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4" name="Прямоугольник 433">
              <a:extLst>
                <a:ext uri="{FF2B5EF4-FFF2-40B4-BE49-F238E27FC236}">
                  <a16:creationId xmlns:a16="http://schemas.microsoft.com/office/drawing/2014/main" id="{EF198B5B-7741-4E18-95B1-051112F7588B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5" name="Полилиния 416">
              <a:extLst>
                <a:ext uri="{FF2B5EF4-FFF2-40B4-BE49-F238E27FC236}">
                  <a16:creationId xmlns:a16="http://schemas.microsoft.com/office/drawing/2014/main" id="{20791FAE-1B16-4B7E-AEE0-F9C858B3FC7D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6" name="Прямоугольник 435">
              <a:extLst>
                <a:ext uri="{FF2B5EF4-FFF2-40B4-BE49-F238E27FC236}">
                  <a16:creationId xmlns:a16="http://schemas.microsoft.com/office/drawing/2014/main" id="{C74C1882-7D46-4D5F-9947-6C1016E707A5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37" name="Прямоугольник 436">
              <a:extLst>
                <a:ext uri="{FF2B5EF4-FFF2-40B4-BE49-F238E27FC236}">
                  <a16:creationId xmlns:a16="http://schemas.microsoft.com/office/drawing/2014/main" id="{09745DB7-F6D2-49E1-8AAA-6E21715110BD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438" name="Группа 437">
            <a:extLst>
              <a:ext uri="{FF2B5EF4-FFF2-40B4-BE49-F238E27FC236}">
                <a16:creationId xmlns:a16="http://schemas.microsoft.com/office/drawing/2014/main" id="{76D3E5BF-CD26-40A5-9718-736EB2FB9EAE}"/>
              </a:ext>
            </a:extLst>
          </p:cNvPr>
          <p:cNvGrpSpPr/>
          <p:nvPr/>
        </p:nvGrpSpPr>
        <p:grpSpPr>
          <a:xfrm>
            <a:off x="3396884" y="4140479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39" name="Полилиния 410">
              <a:extLst>
                <a:ext uri="{FF2B5EF4-FFF2-40B4-BE49-F238E27FC236}">
                  <a16:creationId xmlns:a16="http://schemas.microsoft.com/office/drawing/2014/main" id="{6DE74992-1278-4770-8F3C-7A55368CB9D7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40" name="Прямоугольник 439">
              <a:extLst>
                <a:ext uri="{FF2B5EF4-FFF2-40B4-BE49-F238E27FC236}">
                  <a16:creationId xmlns:a16="http://schemas.microsoft.com/office/drawing/2014/main" id="{543E683A-1F3F-4EE2-B509-15A7C2696C95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1" name="Прямоугольник 440">
              <a:extLst>
                <a:ext uri="{FF2B5EF4-FFF2-40B4-BE49-F238E27FC236}">
                  <a16:creationId xmlns:a16="http://schemas.microsoft.com/office/drawing/2014/main" id="{08DED809-0D55-47A6-AB11-84E89AB18A60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2" name="Прямоугольник 441">
              <a:extLst>
                <a:ext uri="{FF2B5EF4-FFF2-40B4-BE49-F238E27FC236}">
                  <a16:creationId xmlns:a16="http://schemas.microsoft.com/office/drawing/2014/main" id="{1E0C6CF3-D412-44AA-AC9F-696AFBC3F4EA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3" name="Прямоугольник 442">
              <a:extLst>
                <a:ext uri="{FF2B5EF4-FFF2-40B4-BE49-F238E27FC236}">
                  <a16:creationId xmlns:a16="http://schemas.microsoft.com/office/drawing/2014/main" id="{53068E7B-474B-4075-954C-980D840E6D12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4" name="Прямоугольник 443">
              <a:extLst>
                <a:ext uri="{FF2B5EF4-FFF2-40B4-BE49-F238E27FC236}">
                  <a16:creationId xmlns:a16="http://schemas.microsoft.com/office/drawing/2014/main" id="{B40E8AFF-1EB8-41F8-B504-D7C3C2318A72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5" name="Полилиния 416">
              <a:extLst>
                <a:ext uri="{FF2B5EF4-FFF2-40B4-BE49-F238E27FC236}">
                  <a16:creationId xmlns:a16="http://schemas.microsoft.com/office/drawing/2014/main" id="{5FE6B42A-DB65-4348-B4E3-323734973AD0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6" name="Прямоугольник 445">
              <a:extLst>
                <a:ext uri="{FF2B5EF4-FFF2-40B4-BE49-F238E27FC236}">
                  <a16:creationId xmlns:a16="http://schemas.microsoft.com/office/drawing/2014/main" id="{1149C7F3-DD71-4605-AAD7-45BE8AEA8274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47" name="Прямоугольник 446">
              <a:extLst>
                <a:ext uri="{FF2B5EF4-FFF2-40B4-BE49-F238E27FC236}">
                  <a16:creationId xmlns:a16="http://schemas.microsoft.com/office/drawing/2014/main" id="{106B12AC-CF80-4290-8C14-0550D01816D2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448" name="Группа 447">
            <a:extLst>
              <a:ext uri="{FF2B5EF4-FFF2-40B4-BE49-F238E27FC236}">
                <a16:creationId xmlns:a16="http://schemas.microsoft.com/office/drawing/2014/main" id="{2C32E4E8-3547-4685-949A-E7742902536F}"/>
              </a:ext>
            </a:extLst>
          </p:cNvPr>
          <p:cNvGrpSpPr/>
          <p:nvPr/>
        </p:nvGrpSpPr>
        <p:grpSpPr>
          <a:xfrm>
            <a:off x="2675348" y="3565328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49" name="Полилиния 410">
              <a:extLst>
                <a:ext uri="{FF2B5EF4-FFF2-40B4-BE49-F238E27FC236}">
                  <a16:creationId xmlns:a16="http://schemas.microsoft.com/office/drawing/2014/main" id="{4C96B930-4071-40D6-8121-E5C215B5561D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50" name="Прямоугольник 449">
              <a:extLst>
                <a:ext uri="{FF2B5EF4-FFF2-40B4-BE49-F238E27FC236}">
                  <a16:creationId xmlns:a16="http://schemas.microsoft.com/office/drawing/2014/main" id="{04ABB5E0-FE12-42D6-A9C3-2E180E218D54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1" name="Прямоугольник 450">
              <a:extLst>
                <a:ext uri="{FF2B5EF4-FFF2-40B4-BE49-F238E27FC236}">
                  <a16:creationId xmlns:a16="http://schemas.microsoft.com/office/drawing/2014/main" id="{FF091A38-537E-452D-BFA5-845C36D0D54C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2" name="Прямоугольник 451">
              <a:extLst>
                <a:ext uri="{FF2B5EF4-FFF2-40B4-BE49-F238E27FC236}">
                  <a16:creationId xmlns:a16="http://schemas.microsoft.com/office/drawing/2014/main" id="{666A424B-9921-4006-BD1A-C80AB509EE80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3" name="Прямоугольник 452">
              <a:extLst>
                <a:ext uri="{FF2B5EF4-FFF2-40B4-BE49-F238E27FC236}">
                  <a16:creationId xmlns:a16="http://schemas.microsoft.com/office/drawing/2014/main" id="{FBAF8B1D-1523-4E5A-8EA5-017FD663E7AA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4" name="Прямоугольник 453">
              <a:extLst>
                <a:ext uri="{FF2B5EF4-FFF2-40B4-BE49-F238E27FC236}">
                  <a16:creationId xmlns:a16="http://schemas.microsoft.com/office/drawing/2014/main" id="{F2302C2A-8363-4D54-B136-D4112C49F7C9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5" name="Полилиния 416">
              <a:extLst>
                <a:ext uri="{FF2B5EF4-FFF2-40B4-BE49-F238E27FC236}">
                  <a16:creationId xmlns:a16="http://schemas.microsoft.com/office/drawing/2014/main" id="{0D5422D1-B56F-4F56-8AFF-190A28588D5A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6" name="Прямоугольник 455">
              <a:extLst>
                <a:ext uri="{FF2B5EF4-FFF2-40B4-BE49-F238E27FC236}">
                  <a16:creationId xmlns:a16="http://schemas.microsoft.com/office/drawing/2014/main" id="{A84F2CF8-A7C3-411A-B659-23B6327E4CFC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57" name="Прямоугольник 456">
              <a:extLst>
                <a:ext uri="{FF2B5EF4-FFF2-40B4-BE49-F238E27FC236}">
                  <a16:creationId xmlns:a16="http://schemas.microsoft.com/office/drawing/2014/main" id="{4D5405C1-E978-4F49-9E61-D9AB4D34A1A8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458" name="Группа 457">
            <a:extLst>
              <a:ext uri="{FF2B5EF4-FFF2-40B4-BE49-F238E27FC236}">
                <a16:creationId xmlns:a16="http://schemas.microsoft.com/office/drawing/2014/main" id="{E10253AF-C3A0-4400-9B08-681CBA8857DF}"/>
              </a:ext>
            </a:extLst>
          </p:cNvPr>
          <p:cNvGrpSpPr/>
          <p:nvPr/>
        </p:nvGrpSpPr>
        <p:grpSpPr>
          <a:xfrm>
            <a:off x="4079708" y="4051045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59" name="Полилиния 410">
              <a:extLst>
                <a:ext uri="{FF2B5EF4-FFF2-40B4-BE49-F238E27FC236}">
                  <a16:creationId xmlns:a16="http://schemas.microsoft.com/office/drawing/2014/main" id="{F2FC1053-369F-4797-97F8-E420D5CB0D38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60" name="Прямоугольник 459">
              <a:extLst>
                <a:ext uri="{FF2B5EF4-FFF2-40B4-BE49-F238E27FC236}">
                  <a16:creationId xmlns:a16="http://schemas.microsoft.com/office/drawing/2014/main" id="{DFCE9F37-1805-43EA-8313-F0BED2640269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1" name="Прямоугольник 460">
              <a:extLst>
                <a:ext uri="{FF2B5EF4-FFF2-40B4-BE49-F238E27FC236}">
                  <a16:creationId xmlns:a16="http://schemas.microsoft.com/office/drawing/2014/main" id="{D45A9B3D-BF87-409B-9F31-8DE6D651EBB5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2" name="Прямоугольник 461">
              <a:extLst>
                <a:ext uri="{FF2B5EF4-FFF2-40B4-BE49-F238E27FC236}">
                  <a16:creationId xmlns:a16="http://schemas.microsoft.com/office/drawing/2014/main" id="{61D1BDF1-A8F1-4EDD-984A-C5DE78596D59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3" name="Прямоугольник 462">
              <a:extLst>
                <a:ext uri="{FF2B5EF4-FFF2-40B4-BE49-F238E27FC236}">
                  <a16:creationId xmlns:a16="http://schemas.microsoft.com/office/drawing/2014/main" id="{63327A79-4C7F-450D-B07B-B10B88CE5DDD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4" name="Прямоугольник 463">
              <a:extLst>
                <a:ext uri="{FF2B5EF4-FFF2-40B4-BE49-F238E27FC236}">
                  <a16:creationId xmlns:a16="http://schemas.microsoft.com/office/drawing/2014/main" id="{5D123C10-A859-44BA-8AD3-F1CD29129177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5" name="Полилиния 416">
              <a:extLst>
                <a:ext uri="{FF2B5EF4-FFF2-40B4-BE49-F238E27FC236}">
                  <a16:creationId xmlns:a16="http://schemas.microsoft.com/office/drawing/2014/main" id="{DDD40D65-08F4-4AB7-8AAF-1B84BE81CB0F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6" name="Прямоугольник 465">
              <a:extLst>
                <a:ext uri="{FF2B5EF4-FFF2-40B4-BE49-F238E27FC236}">
                  <a16:creationId xmlns:a16="http://schemas.microsoft.com/office/drawing/2014/main" id="{C2ABCE9B-9BE5-4EA4-B632-649B25669DDF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67" name="Прямоугольник 466">
              <a:extLst>
                <a:ext uri="{FF2B5EF4-FFF2-40B4-BE49-F238E27FC236}">
                  <a16:creationId xmlns:a16="http://schemas.microsoft.com/office/drawing/2014/main" id="{8C560020-EABF-42BF-9BB2-22C86481C24E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468" name="Полилиния 273">
            <a:extLst>
              <a:ext uri="{FF2B5EF4-FFF2-40B4-BE49-F238E27FC236}">
                <a16:creationId xmlns:a16="http://schemas.microsoft.com/office/drawing/2014/main" id="{4F6568C2-C456-42D7-B1D7-636CF7091B02}"/>
              </a:ext>
            </a:extLst>
          </p:cNvPr>
          <p:cNvSpPr/>
          <p:nvPr/>
        </p:nvSpPr>
        <p:spPr>
          <a:xfrm>
            <a:off x="1904111" y="3892260"/>
            <a:ext cx="567455" cy="352427"/>
          </a:xfrm>
          <a:custGeom>
            <a:avLst/>
            <a:gdLst>
              <a:gd name="connsiteX0" fmla="*/ 338137 w 1740693"/>
              <a:gd name="connsiteY0" fmla="*/ 292893 h 1081087"/>
              <a:gd name="connsiteX1" fmla="*/ 0 w 1740693"/>
              <a:gd name="connsiteY1" fmla="*/ 638175 h 1081087"/>
              <a:gd name="connsiteX2" fmla="*/ 354806 w 1740693"/>
              <a:gd name="connsiteY2" fmla="*/ 1081087 h 1081087"/>
              <a:gd name="connsiteX3" fmla="*/ 481012 w 1740693"/>
              <a:gd name="connsiteY3" fmla="*/ 981075 h 1081087"/>
              <a:gd name="connsiteX4" fmla="*/ 433387 w 1740693"/>
              <a:gd name="connsiteY4" fmla="*/ 766762 h 1081087"/>
              <a:gd name="connsiteX5" fmla="*/ 850106 w 1740693"/>
              <a:gd name="connsiteY5" fmla="*/ 590550 h 1081087"/>
              <a:gd name="connsiteX6" fmla="*/ 1045368 w 1740693"/>
              <a:gd name="connsiteY6" fmla="*/ 635793 h 1081087"/>
              <a:gd name="connsiteX7" fmla="*/ 1173956 w 1740693"/>
              <a:gd name="connsiteY7" fmla="*/ 762000 h 1081087"/>
              <a:gd name="connsiteX8" fmla="*/ 1452562 w 1740693"/>
              <a:gd name="connsiteY8" fmla="*/ 571500 h 1081087"/>
              <a:gd name="connsiteX9" fmla="*/ 1535906 w 1740693"/>
              <a:gd name="connsiteY9" fmla="*/ 411956 h 1081087"/>
              <a:gd name="connsiteX10" fmla="*/ 1740693 w 1740693"/>
              <a:gd name="connsiteY10" fmla="*/ 311943 h 1081087"/>
              <a:gd name="connsiteX11" fmla="*/ 1738312 w 1740693"/>
              <a:gd name="connsiteY11" fmla="*/ 128587 h 1081087"/>
              <a:gd name="connsiteX12" fmla="*/ 892968 w 1740693"/>
              <a:gd name="connsiteY12" fmla="*/ 0 h 1081087"/>
              <a:gd name="connsiteX13" fmla="*/ 819150 w 1740693"/>
              <a:gd name="connsiteY13" fmla="*/ 59531 h 1081087"/>
              <a:gd name="connsiteX14" fmla="*/ 821531 w 1740693"/>
              <a:gd name="connsiteY14" fmla="*/ 314325 h 1081087"/>
              <a:gd name="connsiteX15" fmla="*/ 338137 w 1740693"/>
              <a:gd name="connsiteY15" fmla="*/ 292893 h 108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40693" h="1081087">
                <a:moveTo>
                  <a:pt x="338137" y="292893"/>
                </a:moveTo>
                <a:lnTo>
                  <a:pt x="0" y="638175"/>
                </a:lnTo>
                <a:lnTo>
                  <a:pt x="354806" y="1081087"/>
                </a:lnTo>
                <a:lnTo>
                  <a:pt x="481012" y="981075"/>
                </a:lnTo>
                <a:lnTo>
                  <a:pt x="433387" y="766762"/>
                </a:lnTo>
                <a:lnTo>
                  <a:pt x="850106" y="590550"/>
                </a:lnTo>
                <a:lnTo>
                  <a:pt x="1045368" y="635793"/>
                </a:lnTo>
                <a:lnTo>
                  <a:pt x="1173956" y="762000"/>
                </a:lnTo>
                <a:lnTo>
                  <a:pt x="1452562" y="571500"/>
                </a:lnTo>
                <a:lnTo>
                  <a:pt x="1535906" y="411956"/>
                </a:lnTo>
                <a:lnTo>
                  <a:pt x="1740693" y="311943"/>
                </a:lnTo>
                <a:cubicBezTo>
                  <a:pt x="1739899" y="250824"/>
                  <a:pt x="1739106" y="189706"/>
                  <a:pt x="1738312" y="128587"/>
                </a:cubicBezTo>
                <a:lnTo>
                  <a:pt x="892968" y="0"/>
                </a:lnTo>
                <a:lnTo>
                  <a:pt x="819150" y="59531"/>
                </a:lnTo>
                <a:cubicBezTo>
                  <a:pt x="819944" y="144462"/>
                  <a:pt x="820737" y="229394"/>
                  <a:pt x="821531" y="314325"/>
                </a:cubicBezTo>
                <a:lnTo>
                  <a:pt x="338137" y="292893"/>
                </a:lnTo>
                <a:close/>
              </a:path>
            </a:pathLst>
          </a:custGeom>
          <a:solidFill>
            <a:srgbClr val="2D4B7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schemeClr val="tx1"/>
              </a:solidFill>
            </a:endParaRPr>
          </a:p>
        </p:txBody>
      </p:sp>
      <p:sp>
        <p:nvSpPr>
          <p:cNvPr id="469" name="TextBox 468">
            <a:extLst>
              <a:ext uri="{FF2B5EF4-FFF2-40B4-BE49-F238E27FC236}">
                <a16:creationId xmlns:a16="http://schemas.microsoft.com/office/drawing/2014/main" id="{C1F2507C-2E6F-4140-9D97-0D50E017DD4A}"/>
              </a:ext>
            </a:extLst>
          </p:cNvPr>
          <p:cNvSpPr txBox="1"/>
          <p:nvPr/>
        </p:nvSpPr>
        <p:spPr>
          <a:xfrm>
            <a:off x="1407901" y="3833330"/>
            <a:ext cx="71814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1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dirty="0">
                <a:solidFill>
                  <a:srgbClr val="2D4B70"/>
                </a:solidFill>
              </a:rPr>
              <a:t>КАШАГАН</a:t>
            </a:r>
          </a:p>
        </p:txBody>
      </p:sp>
      <p:sp>
        <p:nvSpPr>
          <p:cNvPr id="470" name="TextBox 469">
            <a:extLst>
              <a:ext uri="{FF2B5EF4-FFF2-40B4-BE49-F238E27FC236}">
                <a16:creationId xmlns:a16="http://schemas.microsoft.com/office/drawing/2014/main" id="{6AE4DFE1-1CB9-4F28-95E6-BD9C3605EE58}"/>
              </a:ext>
            </a:extLst>
          </p:cNvPr>
          <p:cNvSpPr txBox="1"/>
          <p:nvPr/>
        </p:nvSpPr>
        <p:spPr>
          <a:xfrm>
            <a:off x="2968090" y="3920296"/>
            <a:ext cx="55303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100" b="1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dirty="0"/>
              <a:t>ТЕНГИЗ</a:t>
            </a:r>
          </a:p>
        </p:txBody>
      </p:sp>
      <p:grpSp>
        <p:nvGrpSpPr>
          <p:cNvPr id="471" name="Группа 470">
            <a:extLst>
              <a:ext uri="{FF2B5EF4-FFF2-40B4-BE49-F238E27FC236}">
                <a16:creationId xmlns:a16="http://schemas.microsoft.com/office/drawing/2014/main" id="{A6AE1731-E317-412F-A1FF-8F50D987DD04}"/>
              </a:ext>
            </a:extLst>
          </p:cNvPr>
          <p:cNvGrpSpPr/>
          <p:nvPr/>
        </p:nvGrpSpPr>
        <p:grpSpPr>
          <a:xfrm>
            <a:off x="2472581" y="5422539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72" name="Полилиния 410">
              <a:extLst>
                <a:ext uri="{FF2B5EF4-FFF2-40B4-BE49-F238E27FC236}">
                  <a16:creationId xmlns:a16="http://schemas.microsoft.com/office/drawing/2014/main" id="{036713D4-992E-4F94-B697-44347AD42ECB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73" name="Прямоугольник 472">
              <a:extLst>
                <a:ext uri="{FF2B5EF4-FFF2-40B4-BE49-F238E27FC236}">
                  <a16:creationId xmlns:a16="http://schemas.microsoft.com/office/drawing/2014/main" id="{CF2673C3-0D4E-4468-898F-F51B9990258C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74" name="Прямоугольник 473">
              <a:extLst>
                <a:ext uri="{FF2B5EF4-FFF2-40B4-BE49-F238E27FC236}">
                  <a16:creationId xmlns:a16="http://schemas.microsoft.com/office/drawing/2014/main" id="{758C9C2A-BF1E-4C4E-9127-4BB5271A2170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75" name="Прямоугольник 474">
              <a:extLst>
                <a:ext uri="{FF2B5EF4-FFF2-40B4-BE49-F238E27FC236}">
                  <a16:creationId xmlns:a16="http://schemas.microsoft.com/office/drawing/2014/main" id="{A4EB396C-42D4-45E9-85C1-8F0CA309628F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76" name="Прямоугольник 475">
              <a:extLst>
                <a:ext uri="{FF2B5EF4-FFF2-40B4-BE49-F238E27FC236}">
                  <a16:creationId xmlns:a16="http://schemas.microsoft.com/office/drawing/2014/main" id="{357FEB36-B011-4B2A-B0CD-CF7D8476C472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77" name="Прямоугольник 476">
              <a:extLst>
                <a:ext uri="{FF2B5EF4-FFF2-40B4-BE49-F238E27FC236}">
                  <a16:creationId xmlns:a16="http://schemas.microsoft.com/office/drawing/2014/main" id="{F90C4617-90EF-48FE-888E-E52F7F98F866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78" name="Полилиния 416">
              <a:extLst>
                <a:ext uri="{FF2B5EF4-FFF2-40B4-BE49-F238E27FC236}">
                  <a16:creationId xmlns:a16="http://schemas.microsoft.com/office/drawing/2014/main" id="{D3B3F173-A3CA-4BF8-9033-6C422155AE12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79" name="Прямоугольник 478">
              <a:extLst>
                <a:ext uri="{FF2B5EF4-FFF2-40B4-BE49-F238E27FC236}">
                  <a16:creationId xmlns:a16="http://schemas.microsoft.com/office/drawing/2014/main" id="{4A1FA739-2925-4352-94B8-DDDF4B29A4A7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80" name="Прямоугольник 479">
              <a:extLst>
                <a:ext uri="{FF2B5EF4-FFF2-40B4-BE49-F238E27FC236}">
                  <a16:creationId xmlns:a16="http://schemas.microsoft.com/office/drawing/2014/main" id="{04DD3345-0CB2-4C19-B6EF-7A754D2E6737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481" name="Овал 480">
            <a:extLst>
              <a:ext uri="{FF2B5EF4-FFF2-40B4-BE49-F238E27FC236}">
                <a16:creationId xmlns:a16="http://schemas.microsoft.com/office/drawing/2014/main" id="{525515CE-BD04-40A7-A453-FD5704C7BC74}"/>
              </a:ext>
            </a:extLst>
          </p:cNvPr>
          <p:cNvSpPr/>
          <p:nvPr/>
        </p:nvSpPr>
        <p:spPr>
          <a:xfrm>
            <a:off x="2126170" y="5387118"/>
            <a:ext cx="127259" cy="12725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B3B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B3346617-04AF-48A9-8502-515B96C94F34}"/>
              </a:ext>
            </a:extLst>
          </p:cNvPr>
          <p:cNvSpPr txBox="1"/>
          <p:nvPr/>
        </p:nvSpPr>
        <p:spPr>
          <a:xfrm>
            <a:off x="1768407" y="5244292"/>
            <a:ext cx="46647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АКТАУ</a:t>
            </a:r>
            <a:endParaRPr lang="ru-RU" sz="700" dirty="0"/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9E4DEB33-BFF8-4597-87E7-328124C6CF07}"/>
              </a:ext>
            </a:extLst>
          </p:cNvPr>
          <p:cNvSpPr txBox="1"/>
          <p:nvPr/>
        </p:nvSpPr>
        <p:spPr>
          <a:xfrm>
            <a:off x="5735686" y="2762538"/>
            <a:ext cx="21424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 b="1" i="1">
                <a:solidFill>
                  <a:schemeClr val="accent2">
                    <a:lumMod val="75000"/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Южно-Тургайский бассейн</a:t>
            </a:r>
          </a:p>
          <a:p>
            <a:r>
              <a:rPr lang="ru-RU" sz="900" b="0" dirty="0"/>
              <a:t>Прогнозные ресурсы </a:t>
            </a:r>
            <a:r>
              <a:rPr lang="ru-RU" sz="900" dirty="0"/>
              <a:t>597,8 млрд.м</a:t>
            </a:r>
            <a:r>
              <a:rPr lang="ru-RU" sz="900" baseline="30000" dirty="0"/>
              <a:t>3</a:t>
            </a:r>
          </a:p>
          <a:p>
            <a:r>
              <a:rPr lang="kk-KZ" sz="900" b="0" dirty="0"/>
              <a:t>Извлекаемые запасы </a:t>
            </a:r>
            <a:r>
              <a:rPr lang="ru-RU" sz="900" dirty="0"/>
              <a:t>52,9 млрд.м</a:t>
            </a:r>
            <a:r>
              <a:rPr lang="ru-RU" sz="900" baseline="30000" dirty="0"/>
              <a:t>3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BB17F54B-9166-41BB-B53B-E994CDB66E12}"/>
              </a:ext>
            </a:extLst>
          </p:cNvPr>
          <p:cNvSpPr txBox="1"/>
          <p:nvPr/>
        </p:nvSpPr>
        <p:spPr>
          <a:xfrm>
            <a:off x="4540571" y="3698275"/>
            <a:ext cx="1874233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 b="1" i="1">
                <a:solidFill>
                  <a:schemeClr val="accent2">
                    <a:lumMod val="75000"/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err="1"/>
              <a:t>Аральский</a:t>
            </a:r>
            <a:r>
              <a:rPr lang="ru-RU" dirty="0"/>
              <a:t> бассейн</a:t>
            </a:r>
          </a:p>
          <a:p>
            <a:r>
              <a:rPr lang="ru-RU" sz="900" b="0" dirty="0"/>
              <a:t>Прогнозные ресурсы </a:t>
            </a:r>
            <a:r>
              <a:rPr lang="ru-RU" sz="900" dirty="0"/>
              <a:t>3,2 млрд.м</a:t>
            </a:r>
            <a:r>
              <a:rPr lang="ru-RU" sz="900" baseline="30000" dirty="0"/>
              <a:t>3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120BFC6A-8F4E-4B85-A80A-6F9CBD8C23C7}"/>
              </a:ext>
            </a:extLst>
          </p:cNvPr>
          <p:cNvSpPr txBox="1"/>
          <p:nvPr/>
        </p:nvSpPr>
        <p:spPr>
          <a:xfrm>
            <a:off x="8586293" y="4543548"/>
            <a:ext cx="206265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 b="1" i="1">
                <a:solidFill>
                  <a:schemeClr val="accent2">
                    <a:lumMod val="75000"/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Шу-</a:t>
            </a:r>
            <a:r>
              <a:rPr lang="ru-RU" dirty="0" err="1"/>
              <a:t>Сарысуйский</a:t>
            </a:r>
            <a:r>
              <a:rPr lang="ru-RU" dirty="0"/>
              <a:t> бассейн</a:t>
            </a:r>
          </a:p>
          <a:p>
            <a:r>
              <a:rPr lang="ru-RU" sz="900" b="0" dirty="0"/>
              <a:t>Прогнозные ресурсы </a:t>
            </a:r>
            <a:r>
              <a:rPr lang="ru-RU" sz="900" dirty="0"/>
              <a:t>3,7 трлн.м</a:t>
            </a:r>
            <a:r>
              <a:rPr lang="ru-RU" sz="900" baseline="30000" dirty="0"/>
              <a:t>3</a:t>
            </a:r>
          </a:p>
          <a:p>
            <a:r>
              <a:rPr lang="kk-KZ" sz="900" b="0" dirty="0"/>
              <a:t>Извлекаемые запасы </a:t>
            </a:r>
            <a:r>
              <a:rPr lang="ru-RU" sz="900" dirty="0"/>
              <a:t>42,7 млрд.м</a:t>
            </a:r>
            <a:r>
              <a:rPr lang="ru-RU" sz="900" baseline="30000" dirty="0"/>
              <a:t>3</a:t>
            </a:r>
          </a:p>
        </p:txBody>
      </p:sp>
      <p:grpSp>
        <p:nvGrpSpPr>
          <p:cNvPr id="486" name="Группа 485">
            <a:extLst>
              <a:ext uri="{FF2B5EF4-FFF2-40B4-BE49-F238E27FC236}">
                <a16:creationId xmlns:a16="http://schemas.microsoft.com/office/drawing/2014/main" id="{484A4D44-E8EA-4EEC-81EC-FFCCBBE21C70}"/>
              </a:ext>
            </a:extLst>
          </p:cNvPr>
          <p:cNvGrpSpPr/>
          <p:nvPr/>
        </p:nvGrpSpPr>
        <p:grpSpPr>
          <a:xfrm>
            <a:off x="7405953" y="3752676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87" name="Полилиния 410">
              <a:extLst>
                <a:ext uri="{FF2B5EF4-FFF2-40B4-BE49-F238E27FC236}">
                  <a16:creationId xmlns:a16="http://schemas.microsoft.com/office/drawing/2014/main" id="{CB69F9CD-EF01-409E-A076-740DCB606857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488" name="Прямоугольник 487">
              <a:extLst>
                <a:ext uri="{FF2B5EF4-FFF2-40B4-BE49-F238E27FC236}">
                  <a16:creationId xmlns:a16="http://schemas.microsoft.com/office/drawing/2014/main" id="{E775EA8F-60BE-4366-98CE-6DCD0083677F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89" name="Прямоугольник 488">
              <a:extLst>
                <a:ext uri="{FF2B5EF4-FFF2-40B4-BE49-F238E27FC236}">
                  <a16:creationId xmlns:a16="http://schemas.microsoft.com/office/drawing/2014/main" id="{1228F0FF-4A67-48BE-B85D-018D420D91FE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90" name="Прямоугольник 489">
              <a:extLst>
                <a:ext uri="{FF2B5EF4-FFF2-40B4-BE49-F238E27FC236}">
                  <a16:creationId xmlns:a16="http://schemas.microsoft.com/office/drawing/2014/main" id="{16104C59-ABAD-4DAA-B8DB-0E62DDF595C4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91" name="Прямоугольник 490">
              <a:extLst>
                <a:ext uri="{FF2B5EF4-FFF2-40B4-BE49-F238E27FC236}">
                  <a16:creationId xmlns:a16="http://schemas.microsoft.com/office/drawing/2014/main" id="{9A92DE73-E48A-4F00-877C-7F3CF9A4EAC8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92" name="Прямоугольник 491">
              <a:extLst>
                <a:ext uri="{FF2B5EF4-FFF2-40B4-BE49-F238E27FC236}">
                  <a16:creationId xmlns:a16="http://schemas.microsoft.com/office/drawing/2014/main" id="{F157D536-027E-4529-B4EF-B3CB65BF1B04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93" name="Полилиния 416">
              <a:extLst>
                <a:ext uri="{FF2B5EF4-FFF2-40B4-BE49-F238E27FC236}">
                  <a16:creationId xmlns:a16="http://schemas.microsoft.com/office/drawing/2014/main" id="{5938DBB0-2F1C-4957-88B2-F141D87ECB7D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94" name="Прямоугольник 493">
              <a:extLst>
                <a:ext uri="{FF2B5EF4-FFF2-40B4-BE49-F238E27FC236}">
                  <a16:creationId xmlns:a16="http://schemas.microsoft.com/office/drawing/2014/main" id="{CA16F31A-8C7E-45DE-A58E-C5CA9648CFD1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495" name="Прямоугольник 494">
              <a:extLst>
                <a:ext uri="{FF2B5EF4-FFF2-40B4-BE49-F238E27FC236}">
                  <a16:creationId xmlns:a16="http://schemas.microsoft.com/office/drawing/2014/main" id="{011E4B40-9A75-4A3F-B8C6-D39BC8A677EA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496" name="Овал 495">
            <a:extLst>
              <a:ext uri="{FF2B5EF4-FFF2-40B4-BE49-F238E27FC236}">
                <a16:creationId xmlns:a16="http://schemas.microsoft.com/office/drawing/2014/main" id="{99672F84-D525-4DB9-9E1E-D857CFCD634A}"/>
              </a:ext>
            </a:extLst>
          </p:cNvPr>
          <p:cNvSpPr/>
          <p:nvPr/>
        </p:nvSpPr>
        <p:spPr>
          <a:xfrm>
            <a:off x="7203272" y="4315953"/>
            <a:ext cx="127259" cy="12725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B3B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18F2E67A-06DD-4C7D-ABE6-FF330A455629}"/>
              </a:ext>
            </a:extLst>
          </p:cNvPr>
          <p:cNvSpPr txBox="1"/>
          <p:nvPr/>
        </p:nvSpPr>
        <p:spPr>
          <a:xfrm>
            <a:off x="7028122" y="4504818"/>
            <a:ext cx="95699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КЫЗЫЛОРДА</a:t>
            </a:r>
            <a:endParaRPr lang="ru-RU" sz="700" dirty="0"/>
          </a:p>
        </p:txBody>
      </p:sp>
      <p:grpSp>
        <p:nvGrpSpPr>
          <p:cNvPr id="498" name="Группа 497">
            <a:extLst>
              <a:ext uri="{FF2B5EF4-FFF2-40B4-BE49-F238E27FC236}">
                <a16:creationId xmlns:a16="http://schemas.microsoft.com/office/drawing/2014/main" id="{DD4D6B4D-DD9D-496D-98FB-00FC1EDC730C}"/>
              </a:ext>
            </a:extLst>
          </p:cNvPr>
          <p:cNvGrpSpPr/>
          <p:nvPr/>
        </p:nvGrpSpPr>
        <p:grpSpPr>
          <a:xfrm>
            <a:off x="8974240" y="4986344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499" name="Полилиния 410">
              <a:extLst>
                <a:ext uri="{FF2B5EF4-FFF2-40B4-BE49-F238E27FC236}">
                  <a16:creationId xmlns:a16="http://schemas.microsoft.com/office/drawing/2014/main" id="{BE4177B6-06B2-45F0-88AF-895970130554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500" name="Прямоугольник 499">
              <a:extLst>
                <a:ext uri="{FF2B5EF4-FFF2-40B4-BE49-F238E27FC236}">
                  <a16:creationId xmlns:a16="http://schemas.microsoft.com/office/drawing/2014/main" id="{4469C6F8-CBAB-47A4-954F-B70836CA7F50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1" name="Прямоугольник 500">
              <a:extLst>
                <a:ext uri="{FF2B5EF4-FFF2-40B4-BE49-F238E27FC236}">
                  <a16:creationId xmlns:a16="http://schemas.microsoft.com/office/drawing/2014/main" id="{A1CBA570-D723-495D-9876-B97905291033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2" name="Прямоугольник 501">
              <a:extLst>
                <a:ext uri="{FF2B5EF4-FFF2-40B4-BE49-F238E27FC236}">
                  <a16:creationId xmlns:a16="http://schemas.microsoft.com/office/drawing/2014/main" id="{39CBE115-70EB-4D9A-B272-4B9D130E9EE2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3" name="Прямоугольник 502">
              <a:extLst>
                <a:ext uri="{FF2B5EF4-FFF2-40B4-BE49-F238E27FC236}">
                  <a16:creationId xmlns:a16="http://schemas.microsoft.com/office/drawing/2014/main" id="{BE7626F2-B3E5-4978-B84C-38CBF7C9DE1E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4" name="Прямоугольник 503">
              <a:extLst>
                <a:ext uri="{FF2B5EF4-FFF2-40B4-BE49-F238E27FC236}">
                  <a16:creationId xmlns:a16="http://schemas.microsoft.com/office/drawing/2014/main" id="{E1A00D8C-A776-42B6-85C4-992B181FBCAC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5" name="Полилиния 416">
              <a:extLst>
                <a:ext uri="{FF2B5EF4-FFF2-40B4-BE49-F238E27FC236}">
                  <a16:creationId xmlns:a16="http://schemas.microsoft.com/office/drawing/2014/main" id="{E4F1CF1D-95AA-4B33-BBFB-66C2941CBA5E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6" name="Прямоугольник 505">
              <a:extLst>
                <a:ext uri="{FF2B5EF4-FFF2-40B4-BE49-F238E27FC236}">
                  <a16:creationId xmlns:a16="http://schemas.microsoft.com/office/drawing/2014/main" id="{A1BDB446-A7A6-4199-8D18-6C6C509E031F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507" name="Прямоугольник 506">
              <a:extLst>
                <a:ext uri="{FF2B5EF4-FFF2-40B4-BE49-F238E27FC236}">
                  <a16:creationId xmlns:a16="http://schemas.microsoft.com/office/drawing/2014/main" id="{59933046-33A2-482B-A145-7AEC82DF4765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508" name="Овал 507">
            <a:extLst>
              <a:ext uri="{FF2B5EF4-FFF2-40B4-BE49-F238E27FC236}">
                <a16:creationId xmlns:a16="http://schemas.microsoft.com/office/drawing/2014/main" id="{CEA84A13-C908-47BA-ACFE-45C5F1B978D3}"/>
              </a:ext>
            </a:extLst>
          </p:cNvPr>
          <p:cNvSpPr/>
          <p:nvPr/>
        </p:nvSpPr>
        <p:spPr>
          <a:xfrm>
            <a:off x="8895688" y="5664322"/>
            <a:ext cx="127259" cy="12725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B3B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317DB8F8-DCAB-4176-8418-599DB7B21B2A}"/>
              </a:ext>
            </a:extLst>
          </p:cNvPr>
          <p:cNvSpPr txBox="1"/>
          <p:nvPr/>
        </p:nvSpPr>
        <p:spPr>
          <a:xfrm>
            <a:off x="8633512" y="5496898"/>
            <a:ext cx="47448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ТАРАЗ</a:t>
            </a:r>
            <a:endParaRPr lang="ru-RU" sz="700" dirty="0"/>
          </a:p>
        </p:txBody>
      </p:sp>
      <p:sp>
        <p:nvSpPr>
          <p:cNvPr id="510" name="Прямоугольник: скругленные углы 298">
            <a:extLst>
              <a:ext uri="{FF2B5EF4-FFF2-40B4-BE49-F238E27FC236}">
                <a16:creationId xmlns:a16="http://schemas.microsoft.com/office/drawing/2014/main" id="{2C5734D3-132F-451B-A5CA-186B27316E24}"/>
              </a:ext>
            </a:extLst>
          </p:cNvPr>
          <p:cNvSpPr/>
          <p:nvPr/>
        </p:nvSpPr>
        <p:spPr>
          <a:xfrm>
            <a:off x="8732003" y="805762"/>
            <a:ext cx="3242451" cy="259676"/>
          </a:xfrm>
          <a:prstGeom prst="roundRect">
            <a:avLst>
              <a:gd name="adj" fmla="val 22361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r>
              <a:rPr lang="ru-RU" sz="1000" b="1" dirty="0" smtClean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перерабатывающие </a:t>
            </a:r>
            <a:r>
              <a:rPr lang="ru-RU" sz="1000" b="1" smtClean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щности РК</a:t>
            </a:r>
            <a:endParaRPr lang="ru-RU" sz="1000" b="1" dirty="0">
              <a:solidFill>
                <a:srgbClr val="2D4B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6" name="Группа 345">
            <a:extLst>
              <a:ext uri="{FF2B5EF4-FFF2-40B4-BE49-F238E27FC236}">
                <a16:creationId xmlns:a16="http://schemas.microsoft.com/office/drawing/2014/main" id="{88BBD478-84AA-432D-96E9-CFB03E73B1DA}"/>
              </a:ext>
            </a:extLst>
          </p:cNvPr>
          <p:cNvGrpSpPr/>
          <p:nvPr/>
        </p:nvGrpSpPr>
        <p:grpSpPr>
          <a:xfrm>
            <a:off x="3984563" y="2709164"/>
            <a:ext cx="288738" cy="176605"/>
            <a:chOff x="2999690" y="193978"/>
            <a:chExt cx="123821" cy="116431"/>
          </a:xfrm>
          <a:solidFill>
            <a:schemeClr val="bg2">
              <a:lumMod val="75000"/>
            </a:schemeClr>
          </a:solidFill>
        </p:grpSpPr>
        <p:sp>
          <p:nvSpPr>
            <p:cNvPr id="347" name="Полилиния 410">
              <a:extLst>
                <a:ext uri="{FF2B5EF4-FFF2-40B4-BE49-F238E27FC236}">
                  <a16:creationId xmlns:a16="http://schemas.microsoft.com/office/drawing/2014/main" id="{1F034E9F-4471-4E9A-A9F2-D75250D383FE}"/>
                </a:ext>
              </a:extLst>
            </p:cNvPr>
            <p:cNvSpPr/>
            <p:nvPr/>
          </p:nvSpPr>
          <p:spPr>
            <a:xfrm>
              <a:off x="2999690" y="193978"/>
              <a:ext cx="123821" cy="116431"/>
            </a:xfrm>
            <a:custGeom>
              <a:avLst/>
              <a:gdLst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30956 w 797719"/>
                <a:gd name="connsiteY52" fmla="*/ 68341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3881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26256 w 797719"/>
                <a:gd name="connsiteY33" fmla="*/ 611981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38162 w 797719"/>
                <a:gd name="connsiteY33" fmla="*/ 61436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6256 w 797719"/>
                <a:gd name="connsiteY32" fmla="*/ 611981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35549 w 797719"/>
                <a:gd name="connsiteY32" fmla="*/ 618176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41744 w 797719"/>
                <a:gd name="connsiteY32" fmla="*/ 627469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31019 w 797719"/>
                <a:gd name="connsiteY31" fmla="*/ 533400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36556 w 797719"/>
                <a:gd name="connsiteY32" fmla="*/ 578295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9576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48947 w 797719"/>
                <a:gd name="connsiteY32" fmla="*/ 573649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33400 w 797719"/>
                <a:gd name="connsiteY28" fmla="*/ 514350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5306 w 797719"/>
                <a:gd name="connsiteY30" fmla="*/ 516731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5306 w 797719"/>
                <a:gd name="connsiteY29" fmla="*/ 516731 h 750094"/>
                <a:gd name="connsiteX30" fmla="*/ 544144 w 797719"/>
                <a:gd name="connsiteY30" fmla="*/ 508600 h 750094"/>
                <a:gd name="connsiteX31" fmla="*/ 541860 w 797719"/>
                <a:gd name="connsiteY31" fmla="*/ 536497 h 750094"/>
                <a:gd name="connsiteX32" fmla="*/ 525715 w 797719"/>
                <a:gd name="connsiteY32" fmla="*/ 536478 h 750094"/>
                <a:gd name="connsiteX33" fmla="*/ 529354 w 797719"/>
                <a:gd name="connsiteY33" fmla="*/ 624372 h 750094"/>
                <a:gd name="connsiteX34" fmla="*/ 576262 w 797719"/>
                <a:gd name="connsiteY34" fmla="*/ 621506 h 750094"/>
                <a:gd name="connsiteX35" fmla="*/ 576262 w 797719"/>
                <a:gd name="connsiteY35" fmla="*/ 519112 h 750094"/>
                <a:gd name="connsiteX36" fmla="*/ 585787 w 797719"/>
                <a:gd name="connsiteY36" fmla="*/ 507206 h 750094"/>
                <a:gd name="connsiteX37" fmla="*/ 611981 w 797719"/>
                <a:gd name="connsiteY37" fmla="*/ 497681 h 750094"/>
                <a:gd name="connsiteX38" fmla="*/ 616744 w 797719"/>
                <a:gd name="connsiteY38" fmla="*/ 26194 h 750094"/>
                <a:gd name="connsiteX39" fmla="*/ 626269 w 797719"/>
                <a:gd name="connsiteY39" fmla="*/ 7144 h 750094"/>
                <a:gd name="connsiteX40" fmla="*/ 661987 w 797719"/>
                <a:gd name="connsiteY40" fmla="*/ 7144 h 750094"/>
                <a:gd name="connsiteX41" fmla="*/ 678656 w 797719"/>
                <a:gd name="connsiteY41" fmla="*/ 26194 h 750094"/>
                <a:gd name="connsiteX42" fmla="*/ 681037 w 797719"/>
                <a:gd name="connsiteY42" fmla="*/ 495300 h 750094"/>
                <a:gd name="connsiteX43" fmla="*/ 714375 w 797719"/>
                <a:gd name="connsiteY43" fmla="*/ 495300 h 750094"/>
                <a:gd name="connsiteX44" fmla="*/ 709612 w 797719"/>
                <a:gd name="connsiteY44" fmla="*/ 16669 h 750094"/>
                <a:gd name="connsiteX45" fmla="*/ 719137 w 797719"/>
                <a:gd name="connsiteY45" fmla="*/ 2381 h 750094"/>
                <a:gd name="connsiteX46" fmla="*/ 757237 w 797719"/>
                <a:gd name="connsiteY46" fmla="*/ 0 h 750094"/>
                <a:gd name="connsiteX47" fmla="*/ 776287 w 797719"/>
                <a:gd name="connsiteY47" fmla="*/ 21431 h 750094"/>
                <a:gd name="connsiteX48" fmla="*/ 773906 w 797719"/>
                <a:gd name="connsiteY48" fmla="*/ 497681 h 750094"/>
                <a:gd name="connsiteX49" fmla="*/ 797719 w 797719"/>
                <a:gd name="connsiteY49" fmla="*/ 516731 h 750094"/>
                <a:gd name="connsiteX50" fmla="*/ 795337 w 797719"/>
                <a:gd name="connsiteY50" fmla="*/ 750094 h 750094"/>
                <a:gd name="connsiteX51" fmla="*/ 0 w 797719"/>
                <a:gd name="connsiteY51" fmla="*/ 747712 h 750094"/>
                <a:gd name="connsiteX52" fmla="*/ 0 w 797719"/>
                <a:gd name="connsiteY52" fmla="*/ 626269 h 750094"/>
                <a:gd name="connsiteX53" fmla="*/ 54769 w 797719"/>
                <a:gd name="connsiteY53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4144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1860 w 797719"/>
                <a:gd name="connsiteY30" fmla="*/ 53649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6467 w 797719"/>
                <a:gd name="connsiteY29" fmla="*/ 508600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35335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85787 w 797719"/>
                <a:gd name="connsiteY35" fmla="*/ 507206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262 w 797719"/>
                <a:gd name="connsiteY34" fmla="*/ 519112 h 750094"/>
                <a:gd name="connsiteX35" fmla="*/ 576494 w 797719"/>
                <a:gd name="connsiteY35" fmla="*/ 497914 h 750094"/>
                <a:gd name="connsiteX36" fmla="*/ 611981 w 797719"/>
                <a:gd name="connsiteY36" fmla="*/ 497681 h 750094"/>
                <a:gd name="connsiteX37" fmla="*/ 616744 w 797719"/>
                <a:gd name="connsiteY37" fmla="*/ 26194 h 750094"/>
                <a:gd name="connsiteX38" fmla="*/ 626269 w 797719"/>
                <a:gd name="connsiteY38" fmla="*/ 7144 h 750094"/>
                <a:gd name="connsiteX39" fmla="*/ 661987 w 797719"/>
                <a:gd name="connsiteY39" fmla="*/ 7144 h 750094"/>
                <a:gd name="connsiteX40" fmla="*/ 678656 w 797719"/>
                <a:gd name="connsiteY40" fmla="*/ 26194 h 750094"/>
                <a:gd name="connsiteX41" fmla="*/ 681037 w 797719"/>
                <a:gd name="connsiteY41" fmla="*/ 495300 h 750094"/>
                <a:gd name="connsiteX42" fmla="*/ 714375 w 797719"/>
                <a:gd name="connsiteY42" fmla="*/ 495300 h 750094"/>
                <a:gd name="connsiteX43" fmla="*/ 709612 w 797719"/>
                <a:gd name="connsiteY43" fmla="*/ 16669 h 750094"/>
                <a:gd name="connsiteX44" fmla="*/ 719137 w 797719"/>
                <a:gd name="connsiteY44" fmla="*/ 2381 h 750094"/>
                <a:gd name="connsiteX45" fmla="*/ 757237 w 797719"/>
                <a:gd name="connsiteY45" fmla="*/ 0 h 750094"/>
                <a:gd name="connsiteX46" fmla="*/ 776287 w 797719"/>
                <a:gd name="connsiteY46" fmla="*/ 21431 h 750094"/>
                <a:gd name="connsiteX47" fmla="*/ 773906 w 797719"/>
                <a:gd name="connsiteY47" fmla="*/ 497681 h 750094"/>
                <a:gd name="connsiteX48" fmla="*/ 797719 w 797719"/>
                <a:gd name="connsiteY48" fmla="*/ 516731 h 750094"/>
                <a:gd name="connsiteX49" fmla="*/ 795337 w 797719"/>
                <a:gd name="connsiteY49" fmla="*/ 750094 h 750094"/>
                <a:gd name="connsiteX50" fmla="*/ 0 w 797719"/>
                <a:gd name="connsiteY50" fmla="*/ 747712 h 750094"/>
                <a:gd name="connsiteX51" fmla="*/ 0 w 797719"/>
                <a:gd name="connsiteY51" fmla="*/ 626269 h 750094"/>
                <a:gd name="connsiteX52" fmla="*/ 54769 w 797719"/>
                <a:gd name="connsiteY52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9354 w 797719"/>
                <a:gd name="connsiteY32" fmla="*/ 624372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30516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7719"/>
                <a:gd name="connsiteY0" fmla="*/ 623887 h 750094"/>
                <a:gd name="connsiteX1" fmla="*/ 61912 w 797719"/>
                <a:gd name="connsiteY1" fmla="*/ 476250 h 750094"/>
                <a:gd name="connsiteX2" fmla="*/ 76200 w 797719"/>
                <a:gd name="connsiteY2" fmla="*/ 459581 h 750094"/>
                <a:gd name="connsiteX3" fmla="*/ 78581 w 797719"/>
                <a:gd name="connsiteY3" fmla="*/ 361950 h 750094"/>
                <a:gd name="connsiteX4" fmla="*/ 107156 w 797719"/>
                <a:gd name="connsiteY4" fmla="*/ 361950 h 750094"/>
                <a:gd name="connsiteX5" fmla="*/ 114300 w 797719"/>
                <a:gd name="connsiteY5" fmla="*/ 464344 h 750094"/>
                <a:gd name="connsiteX6" fmla="*/ 130969 w 797719"/>
                <a:gd name="connsiteY6" fmla="*/ 469106 h 750094"/>
                <a:gd name="connsiteX7" fmla="*/ 138112 w 797719"/>
                <a:gd name="connsiteY7" fmla="*/ 485775 h 750094"/>
                <a:gd name="connsiteX8" fmla="*/ 211931 w 797719"/>
                <a:gd name="connsiteY8" fmla="*/ 485775 h 750094"/>
                <a:gd name="connsiteX9" fmla="*/ 214312 w 797719"/>
                <a:gd name="connsiteY9" fmla="*/ 335756 h 750094"/>
                <a:gd name="connsiteX10" fmla="*/ 211931 w 797719"/>
                <a:gd name="connsiteY10" fmla="*/ 297656 h 750094"/>
                <a:gd name="connsiteX11" fmla="*/ 235744 w 797719"/>
                <a:gd name="connsiteY11" fmla="*/ 269081 h 750094"/>
                <a:gd name="connsiteX12" fmla="*/ 252412 w 797719"/>
                <a:gd name="connsiteY12" fmla="*/ 271462 h 750094"/>
                <a:gd name="connsiteX13" fmla="*/ 254794 w 797719"/>
                <a:gd name="connsiteY13" fmla="*/ 209550 h 750094"/>
                <a:gd name="connsiteX14" fmla="*/ 271462 w 797719"/>
                <a:gd name="connsiteY14" fmla="*/ 190500 h 750094"/>
                <a:gd name="connsiteX15" fmla="*/ 271462 w 797719"/>
                <a:gd name="connsiteY15" fmla="*/ 152400 h 750094"/>
                <a:gd name="connsiteX16" fmla="*/ 300037 w 797719"/>
                <a:gd name="connsiteY16" fmla="*/ 152400 h 750094"/>
                <a:gd name="connsiteX17" fmla="*/ 300037 w 797719"/>
                <a:gd name="connsiteY17" fmla="*/ 185737 h 750094"/>
                <a:gd name="connsiteX18" fmla="*/ 323850 w 797719"/>
                <a:gd name="connsiteY18" fmla="*/ 211931 h 750094"/>
                <a:gd name="connsiteX19" fmla="*/ 326231 w 797719"/>
                <a:gd name="connsiteY19" fmla="*/ 266700 h 750094"/>
                <a:gd name="connsiteX20" fmla="*/ 350044 w 797719"/>
                <a:gd name="connsiteY20" fmla="*/ 283369 h 750094"/>
                <a:gd name="connsiteX21" fmla="*/ 361950 w 797719"/>
                <a:gd name="connsiteY21" fmla="*/ 297656 h 750094"/>
                <a:gd name="connsiteX22" fmla="*/ 366712 w 797719"/>
                <a:gd name="connsiteY22" fmla="*/ 345281 h 750094"/>
                <a:gd name="connsiteX23" fmla="*/ 435769 w 797719"/>
                <a:gd name="connsiteY23" fmla="*/ 350044 h 750094"/>
                <a:gd name="connsiteX24" fmla="*/ 476250 w 797719"/>
                <a:gd name="connsiteY24" fmla="*/ 352425 h 750094"/>
                <a:gd name="connsiteX25" fmla="*/ 507206 w 797719"/>
                <a:gd name="connsiteY25" fmla="*/ 364331 h 750094"/>
                <a:gd name="connsiteX26" fmla="*/ 523875 w 797719"/>
                <a:gd name="connsiteY26" fmla="*/ 388144 h 750094"/>
                <a:gd name="connsiteX27" fmla="*/ 526256 w 797719"/>
                <a:gd name="connsiteY27" fmla="*/ 428625 h 750094"/>
                <a:gd name="connsiteX28" fmla="*/ 525269 w 797719"/>
                <a:gd name="connsiteY28" fmla="*/ 508542 h 750094"/>
                <a:gd name="connsiteX29" fmla="*/ 549952 w 797719"/>
                <a:gd name="connsiteY29" fmla="*/ 512085 h 750094"/>
                <a:gd name="connsiteX30" fmla="*/ 549991 w 797719"/>
                <a:gd name="connsiteY30" fmla="*/ 529527 h 750094"/>
                <a:gd name="connsiteX31" fmla="*/ 525715 w 797719"/>
                <a:gd name="connsiteY31" fmla="*/ 536478 h 750094"/>
                <a:gd name="connsiteX32" fmla="*/ 527031 w 797719"/>
                <a:gd name="connsiteY32" fmla="*/ 620887 h 750094"/>
                <a:gd name="connsiteX33" fmla="*/ 576262 w 797719"/>
                <a:gd name="connsiteY33" fmla="*/ 621506 h 750094"/>
                <a:gd name="connsiteX34" fmla="*/ 576494 w 797719"/>
                <a:gd name="connsiteY34" fmla="*/ 497914 h 750094"/>
                <a:gd name="connsiteX35" fmla="*/ 611981 w 797719"/>
                <a:gd name="connsiteY35" fmla="*/ 497681 h 750094"/>
                <a:gd name="connsiteX36" fmla="*/ 616744 w 797719"/>
                <a:gd name="connsiteY36" fmla="*/ 26194 h 750094"/>
                <a:gd name="connsiteX37" fmla="*/ 626269 w 797719"/>
                <a:gd name="connsiteY37" fmla="*/ 7144 h 750094"/>
                <a:gd name="connsiteX38" fmla="*/ 661987 w 797719"/>
                <a:gd name="connsiteY38" fmla="*/ 7144 h 750094"/>
                <a:gd name="connsiteX39" fmla="*/ 678656 w 797719"/>
                <a:gd name="connsiteY39" fmla="*/ 26194 h 750094"/>
                <a:gd name="connsiteX40" fmla="*/ 681037 w 797719"/>
                <a:gd name="connsiteY40" fmla="*/ 495300 h 750094"/>
                <a:gd name="connsiteX41" fmla="*/ 714375 w 797719"/>
                <a:gd name="connsiteY41" fmla="*/ 495300 h 750094"/>
                <a:gd name="connsiteX42" fmla="*/ 709612 w 797719"/>
                <a:gd name="connsiteY42" fmla="*/ 16669 h 750094"/>
                <a:gd name="connsiteX43" fmla="*/ 719137 w 797719"/>
                <a:gd name="connsiteY43" fmla="*/ 2381 h 750094"/>
                <a:gd name="connsiteX44" fmla="*/ 757237 w 797719"/>
                <a:gd name="connsiteY44" fmla="*/ 0 h 750094"/>
                <a:gd name="connsiteX45" fmla="*/ 776287 w 797719"/>
                <a:gd name="connsiteY45" fmla="*/ 21431 h 750094"/>
                <a:gd name="connsiteX46" fmla="*/ 773906 w 797719"/>
                <a:gd name="connsiteY46" fmla="*/ 497681 h 750094"/>
                <a:gd name="connsiteX47" fmla="*/ 797719 w 797719"/>
                <a:gd name="connsiteY47" fmla="*/ 516731 h 750094"/>
                <a:gd name="connsiteX48" fmla="*/ 795337 w 797719"/>
                <a:gd name="connsiteY48" fmla="*/ 750094 h 750094"/>
                <a:gd name="connsiteX49" fmla="*/ 0 w 797719"/>
                <a:gd name="connsiteY49" fmla="*/ 747712 h 750094"/>
                <a:gd name="connsiteX50" fmla="*/ 0 w 797719"/>
                <a:gd name="connsiteY50" fmla="*/ 626269 h 750094"/>
                <a:gd name="connsiteX51" fmla="*/ 54769 w 797719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35744 w 798880"/>
                <a:gd name="connsiteY11" fmla="*/ 269081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0044 w 798880"/>
                <a:gd name="connsiteY20" fmla="*/ 283369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6712 w 798880"/>
                <a:gd name="connsiteY22" fmla="*/ 345281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3887 h 750094"/>
                <a:gd name="connsiteX1" fmla="*/ 61912 w 798880"/>
                <a:gd name="connsiteY1" fmla="*/ 476250 h 750094"/>
                <a:gd name="connsiteX2" fmla="*/ 76200 w 798880"/>
                <a:gd name="connsiteY2" fmla="*/ 459581 h 750094"/>
                <a:gd name="connsiteX3" fmla="*/ 78581 w 798880"/>
                <a:gd name="connsiteY3" fmla="*/ 361950 h 750094"/>
                <a:gd name="connsiteX4" fmla="*/ 107156 w 798880"/>
                <a:gd name="connsiteY4" fmla="*/ 361950 h 750094"/>
                <a:gd name="connsiteX5" fmla="*/ 114300 w 798880"/>
                <a:gd name="connsiteY5" fmla="*/ 464344 h 750094"/>
                <a:gd name="connsiteX6" fmla="*/ 130969 w 798880"/>
                <a:gd name="connsiteY6" fmla="*/ 469106 h 750094"/>
                <a:gd name="connsiteX7" fmla="*/ 138112 w 798880"/>
                <a:gd name="connsiteY7" fmla="*/ 485775 h 750094"/>
                <a:gd name="connsiteX8" fmla="*/ 211931 w 798880"/>
                <a:gd name="connsiteY8" fmla="*/ 485775 h 750094"/>
                <a:gd name="connsiteX9" fmla="*/ 214312 w 798880"/>
                <a:gd name="connsiteY9" fmla="*/ 335756 h 750094"/>
                <a:gd name="connsiteX10" fmla="*/ 211931 w 798880"/>
                <a:gd name="connsiteY10" fmla="*/ 297656 h 750094"/>
                <a:gd name="connsiteX11" fmla="*/ 229936 w 798880"/>
                <a:gd name="connsiteY11" fmla="*/ 272566 h 750094"/>
                <a:gd name="connsiteX12" fmla="*/ 252412 w 798880"/>
                <a:gd name="connsiteY12" fmla="*/ 271462 h 750094"/>
                <a:gd name="connsiteX13" fmla="*/ 254794 w 798880"/>
                <a:gd name="connsiteY13" fmla="*/ 209550 h 750094"/>
                <a:gd name="connsiteX14" fmla="*/ 271462 w 798880"/>
                <a:gd name="connsiteY14" fmla="*/ 190500 h 750094"/>
                <a:gd name="connsiteX15" fmla="*/ 271462 w 798880"/>
                <a:gd name="connsiteY15" fmla="*/ 152400 h 750094"/>
                <a:gd name="connsiteX16" fmla="*/ 300037 w 798880"/>
                <a:gd name="connsiteY16" fmla="*/ 152400 h 750094"/>
                <a:gd name="connsiteX17" fmla="*/ 300037 w 798880"/>
                <a:gd name="connsiteY17" fmla="*/ 185737 h 750094"/>
                <a:gd name="connsiteX18" fmla="*/ 323850 w 798880"/>
                <a:gd name="connsiteY18" fmla="*/ 211931 h 750094"/>
                <a:gd name="connsiteX19" fmla="*/ 326231 w 798880"/>
                <a:gd name="connsiteY19" fmla="*/ 266700 h 750094"/>
                <a:gd name="connsiteX20" fmla="*/ 353529 w 798880"/>
                <a:gd name="connsiteY20" fmla="*/ 274077 h 750094"/>
                <a:gd name="connsiteX21" fmla="*/ 361950 w 798880"/>
                <a:gd name="connsiteY21" fmla="*/ 297656 h 750094"/>
                <a:gd name="connsiteX22" fmla="*/ 363227 w 798880"/>
                <a:gd name="connsiteY22" fmla="*/ 347604 h 750094"/>
                <a:gd name="connsiteX23" fmla="*/ 435769 w 798880"/>
                <a:gd name="connsiteY23" fmla="*/ 350044 h 750094"/>
                <a:gd name="connsiteX24" fmla="*/ 476250 w 798880"/>
                <a:gd name="connsiteY24" fmla="*/ 352425 h 750094"/>
                <a:gd name="connsiteX25" fmla="*/ 507206 w 798880"/>
                <a:gd name="connsiteY25" fmla="*/ 364331 h 750094"/>
                <a:gd name="connsiteX26" fmla="*/ 523875 w 798880"/>
                <a:gd name="connsiteY26" fmla="*/ 388144 h 750094"/>
                <a:gd name="connsiteX27" fmla="*/ 526256 w 798880"/>
                <a:gd name="connsiteY27" fmla="*/ 428625 h 750094"/>
                <a:gd name="connsiteX28" fmla="*/ 525269 w 798880"/>
                <a:gd name="connsiteY28" fmla="*/ 508542 h 750094"/>
                <a:gd name="connsiteX29" fmla="*/ 549952 w 798880"/>
                <a:gd name="connsiteY29" fmla="*/ 512085 h 750094"/>
                <a:gd name="connsiteX30" fmla="*/ 549991 w 798880"/>
                <a:gd name="connsiteY30" fmla="*/ 529527 h 750094"/>
                <a:gd name="connsiteX31" fmla="*/ 525715 w 798880"/>
                <a:gd name="connsiteY31" fmla="*/ 536478 h 750094"/>
                <a:gd name="connsiteX32" fmla="*/ 527031 w 798880"/>
                <a:gd name="connsiteY32" fmla="*/ 620887 h 750094"/>
                <a:gd name="connsiteX33" fmla="*/ 576262 w 798880"/>
                <a:gd name="connsiteY33" fmla="*/ 621506 h 750094"/>
                <a:gd name="connsiteX34" fmla="*/ 576494 w 798880"/>
                <a:gd name="connsiteY34" fmla="*/ 497914 h 750094"/>
                <a:gd name="connsiteX35" fmla="*/ 611981 w 798880"/>
                <a:gd name="connsiteY35" fmla="*/ 497681 h 750094"/>
                <a:gd name="connsiteX36" fmla="*/ 616744 w 798880"/>
                <a:gd name="connsiteY36" fmla="*/ 26194 h 750094"/>
                <a:gd name="connsiteX37" fmla="*/ 626269 w 798880"/>
                <a:gd name="connsiteY37" fmla="*/ 7144 h 750094"/>
                <a:gd name="connsiteX38" fmla="*/ 661987 w 798880"/>
                <a:gd name="connsiteY38" fmla="*/ 7144 h 750094"/>
                <a:gd name="connsiteX39" fmla="*/ 678656 w 798880"/>
                <a:gd name="connsiteY39" fmla="*/ 26194 h 750094"/>
                <a:gd name="connsiteX40" fmla="*/ 681037 w 798880"/>
                <a:gd name="connsiteY40" fmla="*/ 495300 h 750094"/>
                <a:gd name="connsiteX41" fmla="*/ 714375 w 798880"/>
                <a:gd name="connsiteY41" fmla="*/ 495300 h 750094"/>
                <a:gd name="connsiteX42" fmla="*/ 709612 w 798880"/>
                <a:gd name="connsiteY42" fmla="*/ 16669 h 750094"/>
                <a:gd name="connsiteX43" fmla="*/ 719137 w 798880"/>
                <a:gd name="connsiteY43" fmla="*/ 2381 h 750094"/>
                <a:gd name="connsiteX44" fmla="*/ 757237 w 798880"/>
                <a:gd name="connsiteY44" fmla="*/ 0 h 750094"/>
                <a:gd name="connsiteX45" fmla="*/ 776287 w 798880"/>
                <a:gd name="connsiteY45" fmla="*/ 21431 h 750094"/>
                <a:gd name="connsiteX46" fmla="*/ 773906 w 798880"/>
                <a:gd name="connsiteY46" fmla="*/ 497681 h 750094"/>
                <a:gd name="connsiteX47" fmla="*/ 798880 w 798880"/>
                <a:gd name="connsiteY47" fmla="*/ 500469 h 750094"/>
                <a:gd name="connsiteX48" fmla="*/ 795337 w 798880"/>
                <a:gd name="connsiteY48" fmla="*/ 750094 h 750094"/>
                <a:gd name="connsiteX49" fmla="*/ 0 w 798880"/>
                <a:gd name="connsiteY49" fmla="*/ 747712 h 750094"/>
                <a:gd name="connsiteX50" fmla="*/ 0 w 798880"/>
                <a:gd name="connsiteY50" fmla="*/ 626269 h 750094"/>
                <a:gd name="connsiteX51" fmla="*/ 54769 w 798880"/>
                <a:gd name="connsiteY51" fmla="*/ 623887 h 750094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0969 w 798880"/>
                <a:gd name="connsiteY6" fmla="*/ 470209 h 751197"/>
                <a:gd name="connsiteX7" fmla="*/ 138112 w 798880"/>
                <a:gd name="connsiteY7" fmla="*/ 486878 h 751197"/>
                <a:gd name="connsiteX8" fmla="*/ 211931 w 798880"/>
                <a:gd name="connsiteY8" fmla="*/ 486878 h 751197"/>
                <a:gd name="connsiteX9" fmla="*/ 214312 w 798880"/>
                <a:gd name="connsiteY9" fmla="*/ 336859 h 751197"/>
                <a:gd name="connsiteX10" fmla="*/ 211931 w 798880"/>
                <a:gd name="connsiteY10" fmla="*/ 298759 h 751197"/>
                <a:gd name="connsiteX11" fmla="*/ 229936 w 798880"/>
                <a:gd name="connsiteY11" fmla="*/ 273669 h 751197"/>
                <a:gd name="connsiteX12" fmla="*/ 252412 w 798880"/>
                <a:gd name="connsiteY12" fmla="*/ 272565 h 751197"/>
                <a:gd name="connsiteX13" fmla="*/ 254794 w 798880"/>
                <a:gd name="connsiteY13" fmla="*/ 210653 h 751197"/>
                <a:gd name="connsiteX14" fmla="*/ 271462 w 798880"/>
                <a:gd name="connsiteY14" fmla="*/ 191603 h 751197"/>
                <a:gd name="connsiteX15" fmla="*/ 271462 w 798880"/>
                <a:gd name="connsiteY15" fmla="*/ 153503 h 751197"/>
                <a:gd name="connsiteX16" fmla="*/ 300037 w 798880"/>
                <a:gd name="connsiteY16" fmla="*/ 153503 h 751197"/>
                <a:gd name="connsiteX17" fmla="*/ 300037 w 798880"/>
                <a:gd name="connsiteY17" fmla="*/ 186840 h 751197"/>
                <a:gd name="connsiteX18" fmla="*/ 323850 w 798880"/>
                <a:gd name="connsiteY18" fmla="*/ 213034 h 751197"/>
                <a:gd name="connsiteX19" fmla="*/ 326231 w 798880"/>
                <a:gd name="connsiteY19" fmla="*/ 267803 h 751197"/>
                <a:gd name="connsiteX20" fmla="*/ 353529 w 798880"/>
                <a:gd name="connsiteY20" fmla="*/ 275180 h 751197"/>
                <a:gd name="connsiteX21" fmla="*/ 361950 w 798880"/>
                <a:gd name="connsiteY21" fmla="*/ 298759 h 751197"/>
                <a:gd name="connsiteX22" fmla="*/ 363227 w 798880"/>
                <a:gd name="connsiteY22" fmla="*/ 348707 h 751197"/>
                <a:gd name="connsiteX23" fmla="*/ 435769 w 798880"/>
                <a:gd name="connsiteY23" fmla="*/ 351147 h 751197"/>
                <a:gd name="connsiteX24" fmla="*/ 476250 w 798880"/>
                <a:gd name="connsiteY24" fmla="*/ 353528 h 751197"/>
                <a:gd name="connsiteX25" fmla="*/ 507206 w 798880"/>
                <a:gd name="connsiteY25" fmla="*/ 365434 h 751197"/>
                <a:gd name="connsiteX26" fmla="*/ 523875 w 798880"/>
                <a:gd name="connsiteY26" fmla="*/ 389247 h 751197"/>
                <a:gd name="connsiteX27" fmla="*/ 526256 w 798880"/>
                <a:gd name="connsiteY27" fmla="*/ 429728 h 751197"/>
                <a:gd name="connsiteX28" fmla="*/ 525269 w 798880"/>
                <a:gd name="connsiteY28" fmla="*/ 509645 h 751197"/>
                <a:gd name="connsiteX29" fmla="*/ 549952 w 798880"/>
                <a:gd name="connsiteY29" fmla="*/ 513188 h 751197"/>
                <a:gd name="connsiteX30" fmla="*/ 549991 w 798880"/>
                <a:gd name="connsiteY30" fmla="*/ 530630 h 751197"/>
                <a:gd name="connsiteX31" fmla="*/ 525715 w 798880"/>
                <a:gd name="connsiteY31" fmla="*/ 537581 h 751197"/>
                <a:gd name="connsiteX32" fmla="*/ 527031 w 798880"/>
                <a:gd name="connsiteY32" fmla="*/ 621990 h 751197"/>
                <a:gd name="connsiteX33" fmla="*/ 576262 w 798880"/>
                <a:gd name="connsiteY33" fmla="*/ 622609 h 751197"/>
                <a:gd name="connsiteX34" fmla="*/ 576494 w 798880"/>
                <a:gd name="connsiteY34" fmla="*/ 499017 h 751197"/>
                <a:gd name="connsiteX35" fmla="*/ 611981 w 798880"/>
                <a:gd name="connsiteY35" fmla="*/ 498784 h 751197"/>
                <a:gd name="connsiteX36" fmla="*/ 616744 w 798880"/>
                <a:gd name="connsiteY36" fmla="*/ 27297 h 751197"/>
                <a:gd name="connsiteX37" fmla="*/ 626269 w 798880"/>
                <a:gd name="connsiteY37" fmla="*/ 8247 h 751197"/>
                <a:gd name="connsiteX38" fmla="*/ 661987 w 798880"/>
                <a:gd name="connsiteY38" fmla="*/ 8247 h 751197"/>
                <a:gd name="connsiteX39" fmla="*/ 678656 w 798880"/>
                <a:gd name="connsiteY39" fmla="*/ 27297 h 751197"/>
                <a:gd name="connsiteX40" fmla="*/ 681037 w 798880"/>
                <a:gd name="connsiteY40" fmla="*/ 496403 h 751197"/>
                <a:gd name="connsiteX41" fmla="*/ 714375 w 798880"/>
                <a:gd name="connsiteY41" fmla="*/ 496403 h 751197"/>
                <a:gd name="connsiteX42" fmla="*/ 709612 w 798880"/>
                <a:gd name="connsiteY42" fmla="*/ 17772 h 751197"/>
                <a:gd name="connsiteX43" fmla="*/ 724945 w 798880"/>
                <a:gd name="connsiteY43" fmla="*/ 0 h 751197"/>
                <a:gd name="connsiteX44" fmla="*/ 757237 w 798880"/>
                <a:gd name="connsiteY44" fmla="*/ 1103 h 751197"/>
                <a:gd name="connsiteX45" fmla="*/ 776287 w 798880"/>
                <a:gd name="connsiteY45" fmla="*/ 22534 h 751197"/>
                <a:gd name="connsiteX46" fmla="*/ 773906 w 798880"/>
                <a:gd name="connsiteY46" fmla="*/ 498784 h 751197"/>
                <a:gd name="connsiteX47" fmla="*/ 798880 w 798880"/>
                <a:gd name="connsiteY47" fmla="*/ 501572 h 751197"/>
                <a:gd name="connsiteX48" fmla="*/ 795337 w 798880"/>
                <a:gd name="connsiteY48" fmla="*/ 751197 h 751197"/>
                <a:gd name="connsiteX49" fmla="*/ 0 w 798880"/>
                <a:gd name="connsiteY49" fmla="*/ 748815 h 751197"/>
                <a:gd name="connsiteX50" fmla="*/ 0 w 798880"/>
                <a:gd name="connsiteY50" fmla="*/ 627372 h 751197"/>
                <a:gd name="connsiteX51" fmla="*/ 54769 w 798880"/>
                <a:gd name="connsiteY51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5447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8112 w 798880"/>
                <a:gd name="connsiteY6" fmla="*/ 486878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4300 w 798880"/>
                <a:gd name="connsiteY5" fmla="*/ 461962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07156 w 798880"/>
                <a:gd name="connsiteY4" fmla="*/ 363053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63053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7245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61912 w 798880"/>
                <a:gd name="connsiteY1" fmla="*/ 477353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1931 w 798880"/>
                <a:gd name="connsiteY7" fmla="*/ 486878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0 w 798880"/>
                <a:gd name="connsiteY49" fmla="*/ 627372 h 751197"/>
                <a:gd name="connsiteX50" fmla="*/ 54769 w 798880"/>
                <a:gd name="connsiteY50" fmla="*/ 624990 h 751197"/>
                <a:gd name="connsiteX0" fmla="*/ 54769 w 798880"/>
                <a:gd name="connsiteY0" fmla="*/ 624990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4769 w 798880"/>
                <a:gd name="connsiteY50" fmla="*/ 624990 h 751197"/>
                <a:gd name="connsiteX0" fmla="*/ 55930 w 798880"/>
                <a:gd name="connsiteY0" fmla="*/ 621505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5930 w 798880"/>
                <a:gd name="connsiteY50" fmla="*/ 621505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13188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0630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35277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4573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9991 w 798880"/>
                <a:gd name="connsiteY29" fmla="*/ 55270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41085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8830 w 798880"/>
                <a:gd name="connsiteY29" fmla="*/ 538761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52315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9952 w 798880"/>
                <a:gd name="connsiteY28" fmla="*/ 509703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2983 w 798880"/>
                <a:gd name="connsiteY28" fmla="*/ 508541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  <a:gd name="connsiteX0" fmla="*/ 52446 w 798880"/>
                <a:gd name="connsiteY0" fmla="*/ 620343 h 751197"/>
                <a:gd name="connsiteX1" fmla="*/ 52620 w 798880"/>
                <a:gd name="connsiteY1" fmla="*/ 475030 h 751197"/>
                <a:gd name="connsiteX2" fmla="*/ 76200 w 798880"/>
                <a:gd name="connsiteY2" fmla="*/ 460684 h 751197"/>
                <a:gd name="connsiteX3" fmla="*/ 78581 w 798880"/>
                <a:gd name="connsiteY3" fmla="*/ 359568 h 751197"/>
                <a:gd name="connsiteX4" fmla="*/ 115287 w 798880"/>
                <a:gd name="connsiteY4" fmla="*/ 360730 h 751197"/>
                <a:gd name="connsiteX5" fmla="*/ 117785 w 798880"/>
                <a:gd name="connsiteY5" fmla="*/ 460800 h 751197"/>
                <a:gd name="connsiteX6" fmla="*/ 135789 w 798880"/>
                <a:gd name="connsiteY6" fmla="*/ 483394 h 751197"/>
                <a:gd name="connsiteX7" fmla="*/ 213093 w 798880"/>
                <a:gd name="connsiteY7" fmla="*/ 482232 h 751197"/>
                <a:gd name="connsiteX8" fmla="*/ 214312 w 798880"/>
                <a:gd name="connsiteY8" fmla="*/ 336859 h 751197"/>
                <a:gd name="connsiteX9" fmla="*/ 211931 w 798880"/>
                <a:gd name="connsiteY9" fmla="*/ 298759 h 751197"/>
                <a:gd name="connsiteX10" fmla="*/ 229936 w 798880"/>
                <a:gd name="connsiteY10" fmla="*/ 273669 h 751197"/>
                <a:gd name="connsiteX11" fmla="*/ 252412 w 798880"/>
                <a:gd name="connsiteY11" fmla="*/ 272565 h 751197"/>
                <a:gd name="connsiteX12" fmla="*/ 254794 w 798880"/>
                <a:gd name="connsiteY12" fmla="*/ 210653 h 751197"/>
                <a:gd name="connsiteX13" fmla="*/ 271462 w 798880"/>
                <a:gd name="connsiteY13" fmla="*/ 191603 h 751197"/>
                <a:gd name="connsiteX14" fmla="*/ 271462 w 798880"/>
                <a:gd name="connsiteY14" fmla="*/ 153503 h 751197"/>
                <a:gd name="connsiteX15" fmla="*/ 300037 w 798880"/>
                <a:gd name="connsiteY15" fmla="*/ 153503 h 751197"/>
                <a:gd name="connsiteX16" fmla="*/ 300037 w 798880"/>
                <a:gd name="connsiteY16" fmla="*/ 186840 h 751197"/>
                <a:gd name="connsiteX17" fmla="*/ 323850 w 798880"/>
                <a:gd name="connsiteY17" fmla="*/ 213034 h 751197"/>
                <a:gd name="connsiteX18" fmla="*/ 326231 w 798880"/>
                <a:gd name="connsiteY18" fmla="*/ 267803 h 751197"/>
                <a:gd name="connsiteX19" fmla="*/ 353529 w 798880"/>
                <a:gd name="connsiteY19" fmla="*/ 275180 h 751197"/>
                <a:gd name="connsiteX20" fmla="*/ 361950 w 798880"/>
                <a:gd name="connsiteY20" fmla="*/ 298759 h 751197"/>
                <a:gd name="connsiteX21" fmla="*/ 363227 w 798880"/>
                <a:gd name="connsiteY21" fmla="*/ 348707 h 751197"/>
                <a:gd name="connsiteX22" fmla="*/ 435769 w 798880"/>
                <a:gd name="connsiteY22" fmla="*/ 351147 h 751197"/>
                <a:gd name="connsiteX23" fmla="*/ 476250 w 798880"/>
                <a:gd name="connsiteY23" fmla="*/ 353528 h 751197"/>
                <a:gd name="connsiteX24" fmla="*/ 507206 w 798880"/>
                <a:gd name="connsiteY24" fmla="*/ 365434 h 751197"/>
                <a:gd name="connsiteX25" fmla="*/ 523875 w 798880"/>
                <a:gd name="connsiteY25" fmla="*/ 389247 h 751197"/>
                <a:gd name="connsiteX26" fmla="*/ 526256 w 798880"/>
                <a:gd name="connsiteY26" fmla="*/ 429728 h 751197"/>
                <a:gd name="connsiteX27" fmla="*/ 525269 w 798880"/>
                <a:gd name="connsiteY27" fmla="*/ 509645 h 751197"/>
                <a:gd name="connsiteX28" fmla="*/ 548791 w 798880"/>
                <a:gd name="connsiteY28" fmla="*/ 513187 h 751197"/>
                <a:gd name="connsiteX29" fmla="*/ 547669 w 798880"/>
                <a:gd name="connsiteY29" fmla="*/ 537599 h 751197"/>
                <a:gd name="connsiteX30" fmla="*/ 525715 w 798880"/>
                <a:gd name="connsiteY30" fmla="*/ 537581 h 751197"/>
                <a:gd name="connsiteX31" fmla="*/ 527031 w 798880"/>
                <a:gd name="connsiteY31" fmla="*/ 621990 h 751197"/>
                <a:gd name="connsiteX32" fmla="*/ 576262 w 798880"/>
                <a:gd name="connsiteY32" fmla="*/ 622609 h 751197"/>
                <a:gd name="connsiteX33" fmla="*/ 576494 w 798880"/>
                <a:gd name="connsiteY33" fmla="*/ 499017 h 751197"/>
                <a:gd name="connsiteX34" fmla="*/ 611981 w 798880"/>
                <a:gd name="connsiteY34" fmla="*/ 498784 h 751197"/>
                <a:gd name="connsiteX35" fmla="*/ 616744 w 798880"/>
                <a:gd name="connsiteY35" fmla="*/ 27297 h 751197"/>
                <a:gd name="connsiteX36" fmla="*/ 626269 w 798880"/>
                <a:gd name="connsiteY36" fmla="*/ 8247 h 751197"/>
                <a:gd name="connsiteX37" fmla="*/ 661987 w 798880"/>
                <a:gd name="connsiteY37" fmla="*/ 8247 h 751197"/>
                <a:gd name="connsiteX38" fmla="*/ 678656 w 798880"/>
                <a:gd name="connsiteY38" fmla="*/ 27297 h 751197"/>
                <a:gd name="connsiteX39" fmla="*/ 681037 w 798880"/>
                <a:gd name="connsiteY39" fmla="*/ 496403 h 751197"/>
                <a:gd name="connsiteX40" fmla="*/ 714375 w 798880"/>
                <a:gd name="connsiteY40" fmla="*/ 496403 h 751197"/>
                <a:gd name="connsiteX41" fmla="*/ 709612 w 798880"/>
                <a:gd name="connsiteY41" fmla="*/ 17772 h 751197"/>
                <a:gd name="connsiteX42" fmla="*/ 724945 w 798880"/>
                <a:gd name="connsiteY42" fmla="*/ 0 h 751197"/>
                <a:gd name="connsiteX43" fmla="*/ 757237 w 798880"/>
                <a:gd name="connsiteY43" fmla="*/ 1103 h 751197"/>
                <a:gd name="connsiteX44" fmla="*/ 776287 w 798880"/>
                <a:gd name="connsiteY44" fmla="*/ 22534 h 751197"/>
                <a:gd name="connsiteX45" fmla="*/ 773906 w 798880"/>
                <a:gd name="connsiteY45" fmla="*/ 498784 h 751197"/>
                <a:gd name="connsiteX46" fmla="*/ 798880 w 798880"/>
                <a:gd name="connsiteY46" fmla="*/ 501572 h 751197"/>
                <a:gd name="connsiteX47" fmla="*/ 795337 w 798880"/>
                <a:gd name="connsiteY47" fmla="*/ 751197 h 751197"/>
                <a:gd name="connsiteX48" fmla="*/ 0 w 798880"/>
                <a:gd name="connsiteY48" fmla="*/ 748815 h 751197"/>
                <a:gd name="connsiteX49" fmla="*/ 1161 w 798880"/>
                <a:gd name="connsiteY49" fmla="*/ 623887 h 751197"/>
                <a:gd name="connsiteX50" fmla="*/ 52446 w 798880"/>
                <a:gd name="connsiteY50" fmla="*/ 620343 h 7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8880" h="751197">
                  <a:moveTo>
                    <a:pt x="52446" y="620343"/>
                  </a:moveTo>
                  <a:cubicBezTo>
                    <a:pt x="51730" y="570356"/>
                    <a:pt x="53336" y="525017"/>
                    <a:pt x="52620" y="475030"/>
                  </a:cubicBezTo>
                  <a:lnTo>
                    <a:pt x="76200" y="460684"/>
                  </a:lnTo>
                  <a:cubicBezTo>
                    <a:pt x="76994" y="428140"/>
                    <a:pt x="77787" y="392112"/>
                    <a:pt x="78581" y="359568"/>
                  </a:cubicBezTo>
                  <a:lnTo>
                    <a:pt x="115287" y="360730"/>
                  </a:lnTo>
                  <a:cubicBezTo>
                    <a:pt x="116120" y="394087"/>
                    <a:pt x="116952" y="427443"/>
                    <a:pt x="117785" y="460800"/>
                  </a:cubicBezTo>
                  <a:lnTo>
                    <a:pt x="135789" y="483394"/>
                  </a:lnTo>
                  <a:lnTo>
                    <a:pt x="213093" y="482232"/>
                  </a:lnTo>
                  <a:cubicBezTo>
                    <a:pt x="213887" y="432226"/>
                    <a:pt x="213518" y="386865"/>
                    <a:pt x="214312" y="336859"/>
                  </a:cubicBezTo>
                  <a:lnTo>
                    <a:pt x="211931" y="298759"/>
                  </a:lnTo>
                  <a:lnTo>
                    <a:pt x="229936" y="273669"/>
                  </a:lnTo>
                  <a:lnTo>
                    <a:pt x="252412" y="272565"/>
                  </a:lnTo>
                  <a:lnTo>
                    <a:pt x="254794" y="210653"/>
                  </a:lnTo>
                  <a:lnTo>
                    <a:pt x="271462" y="191603"/>
                  </a:lnTo>
                  <a:lnTo>
                    <a:pt x="271462" y="153503"/>
                  </a:lnTo>
                  <a:lnTo>
                    <a:pt x="300037" y="153503"/>
                  </a:lnTo>
                  <a:lnTo>
                    <a:pt x="300037" y="186840"/>
                  </a:lnTo>
                  <a:lnTo>
                    <a:pt x="323850" y="213034"/>
                  </a:lnTo>
                  <a:cubicBezTo>
                    <a:pt x="324644" y="231290"/>
                    <a:pt x="325437" y="249547"/>
                    <a:pt x="326231" y="267803"/>
                  </a:cubicBezTo>
                  <a:lnTo>
                    <a:pt x="353529" y="275180"/>
                  </a:lnTo>
                  <a:lnTo>
                    <a:pt x="361950" y="298759"/>
                  </a:lnTo>
                  <a:cubicBezTo>
                    <a:pt x="362376" y="315408"/>
                    <a:pt x="362801" y="332058"/>
                    <a:pt x="363227" y="348707"/>
                  </a:cubicBezTo>
                  <a:lnTo>
                    <a:pt x="435769" y="351147"/>
                  </a:lnTo>
                  <a:cubicBezTo>
                    <a:pt x="454606" y="351950"/>
                    <a:pt x="462756" y="352734"/>
                    <a:pt x="476250" y="353528"/>
                  </a:cubicBezTo>
                  <a:lnTo>
                    <a:pt x="507206" y="365434"/>
                  </a:lnTo>
                  <a:lnTo>
                    <a:pt x="523875" y="389247"/>
                  </a:lnTo>
                  <a:lnTo>
                    <a:pt x="526256" y="429728"/>
                  </a:lnTo>
                  <a:lnTo>
                    <a:pt x="525269" y="509645"/>
                  </a:lnTo>
                  <a:cubicBezTo>
                    <a:pt x="523604" y="511358"/>
                    <a:pt x="545058" y="508528"/>
                    <a:pt x="548791" y="513187"/>
                  </a:cubicBezTo>
                  <a:cubicBezTo>
                    <a:pt x="552524" y="517846"/>
                    <a:pt x="548430" y="528300"/>
                    <a:pt x="547669" y="537599"/>
                  </a:cubicBezTo>
                  <a:cubicBezTo>
                    <a:pt x="547373" y="538567"/>
                    <a:pt x="527799" y="535325"/>
                    <a:pt x="525715" y="537581"/>
                  </a:cubicBezTo>
                  <a:cubicBezTo>
                    <a:pt x="526728" y="538288"/>
                    <a:pt x="530121" y="621657"/>
                    <a:pt x="527031" y="621990"/>
                  </a:cubicBezTo>
                  <a:cubicBezTo>
                    <a:pt x="523685" y="622351"/>
                    <a:pt x="576059" y="624148"/>
                    <a:pt x="576262" y="622609"/>
                  </a:cubicBezTo>
                  <a:cubicBezTo>
                    <a:pt x="577149" y="622442"/>
                    <a:pt x="570541" y="519655"/>
                    <a:pt x="576494" y="499017"/>
                  </a:cubicBezTo>
                  <a:lnTo>
                    <a:pt x="611981" y="498784"/>
                  </a:lnTo>
                  <a:cubicBezTo>
                    <a:pt x="613569" y="341622"/>
                    <a:pt x="615156" y="184459"/>
                    <a:pt x="616744" y="27297"/>
                  </a:cubicBezTo>
                  <a:lnTo>
                    <a:pt x="626269" y="8247"/>
                  </a:lnTo>
                  <a:lnTo>
                    <a:pt x="661987" y="8247"/>
                  </a:lnTo>
                  <a:lnTo>
                    <a:pt x="678656" y="27297"/>
                  </a:lnTo>
                  <a:cubicBezTo>
                    <a:pt x="679450" y="183666"/>
                    <a:pt x="680243" y="340034"/>
                    <a:pt x="681037" y="496403"/>
                  </a:cubicBezTo>
                  <a:lnTo>
                    <a:pt x="714375" y="496403"/>
                  </a:lnTo>
                  <a:cubicBezTo>
                    <a:pt x="712787" y="336859"/>
                    <a:pt x="711200" y="177316"/>
                    <a:pt x="709612" y="17772"/>
                  </a:cubicBezTo>
                  <a:lnTo>
                    <a:pt x="724945" y="0"/>
                  </a:lnTo>
                  <a:lnTo>
                    <a:pt x="757237" y="1103"/>
                  </a:lnTo>
                  <a:lnTo>
                    <a:pt x="776287" y="22534"/>
                  </a:lnTo>
                  <a:cubicBezTo>
                    <a:pt x="775493" y="181284"/>
                    <a:pt x="774700" y="340034"/>
                    <a:pt x="773906" y="498784"/>
                  </a:cubicBezTo>
                  <a:lnTo>
                    <a:pt x="798880" y="501572"/>
                  </a:lnTo>
                  <a:lnTo>
                    <a:pt x="795337" y="751197"/>
                  </a:lnTo>
                  <a:lnTo>
                    <a:pt x="0" y="748815"/>
                  </a:lnTo>
                  <a:lnTo>
                    <a:pt x="1161" y="623887"/>
                  </a:lnTo>
                  <a:lnTo>
                    <a:pt x="52446" y="620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 dirty="0"/>
            </a:p>
          </p:txBody>
        </p:sp>
        <p:sp>
          <p:nvSpPr>
            <p:cNvPr id="348" name="Прямоугольник 347">
              <a:extLst>
                <a:ext uri="{FF2B5EF4-FFF2-40B4-BE49-F238E27FC236}">
                  <a16:creationId xmlns:a16="http://schemas.microsoft.com/office/drawing/2014/main" id="{8C5A34E1-C8A3-4129-8971-45689AEB4836}"/>
                </a:ext>
              </a:extLst>
            </p:cNvPr>
            <p:cNvSpPr/>
            <p:nvPr/>
          </p:nvSpPr>
          <p:spPr>
            <a:xfrm>
              <a:off x="3020799" y="272799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49" name="Прямоугольник 348">
              <a:extLst>
                <a:ext uri="{FF2B5EF4-FFF2-40B4-BE49-F238E27FC236}">
                  <a16:creationId xmlns:a16="http://schemas.microsoft.com/office/drawing/2014/main" id="{4836432A-AA61-407E-980A-BAA59AB06045}"/>
                </a:ext>
              </a:extLst>
            </p:cNvPr>
            <p:cNvSpPr/>
            <p:nvPr/>
          </p:nvSpPr>
          <p:spPr>
            <a:xfrm>
              <a:off x="3020799" y="284321"/>
              <a:ext cx="11523" cy="55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0" name="Прямоугольник 349">
              <a:extLst>
                <a:ext uri="{FF2B5EF4-FFF2-40B4-BE49-F238E27FC236}">
                  <a16:creationId xmlns:a16="http://schemas.microsoft.com/office/drawing/2014/main" id="{D02471EF-29DD-4470-AD6D-1BECD00D9DC3}"/>
                </a:ext>
              </a:extLst>
            </p:cNvPr>
            <p:cNvSpPr/>
            <p:nvPr/>
          </p:nvSpPr>
          <p:spPr>
            <a:xfrm rot="16200000">
              <a:off x="3053398" y="280192"/>
              <a:ext cx="12873" cy="76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1" name="Прямоугольник 350">
              <a:extLst>
                <a:ext uri="{FF2B5EF4-FFF2-40B4-BE49-F238E27FC236}">
                  <a16:creationId xmlns:a16="http://schemas.microsoft.com/office/drawing/2014/main" id="{C2C5F495-C916-414A-9FD5-5C0AB58E7B18}"/>
                </a:ext>
              </a:extLst>
            </p:cNvPr>
            <p:cNvSpPr/>
            <p:nvPr/>
          </p:nvSpPr>
          <p:spPr>
            <a:xfrm rot="16200000">
              <a:off x="3056188" y="253636"/>
              <a:ext cx="18994" cy="193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2" name="Прямоугольник 351">
              <a:extLst>
                <a:ext uri="{FF2B5EF4-FFF2-40B4-BE49-F238E27FC236}">
                  <a16:creationId xmlns:a16="http://schemas.microsoft.com/office/drawing/2014/main" id="{8782B61B-C967-4F19-8EC5-C1954263BCAE}"/>
                </a:ext>
              </a:extLst>
            </p:cNvPr>
            <p:cNvSpPr/>
            <p:nvPr/>
          </p:nvSpPr>
          <p:spPr>
            <a:xfrm rot="16200000">
              <a:off x="3065738" y="280830"/>
              <a:ext cx="12873" cy="635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3" name="Полилиния 416">
              <a:extLst>
                <a:ext uri="{FF2B5EF4-FFF2-40B4-BE49-F238E27FC236}">
                  <a16:creationId xmlns:a16="http://schemas.microsoft.com/office/drawing/2014/main" id="{F0C9C257-E1D7-4482-9855-55907A2E88E5}"/>
                </a:ext>
              </a:extLst>
            </p:cNvPr>
            <p:cNvSpPr/>
            <p:nvPr/>
          </p:nvSpPr>
          <p:spPr>
            <a:xfrm>
              <a:off x="3065989" y="270818"/>
              <a:ext cx="7742" cy="6662"/>
            </a:xfrm>
            <a:custGeom>
              <a:avLst/>
              <a:gdLst>
                <a:gd name="connsiteX0" fmla="*/ 42863 w 102394"/>
                <a:gd name="connsiteY0" fmla="*/ 88106 h 88106"/>
                <a:gd name="connsiteX1" fmla="*/ 38100 w 102394"/>
                <a:gd name="connsiteY1" fmla="*/ 61913 h 88106"/>
                <a:gd name="connsiteX2" fmla="*/ 21432 w 102394"/>
                <a:gd name="connsiteY2" fmla="*/ 42863 h 88106"/>
                <a:gd name="connsiteX3" fmla="*/ 0 w 102394"/>
                <a:gd name="connsiteY3" fmla="*/ 26194 h 88106"/>
                <a:gd name="connsiteX4" fmla="*/ 26194 w 102394"/>
                <a:gd name="connsiteY4" fmla="*/ 0 h 88106"/>
                <a:gd name="connsiteX5" fmla="*/ 69057 w 102394"/>
                <a:gd name="connsiteY5" fmla="*/ 14288 h 88106"/>
                <a:gd name="connsiteX6" fmla="*/ 97632 w 102394"/>
                <a:gd name="connsiteY6" fmla="*/ 26194 h 88106"/>
                <a:gd name="connsiteX7" fmla="*/ 100013 w 102394"/>
                <a:gd name="connsiteY7" fmla="*/ 73819 h 88106"/>
                <a:gd name="connsiteX8" fmla="*/ 102394 w 102394"/>
                <a:gd name="connsiteY8" fmla="*/ 88106 h 88106"/>
                <a:gd name="connsiteX9" fmla="*/ 42863 w 102394"/>
                <a:gd name="connsiteY9" fmla="*/ 88106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4" h="88106">
                  <a:moveTo>
                    <a:pt x="42863" y="88106"/>
                  </a:moveTo>
                  <a:lnTo>
                    <a:pt x="38100" y="61913"/>
                  </a:lnTo>
                  <a:lnTo>
                    <a:pt x="21432" y="42863"/>
                  </a:lnTo>
                  <a:lnTo>
                    <a:pt x="0" y="26194"/>
                  </a:lnTo>
                  <a:lnTo>
                    <a:pt x="26194" y="0"/>
                  </a:lnTo>
                  <a:lnTo>
                    <a:pt x="69057" y="14288"/>
                  </a:lnTo>
                  <a:lnTo>
                    <a:pt x="97632" y="26194"/>
                  </a:lnTo>
                  <a:lnTo>
                    <a:pt x="100013" y="73819"/>
                  </a:lnTo>
                  <a:lnTo>
                    <a:pt x="102394" y="88106"/>
                  </a:lnTo>
                  <a:lnTo>
                    <a:pt x="42863" y="88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4" name="Прямоугольник 353">
              <a:extLst>
                <a:ext uri="{FF2B5EF4-FFF2-40B4-BE49-F238E27FC236}">
                  <a16:creationId xmlns:a16="http://schemas.microsoft.com/office/drawing/2014/main" id="{C66C70FA-E169-452B-A3AC-78A79622B8F9}"/>
                </a:ext>
              </a:extLst>
            </p:cNvPr>
            <p:cNvSpPr/>
            <p:nvPr/>
          </p:nvSpPr>
          <p:spPr>
            <a:xfrm rot="16200000">
              <a:off x="3079475" y="273187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  <p:sp>
          <p:nvSpPr>
            <p:cNvPr id="355" name="Прямоугольник 354">
              <a:extLst>
                <a:ext uri="{FF2B5EF4-FFF2-40B4-BE49-F238E27FC236}">
                  <a16:creationId xmlns:a16="http://schemas.microsoft.com/office/drawing/2014/main" id="{8CC8B172-6D77-43EC-A46B-1504931FBCB1}"/>
                </a:ext>
              </a:extLst>
            </p:cNvPr>
            <p:cNvSpPr/>
            <p:nvPr/>
          </p:nvSpPr>
          <p:spPr>
            <a:xfrm rot="16200000">
              <a:off x="3077263" y="263961"/>
              <a:ext cx="12873" cy="4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63"/>
            </a:p>
          </p:txBody>
        </p:sp>
      </p:grpSp>
      <p:sp>
        <p:nvSpPr>
          <p:cNvPr id="211" name="Прямоугольник: скругленные углы 300">
            <a:extLst>
              <a:ext uri="{FF2B5EF4-FFF2-40B4-BE49-F238E27FC236}">
                <a16:creationId xmlns:a16="http://schemas.microsoft.com/office/drawing/2014/main" id="{0410991F-7C8C-4C7E-8E36-89CAE56708A1}"/>
              </a:ext>
            </a:extLst>
          </p:cNvPr>
          <p:cNvSpPr/>
          <p:nvPr/>
        </p:nvSpPr>
        <p:spPr>
          <a:xfrm>
            <a:off x="5441904" y="5156748"/>
            <a:ext cx="6445296" cy="1660261"/>
          </a:xfrm>
          <a:prstGeom prst="roundRect">
            <a:avLst>
              <a:gd name="adj" fmla="val 10254"/>
            </a:avLst>
          </a:prstGeom>
          <a:solidFill>
            <a:schemeClr val="accent1">
              <a:lumMod val="20000"/>
              <a:lumOff val="80000"/>
              <a:alpha val="90000"/>
            </a:schemeClr>
          </a:solidFill>
          <a:ln w="19050">
            <a:solidFill>
              <a:srgbClr val="2D4B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b="1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выводы:</a:t>
            </a:r>
          </a:p>
          <a:p>
            <a:pPr marL="171450" indent="-1714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азанные запасы газа позволяют обеспечить внутренний рынок, но наблюдается </a:t>
            </a:r>
            <a:r>
              <a:rPr lang="ru-RU" sz="1000" b="1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хватка газоперерабатывающих мощностей для переработки</a:t>
            </a: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 </a:t>
            </a:r>
            <a:r>
              <a:rPr lang="ru-RU" sz="1000" b="1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е решения имеющихся мощностей не соответствуют параметрам газа </a:t>
            </a:r>
            <a:r>
              <a:rPr lang="ru-RU" sz="1000" dirty="0" smtClean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i="1" dirty="0" smtClean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: ЧГПЗ</a:t>
            </a: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171450" indent="-1714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иду нехватки газоперерабатывающих мощностей, часть газа направляется на Оренбургский ГПЗ (с месторождения </a:t>
            </a:r>
            <a:r>
              <a:rPr lang="ru-RU" sz="1000" dirty="0" err="1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чаганак</a:t>
            </a: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171450" indent="-1714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запасы газа являются попутным нефтяным газом (ПНГ), для нефтедобывающих компаний </a:t>
            </a:r>
            <a:r>
              <a:rPr lang="ru-RU" sz="1000" b="1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интерес добычи газа при текущих ценах</a:t>
            </a:r>
            <a:r>
              <a:rPr lang="ru-RU" sz="1000" dirty="0">
                <a:solidFill>
                  <a:srgbClr val="2D4B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предоставить справедливую цену для увеличения привлекательности добычи газа.</a:t>
            </a:r>
          </a:p>
        </p:txBody>
      </p:sp>
      <p:graphicFrame>
        <p:nvGraphicFramePr>
          <p:cNvPr id="213" name="Таблица 212">
            <a:extLst>
              <a:ext uri="{FF2B5EF4-FFF2-40B4-BE49-F238E27FC236}">
                <a16:creationId xmlns:a16="http://schemas.microsoft.com/office/drawing/2014/main" id="{4FA15A42-0392-48E3-8D12-F40042E95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5331312"/>
              </p:ext>
            </p:extLst>
          </p:nvPr>
        </p:nvGraphicFramePr>
        <p:xfrm>
          <a:off x="3413346" y="735231"/>
          <a:ext cx="5255997" cy="1203009"/>
        </p:xfrm>
        <a:graphic>
          <a:graphicData uri="http://schemas.openxmlformats.org/drawingml/2006/table">
            <a:tbl>
              <a:tblPr firstRow="1" bandRow="1"/>
              <a:tblGrid>
                <a:gridCol w="10253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107">
                  <a:extLst>
                    <a:ext uri="{9D8B030D-6E8A-4147-A177-3AD203B41FA5}">
                      <a16:colId xmlns:a16="http://schemas.microsoft.com/office/drawing/2014/main" val="1302564750"/>
                    </a:ext>
                  </a:extLst>
                </a:gridCol>
                <a:gridCol w="6009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09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09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09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09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09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3477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55721" marR="55721" marT="27861" marB="2786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0" i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лрд.м3</a:t>
                      </a:r>
                      <a:endParaRPr lang="ru-RU" sz="800" b="0" i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27861" marB="2786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55721" marR="55721" marT="27861" marB="278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55721" marR="55721" marT="27861" marB="278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55721" marR="55721" marT="27861" marB="278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marL="55721" marR="55721" marT="27861" marB="278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55721" marR="55721" marT="27861" marB="278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55721" marR="55721" marT="27861" marB="278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861">
                <a:tc rowSpan="2"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нгиз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быча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739373"/>
                  </a:ext>
                </a:extLst>
              </a:tr>
              <a:tr h="40004">
                <a:tc vMerge="1"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чка</a:t>
                      </a: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1 (21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3 (22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3 (22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5 (24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4 (35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,0 (46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265717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рачаганак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быча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468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чка</a:t>
                      </a: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,4 (51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9 (54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,7 (57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,5 (58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3 (59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,1 (64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00280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шаган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быча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2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4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4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4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,5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,2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47774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чка</a:t>
                      </a: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8 (42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4 (46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1 (43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4 (46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,4 (43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700" b="0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,1 (42%)</a:t>
                      </a:r>
                      <a:endParaRPr lang="ru-RU" sz="700" b="0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189305"/>
                  </a:ext>
                </a:extLst>
              </a:tr>
              <a:tr h="159066">
                <a:tc rowSpan="2">
                  <a:txBody>
                    <a:bodyPr/>
                    <a:lstStyle/>
                    <a:p>
                      <a:pPr marL="0" marR="0" lvl="1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u="none" strike="noStrike" kern="1200" dirty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ГО с крупных </a:t>
                      </a:r>
                      <a:r>
                        <a:rPr lang="ru-RU" sz="7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ов</a:t>
                      </a:r>
                      <a:endParaRPr lang="ru-RU" sz="700" b="1" u="none" strike="noStrike" kern="1200" baseline="300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27861" marB="27861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быча</a:t>
                      </a:r>
                      <a:endParaRPr lang="ru-RU" sz="7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,1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,4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,8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7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,9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,0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183588"/>
                  </a:ext>
                </a:extLst>
              </a:tr>
              <a:tr h="169071">
                <a:tc vMerge="1">
                  <a:txBody>
                    <a:bodyPr/>
                    <a:lstStyle/>
                    <a:p>
                      <a:pPr marL="0" marR="0" lvl="1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u="none" strike="noStrike" kern="1200" baseline="300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27861" marB="27861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чка</a:t>
                      </a: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2 (</a:t>
                      </a:r>
                      <a:r>
                        <a:rPr lang="ru-RU" sz="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%</a:t>
                      </a:r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6 (</a:t>
                      </a:r>
                      <a:r>
                        <a:rPr lang="ru-RU" sz="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%</a:t>
                      </a:r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,0 (</a:t>
                      </a:r>
                      <a:r>
                        <a:rPr lang="ru-RU" sz="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%</a:t>
                      </a:r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,3 (</a:t>
                      </a:r>
                      <a:r>
                        <a:rPr lang="ru-RU" sz="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%</a:t>
                      </a:r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,1 (</a:t>
                      </a:r>
                      <a:r>
                        <a:rPr lang="ru-RU" sz="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,3 (</a:t>
                      </a:r>
                      <a:r>
                        <a:rPr lang="ru-RU" sz="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r>
                        <a:rPr lang="ru-RU" sz="800" b="1" u="none" strike="noStrike" kern="1200" dirty="0" smtClean="0">
                          <a:solidFill>
                            <a:srgbClr val="2D4B7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)</a:t>
                      </a:r>
                      <a:endParaRPr lang="ru-RU" sz="800" b="1" u="none" strike="noStrike" kern="1200" dirty="0">
                        <a:solidFill>
                          <a:srgbClr val="2D4B7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892784"/>
                  </a:ext>
                </a:extLst>
              </a:tr>
            </a:tbl>
          </a:graphicData>
        </a:graphic>
      </p:graphicFrame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7"/>
            <a:ext cx="12191999" cy="61595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влекаемых запасов страны 3,8 трлн.м3 достаточно на более чем 100 лет. </a:t>
            </a:r>
          </a:p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а в ограниченности мощности ГПЗ </a:t>
            </a:r>
          </a:p>
        </p:txBody>
      </p:sp>
    </p:spTree>
    <p:extLst>
      <p:ext uri="{BB962C8B-B14F-4D97-AF65-F5344CB8AC3E}">
        <p14:creationId xmlns:p14="http://schemas.microsoft.com/office/powerpoint/2010/main" val="338044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Диаграмма 49"/>
          <p:cNvGraphicFramePr>
            <a:graphicFrameLocks/>
          </p:cNvGraphicFramePr>
          <p:nvPr>
            <p:extLst/>
          </p:nvPr>
        </p:nvGraphicFramePr>
        <p:xfrm>
          <a:off x="51215" y="2644140"/>
          <a:ext cx="6673928" cy="2656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9294087" y="2255379"/>
            <a:ext cx="2730765" cy="4031873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!! УГРОЗЫ:</a:t>
            </a:r>
          </a:p>
          <a:p>
            <a:pPr marL="285750" indent="-285750">
              <a:buFont typeface="+mj-lt"/>
              <a:buAutoNum type="arabicPeriod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Я НЕОТЛОЖНЫХ МЕР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 ГАЗА ПРЕКРАТИТСЯ В 202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ТОМ, 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Ь В ИМПОРТЕ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ЖЕТ СОСТАВИТЬ              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,1 МЛРД. М3</a:t>
            </a:r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+mj-lt"/>
              <a:buAutoNum type="arabicPeriod"/>
            </a:pPr>
            <a:endParaRPr lang="ru-RU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+mj-lt"/>
              <a:buAutoNum type="arabicPeriod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РОЗ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ОЛТА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НАЦИОНАЛЬНОГО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А ВВИДУ УБЫТОЧНЫХ ЦЕН НА ГАЗ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E7C5D0-017C-4E14-919D-C11993A5567C}"/>
              </a:ext>
            </a:extLst>
          </p:cNvPr>
          <p:cNvSpPr txBox="1"/>
          <p:nvPr/>
        </p:nvSpPr>
        <p:spPr>
          <a:xfrm>
            <a:off x="207038" y="2366423"/>
            <a:ext cx="9661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м</a:t>
            </a:r>
            <a:r>
              <a:rPr lang="ru-RU" sz="1000" i="1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870DCBD7-7C9A-4E09-A1BA-DC0359B52AAF}"/>
              </a:ext>
            </a:extLst>
          </p:cNvPr>
          <p:cNvCxnSpPr>
            <a:cxnSpLocks/>
          </p:cNvCxnSpPr>
          <p:nvPr/>
        </p:nvCxnSpPr>
        <p:spPr>
          <a:xfrm flipH="1">
            <a:off x="6438900" y="3088202"/>
            <a:ext cx="499342" cy="264598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5E9C0360-14EC-4811-BAF4-F164E932A22B}"/>
              </a:ext>
            </a:extLst>
          </p:cNvPr>
          <p:cNvCxnSpPr>
            <a:cxnSpLocks/>
          </p:cNvCxnSpPr>
          <p:nvPr/>
        </p:nvCxnSpPr>
        <p:spPr>
          <a:xfrm flipH="1" flipV="1">
            <a:off x="6533965" y="3915052"/>
            <a:ext cx="389731" cy="442541"/>
          </a:xfrm>
          <a:prstGeom prst="line">
            <a:avLst/>
          </a:prstGeom>
          <a:ln w="222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0A47A884-0D90-4604-A812-5C31AB467F4C}"/>
              </a:ext>
            </a:extLst>
          </p:cNvPr>
          <p:cNvSpPr txBox="1"/>
          <p:nvPr/>
        </p:nvSpPr>
        <p:spPr>
          <a:xfrm>
            <a:off x="6976655" y="4744015"/>
            <a:ext cx="1629930" cy="400110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ПРОИЗВОДСТВО ГАЗА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F816D0-CB15-47A1-8965-B7E995881404}"/>
              </a:ext>
            </a:extLst>
          </p:cNvPr>
          <p:cNvSpPr txBox="1"/>
          <p:nvPr/>
        </p:nvSpPr>
        <p:spPr>
          <a:xfrm>
            <a:off x="6971412" y="3553469"/>
            <a:ext cx="1608937" cy="553998"/>
          </a:xfrm>
          <a:prstGeom prst="rect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Е </a:t>
            </a:r>
            <a:br>
              <a:rPr lang="ru-RU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. ОБЪЕМЫ ГАЗА</a:t>
            </a:r>
            <a:br>
              <a:rPr lang="ru-RU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«неотложных мер»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D4A9D17-BD6B-44CA-A777-3292779A1915}"/>
              </a:ext>
            </a:extLst>
          </p:cNvPr>
          <p:cNvSpPr txBox="1"/>
          <p:nvPr/>
        </p:nvSpPr>
        <p:spPr>
          <a:xfrm>
            <a:off x="6881600" y="4245202"/>
            <a:ext cx="18533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ВНУТРЕННЕ</a:t>
            </a:r>
            <a:br>
              <a:rPr lang="ru-RU" sz="1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ЛЕНИЕ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7BDD795-9754-44D1-9483-15D3C9A34B3A}"/>
              </a:ext>
            </a:extLst>
          </p:cNvPr>
          <p:cNvSpPr txBox="1"/>
          <p:nvPr/>
        </p:nvSpPr>
        <p:spPr>
          <a:xfrm>
            <a:off x="6893001" y="2845586"/>
            <a:ext cx="1754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НОЕ </a:t>
            </a:r>
            <a:r>
              <a:rPr lang="ru-RU" sz="1000" b="1" dirty="0" smtClean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ЛЕНИЕ</a:t>
            </a:r>
            <a:endParaRPr lang="ru-RU" sz="1000" b="1" dirty="0">
              <a:solidFill>
                <a:srgbClr val="5B9BD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авая фигурная скобка 46"/>
          <p:cNvSpPr/>
          <p:nvPr/>
        </p:nvSpPr>
        <p:spPr>
          <a:xfrm>
            <a:off x="6643695" y="3958987"/>
            <a:ext cx="76702" cy="1048019"/>
          </a:xfrm>
          <a:prstGeom prst="rightBrace">
            <a:avLst>
              <a:gd name="adj1" fmla="val 119566"/>
              <a:gd name="adj2" fmla="val 50000"/>
            </a:avLst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Правая фигурная скобка 47">
            <a:extLst>
              <a:ext uri="{FF2B5EF4-FFF2-40B4-BE49-F238E27FC236}">
                <a16:creationId xmlns:a16="http://schemas.microsoft.com/office/drawing/2014/main" id="{A5FFBFDC-02A4-4857-8952-BA3276880215}"/>
              </a:ext>
            </a:extLst>
          </p:cNvPr>
          <p:cNvSpPr/>
          <p:nvPr/>
        </p:nvSpPr>
        <p:spPr>
          <a:xfrm>
            <a:off x="6643694" y="3347994"/>
            <a:ext cx="94457" cy="593691"/>
          </a:xfrm>
          <a:prstGeom prst="rightBrace">
            <a:avLst>
              <a:gd name="adj1" fmla="val 119566"/>
              <a:gd name="adj2" fmla="val 50000"/>
            </a:avLst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F7CF714-8791-4787-BE8A-0891D9B23377}"/>
              </a:ext>
            </a:extLst>
          </p:cNvPr>
          <p:cNvSpPr txBox="1"/>
          <p:nvPr/>
        </p:nvSpPr>
        <p:spPr>
          <a:xfrm>
            <a:off x="6878379" y="3247176"/>
            <a:ext cx="14710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 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А</a:t>
            </a:r>
            <a:endParaRPr lang="ru-RU" sz="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 flipV="1">
            <a:off x="6474619" y="3212306"/>
            <a:ext cx="544948" cy="188759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Таблица 51">
            <a:extLst>
              <a:ext uri="{FF2B5EF4-FFF2-40B4-BE49-F238E27FC236}">
                <a16:creationId xmlns:a16="http://schemas.microsoft.com/office/drawing/2014/main" id="{3DC356F0-B469-43FE-8141-A11AAA1339C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0200" y="5544931"/>
          <a:ext cx="9070101" cy="10974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47410">
                  <a:extLst>
                    <a:ext uri="{9D8B030D-6E8A-4147-A177-3AD203B41FA5}">
                      <a16:colId xmlns:a16="http://schemas.microsoft.com/office/drawing/2014/main" val="1376077706"/>
                    </a:ext>
                  </a:extLst>
                </a:gridCol>
                <a:gridCol w="818035">
                  <a:extLst>
                    <a:ext uri="{9D8B030D-6E8A-4147-A177-3AD203B41FA5}">
                      <a16:colId xmlns:a16="http://schemas.microsoft.com/office/drawing/2014/main" val="335760756"/>
                    </a:ext>
                  </a:extLst>
                </a:gridCol>
                <a:gridCol w="779345">
                  <a:extLst>
                    <a:ext uri="{9D8B030D-6E8A-4147-A177-3AD203B41FA5}">
                      <a16:colId xmlns:a16="http://schemas.microsoft.com/office/drawing/2014/main" val="1602955710"/>
                    </a:ext>
                  </a:extLst>
                </a:gridCol>
                <a:gridCol w="746181">
                  <a:extLst>
                    <a:ext uri="{9D8B030D-6E8A-4147-A177-3AD203B41FA5}">
                      <a16:colId xmlns:a16="http://schemas.microsoft.com/office/drawing/2014/main" val="901221429"/>
                    </a:ext>
                  </a:extLst>
                </a:gridCol>
                <a:gridCol w="679855">
                  <a:extLst>
                    <a:ext uri="{9D8B030D-6E8A-4147-A177-3AD203B41FA5}">
                      <a16:colId xmlns:a16="http://schemas.microsoft.com/office/drawing/2014/main" val="3254413979"/>
                    </a:ext>
                  </a:extLst>
                </a:gridCol>
                <a:gridCol w="679855">
                  <a:extLst>
                    <a:ext uri="{9D8B030D-6E8A-4147-A177-3AD203B41FA5}">
                      <a16:colId xmlns:a16="http://schemas.microsoft.com/office/drawing/2014/main" val="3315615895"/>
                    </a:ext>
                  </a:extLst>
                </a:gridCol>
                <a:gridCol w="679855">
                  <a:extLst>
                    <a:ext uri="{9D8B030D-6E8A-4147-A177-3AD203B41FA5}">
                      <a16:colId xmlns:a16="http://schemas.microsoft.com/office/drawing/2014/main" val="3498435486"/>
                    </a:ext>
                  </a:extLst>
                </a:gridCol>
                <a:gridCol w="679855">
                  <a:extLst>
                    <a:ext uri="{9D8B030D-6E8A-4147-A177-3AD203B41FA5}">
                      <a16:colId xmlns:a16="http://schemas.microsoft.com/office/drawing/2014/main" val="1968826713"/>
                    </a:ext>
                  </a:extLst>
                </a:gridCol>
                <a:gridCol w="679855">
                  <a:extLst>
                    <a:ext uri="{9D8B030D-6E8A-4147-A177-3AD203B41FA5}">
                      <a16:colId xmlns:a16="http://schemas.microsoft.com/office/drawing/2014/main" val="2592940655"/>
                    </a:ext>
                  </a:extLst>
                </a:gridCol>
                <a:gridCol w="679855">
                  <a:extLst>
                    <a:ext uri="{9D8B030D-6E8A-4147-A177-3AD203B41FA5}">
                      <a16:colId xmlns:a16="http://schemas.microsoft.com/office/drawing/2014/main" val="536369031"/>
                    </a:ext>
                  </a:extLst>
                </a:gridCol>
              </a:tblGrid>
              <a:tr h="209745">
                <a:tc>
                  <a:txBody>
                    <a:bodyPr/>
                    <a:lstStyle/>
                    <a:p>
                      <a:endParaRPr lang="ru-RU" sz="900" b="1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05361"/>
                  </a:ext>
                </a:extLst>
              </a:tr>
              <a:tr h="2172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Перспективное потребление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 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 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5364239"/>
                  </a:ext>
                </a:extLst>
              </a:tr>
              <a:tr h="2172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Проекты </a:t>
                      </a:r>
                      <a:r>
                        <a:rPr lang="ru-RU" sz="11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газохимии</a:t>
                      </a:r>
                      <a:endParaRPr lang="ru-RU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641106"/>
                  </a:ext>
                </a:extLst>
              </a:tr>
              <a:tr h="2172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Проекты электроэнергетики </a:t>
                      </a:r>
                    </a:p>
                  </a:txBody>
                  <a:tcPr marL="18000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 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7593039"/>
                  </a:ext>
                </a:extLst>
              </a:tr>
              <a:tr h="2172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Прочие </a:t>
                      </a:r>
                      <a:r>
                        <a:rPr lang="ru-RU" sz="11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пром</a:t>
                      </a:r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. предприятия</a:t>
                      </a:r>
                    </a:p>
                  </a:txBody>
                  <a:tcPr marL="18000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187613"/>
                  </a:ext>
                </a:extLst>
              </a:tr>
            </a:tbl>
          </a:graphicData>
        </a:graphic>
      </p:graphicFrame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7A12B3AA-D736-4BBC-B157-1A9555464558}"/>
              </a:ext>
            </a:extLst>
          </p:cNvPr>
          <p:cNvSpPr/>
          <p:nvPr/>
        </p:nvSpPr>
        <p:spPr>
          <a:xfrm>
            <a:off x="234091" y="5253385"/>
            <a:ext cx="88419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spcBef>
                <a:spcPts val="200"/>
              </a:spcBef>
              <a:spcAft>
                <a:spcPts val="200"/>
              </a:spcAft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кий рост перспективного потребления связан с заявками от новых крупных потребителей: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2C0179E4-B3C4-4FA6-BE35-5B9478AB5881}"/>
              </a:ext>
            </a:extLst>
          </p:cNvPr>
          <p:cNvSpPr/>
          <p:nvPr/>
        </p:nvSpPr>
        <p:spPr>
          <a:xfrm>
            <a:off x="83186" y="5236091"/>
            <a:ext cx="3337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spcBef>
                <a:spcPts val="200"/>
              </a:spcBef>
              <a:spcAft>
                <a:spcPts val="200"/>
              </a:spcAft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8588724" y="5280576"/>
            <a:ext cx="56778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млн м3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8664293" y="4526077"/>
            <a:ext cx="562619" cy="83118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207038" y="638158"/>
            <a:ext cx="11817814" cy="150246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"/>
          <p:cNvSpPr/>
          <p:nvPr/>
        </p:nvSpPr>
        <p:spPr bwMode="auto">
          <a:xfrm>
            <a:off x="250052" y="601398"/>
            <a:ext cx="10959441" cy="15664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ЕРИОД 2015-2021 ГГ.:</a:t>
            </a:r>
          </a:p>
          <a:p>
            <a:pPr marL="228600" lvl="1" indent="-228600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ru-RU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</a:t>
            </a:r>
            <a:r>
              <a:rPr lang="ru-RU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рос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ления внутреннего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л в 2021 г.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7,5 млрд.м3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г. – 11,5 млрд.м3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228600" lvl="1" indent="-228600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% увеличилось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ованных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нентов </a:t>
            </a:r>
            <a:r>
              <a:rPr lang="en-US" sz="11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lang="en-US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47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2 млн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2 году.</a:t>
            </a:r>
          </a:p>
          <a:p>
            <a:pPr marL="228600" lvl="1" indent="-228600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% увеличилась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тяженность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гистральных газопроводов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ла в 2022 г.: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,6 </a:t>
            </a:r>
            <a:r>
              <a:rPr lang="ru-RU" sz="11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км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lvl="1" indent="-228600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  <a:defRPr/>
            </a:pPr>
            <a:r>
              <a:rPr lang="ru-RU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раза выросла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яженность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ительных газопроводов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ла в 2022 г.: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,2 </a:t>
            </a:r>
            <a:r>
              <a:rPr lang="ru-RU" sz="11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км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lvl="1" indent="-22860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а техническая возможность поставки казахстанского газа западных групп месторождений потребителям южного и северного региона.</a:t>
            </a:r>
          </a:p>
          <a:p>
            <a:pPr marL="228600" lvl="1" indent="-22860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а зависимость Юга РК от поставок узбекского газа в рамках обменных операций с ПАО «Газпром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sz="11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6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2249" y="2574567"/>
            <a:ext cx="287756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u="sng" dirty="0" smtClean="0">
                <a:solidFill>
                  <a:srgbClr val="0A2E57"/>
                </a:solidFill>
              </a:rPr>
              <a:t>Приоритеты в распределении газа:</a:t>
            </a:r>
          </a:p>
          <a:p>
            <a:pPr indent="-228600">
              <a:buFont typeface="+mj-lt"/>
              <a:buAutoNum type="arabicPeriod"/>
            </a:pPr>
            <a:r>
              <a:rPr lang="ru-RU" sz="1100" dirty="0" smtClean="0">
                <a:solidFill>
                  <a:srgbClr val="0A2E57"/>
                </a:solidFill>
              </a:rPr>
              <a:t>Население</a:t>
            </a:r>
          </a:p>
          <a:p>
            <a:pPr indent="-228600">
              <a:buFont typeface="+mj-lt"/>
              <a:buAutoNum type="arabicPeriod"/>
            </a:pPr>
            <a:r>
              <a:rPr lang="ru-RU" sz="1100" dirty="0" smtClean="0">
                <a:solidFill>
                  <a:srgbClr val="0A2E57"/>
                </a:solidFill>
              </a:rPr>
              <a:t>ТЭК, МСБ, ком. потребители </a:t>
            </a:r>
          </a:p>
          <a:p>
            <a:pPr indent="-228600">
              <a:buFont typeface="+mj-lt"/>
              <a:buAutoNum type="arabicPeriod"/>
            </a:pPr>
            <a:r>
              <a:rPr lang="ru-RU" sz="1100" dirty="0" smtClean="0">
                <a:solidFill>
                  <a:srgbClr val="0A2E57"/>
                </a:solidFill>
              </a:rPr>
              <a:t>Перспективное потребление</a:t>
            </a:r>
          </a:p>
          <a:p>
            <a:pPr indent="-228600">
              <a:buFont typeface="+mj-lt"/>
              <a:buAutoNum type="arabicPeriod"/>
            </a:pPr>
            <a:r>
              <a:rPr lang="ru-RU" sz="1100" dirty="0" smtClean="0">
                <a:solidFill>
                  <a:srgbClr val="0A2E57"/>
                </a:solidFill>
              </a:rPr>
              <a:t>Экспорт</a:t>
            </a:r>
            <a:endParaRPr lang="ru-RU" sz="1100" dirty="0">
              <a:solidFill>
                <a:srgbClr val="0A2E57"/>
              </a:solidFill>
            </a:endParaRPr>
          </a:p>
        </p:txBody>
      </p:sp>
      <p:cxnSp>
        <p:nvCxnSpPr>
          <p:cNvPr id="8" name="Прямая со стрелкой 7"/>
          <p:cNvCxnSpPr>
            <a:stCxn id="33" idx="2"/>
          </p:cNvCxnSpPr>
          <p:nvPr/>
        </p:nvCxnSpPr>
        <p:spPr>
          <a:xfrm>
            <a:off x="5132368" y="2718963"/>
            <a:ext cx="956000" cy="324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48">
            <a:extLst>
              <a:ext uri="{FF2B5EF4-FFF2-40B4-BE49-F238E27FC236}">
                <a16:creationId xmlns:a16="http://schemas.microsoft.com/office/drawing/2014/main" id="{7F7CF714-8791-4787-BE8A-0891D9B23377}"/>
              </a:ext>
            </a:extLst>
          </p:cNvPr>
          <p:cNvSpPr txBox="1"/>
          <p:nvPr/>
        </p:nvSpPr>
        <p:spPr>
          <a:xfrm>
            <a:off x="3806364" y="2411186"/>
            <a:ext cx="26520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 ГАЗА – 5 млрд.м3</a:t>
            </a:r>
            <a:endParaRPr lang="ru-RU" sz="800" b="1" u="sng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6"/>
            <a:ext cx="12191999" cy="62081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ицит товарного газа на внутреннем рынке реален в 2024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 Угроза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олта QazaqGaz в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 (убытки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76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0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4680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Диаграмма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7666997"/>
              </p:ext>
            </p:extLst>
          </p:nvPr>
        </p:nvGraphicFramePr>
        <p:xfrm>
          <a:off x="68366" y="1538242"/>
          <a:ext cx="9770209" cy="432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TextBox 2"/>
          <p:cNvSpPr txBox="1"/>
          <p:nvPr/>
        </p:nvSpPr>
        <p:spPr>
          <a:xfrm rot="16200000">
            <a:off x="459605" y="4033036"/>
            <a:ext cx="42909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 smtClean="0"/>
              <a:t>экспорт</a:t>
            </a:r>
            <a:endParaRPr lang="ru-RU" sz="900" b="1" dirty="0"/>
          </a:p>
        </p:txBody>
      </p:sp>
      <p:sp>
        <p:nvSpPr>
          <p:cNvPr id="26" name="TextBox 2"/>
          <p:cNvSpPr txBox="1"/>
          <p:nvPr/>
        </p:nvSpPr>
        <p:spPr>
          <a:xfrm>
            <a:off x="594883" y="3587658"/>
            <a:ext cx="6385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25,6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7" name="TextBox 7"/>
          <p:cNvSpPr txBox="1"/>
          <p:nvPr/>
        </p:nvSpPr>
        <p:spPr>
          <a:xfrm>
            <a:off x="9167782" y="2144885"/>
            <a:ext cx="6385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38,3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8" name="TextBox 2"/>
          <p:cNvSpPr txBox="1"/>
          <p:nvPr/>
        </p:nvSpPr>
        <p:spPr>
          <a:xfrm rot="16200000">
            <a:off x="-28227" y="4920389"/>
            <a:ext cx="138728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/>
              <a:t>в</a:t>
            </a:r>
            <a:r>
              <a:rPr lang="ru-RU" sz="900" b="1" dirty="0" smtClean="0"/>
              <a:t>нутреннее потребление</a:t>
            </a:r>
            <a:endParaRPr lang="ru-RU" sz="900" b="1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549206" y="4416172"/>
            <a:ext cx="358255" cy="15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575770" y="3853372"/>
            <a:ext cx="404812" cy="22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2"/>
          <p:cNvSpPr txBox="1"/>
          <p:nvPr/>
        </p:nvSpPr>
        <p:spPr>
          <a:xfrm rot="16200000">
            <a:off x="8897671" y="2586521"/>
            <a:ext cx="42909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 smtClean="0"/>
              <a:t>экспорт</a:t>
            </a:r>
            <a:endParaRPr lang="ru-RU" sz="900" b="1" dirty="0"/>
          </a:p>
        </p:txBody>
      </p:sp>
      <p:sp>
        <p:nvSpPr>
          <p:cNvPr id="32" name="TextBox 2"/>
          <p:cNvSpPr txBox="1"/>
          <p:nvPr/>
        </p:nvSpPr>
        <p:spPr>
          <a:xfrm rot="16200000">
            <a:off x="8426903" y="4289767"/>
            <a:ext cx="138728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/>
              <a:t>в</a:t>
            </a:r>
            <a:r>
              <a:rPr lang="ru-RU" sz="900" b="1" dirty="0" smtClean="0"/>
              <a:t>нутреннее потребление</a:t>
            </a:r>
            <a:endParaRPr lang="ru-RU" sz="900" b="1" dirty="0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83431" y="3853657"/>
            <a:ext cx="897732" cy="2381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778176" y="4040794"/>
            <a:ext cx="898224" cy="2571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Номер слайда 1"/>
          <p:cNvSpPr txBox="1">
            <a:spLocks/>
          </p:cNvSpPr>
          <p:nvPr/>
        </p:nvSpPr>
        <p:spPr>
          <a:xfrm>
            <a:off x="11867367" y="6574705"/>
            <a:ext cx="414068" cy="365125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7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6373" y="549890"/>
            <a:ext cx="11773099" cy="523220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не будут реализованы инициативы по дополнительным объемам, то будут оптимизированы объемы потребления и начнем с перспективных проектов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59113" y="5692883"/>
            <a:ext cx="684912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Доп.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объемы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с активов КМГ и наиболее </a:t>
            </a:r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одготов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проекты с 2023 г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84369" y="5710988"/>
            <a:ext cx="609738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текущего производства с 2022-2030г.</a:t>
            </a:r>
            <a:endParaRPr lang="ru-RU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487372" y="5712005"/>
            <a:ext cx="705532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поставок газа ТШО с 2024г. (</a:t>
            </a:r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азохим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омплекс Атырау)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640934" y="5707146"/>
            <a:ext cx="8814548" cy="1444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166974" y="5734478"/>
            <a:ext cx="700756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ТШО снижение закачки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 2026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865771" y="5726185"/>
            <a:ext cx="700756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рачаганак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нижение закачки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 2026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66526" y="5717385"/>
            <a:ext cx="662701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ГПЗ </a:t>
            </a:r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2 млрд.м3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 2026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210189" y="5725019"/>
            <a:ext cx="643849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ГПЗ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6 млрд.м3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 2029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885016" y="5736868"/>
            <a:ext cx="798174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гнозные объемы добычи от геологоразведки (</a:t>
            </a:r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анажол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и др.) 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 2029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718485" y="5729560"/>
            <a:ext cx="5812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Импорт газа 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к 2030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305150" y="5736330"/>
            <a:ext cx="411234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2030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23476" y="5708244"/>
            <a:ext cx="411234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2022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169031" y="5698263"/>
            <a:ext cx="63956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ТШО с экспорта на внутренний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 2022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268828" y="5699714"/>
            <a:ext cx="564537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ГПЗ </a:t>
            </a:r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шаган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1 млрд.м3</a:t>
            </a:r>
          </a:p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с 2024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авая фигурная скобка 9"/>
          <p:cNvSpPr/>
          <p:nvPr/>
        </p:nvSpPr>
        <p:spPr>
          <a:xfrm flipH="1">
            <a:off x="9174293" y="2990841"/>
            <a:ext cx="125432" cy="9956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8172181" y="3300901"/>
            <a:ext cx="93237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1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ное потребление</a:t>
            </a:r>
            <a:endParaRPr lang="ru-RU" sz="1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5E7C5D0-017C-4E14-919D-C11993A5567C}"/>
              </a:ext>
            </a:extLst>
          </p:cNvPr>
          <p:cNvSpPr txBox="1"/>
          <p:nvPr/>
        </p:nvSpPr>
        <p:spPr>
          <a:xfrm>
            <a:off x="8872474" y="1477660"/>
            <a:ext cx="9661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м</a:t>
            </a:r>
            <a:r>
              <a:rPr lang="ru-RU" sz="1000" i="1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9181466" y="2394209"/>
            <a:ext cx="358255" cy="15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783431" y="4461361"/>
            <a:ext cx="943949" cy="2065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V="1">
            <a:off x="701675" y="4410430"/>
            <a:ext cx="1025705" cy="758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410673" y="4413036"/>
            <a:ext cx="316707" cy="457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7"/>
          <p:cNvSpPr txBox="1"/>
          <p:nvPr/>
        </p:nvSpPr>
        <p:spPr>
          <a:xfrm>
            <a:off x="9253105" y="3294824"/>
            <a:ext cx="4912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10,7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9750704" y="1202390"/>
            <a:ext cx="2278769" cy="5386090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+mj-lt"/>
              <a:buAutoNum type="arabicPeriod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ОЛНОЕ УДОВЛЕТВОРЕНИЕ ПОТРЕБНОСТИ ВНУТРЕННЕГО РЫНКА.</a:t>
            </a:r>
          </a:p>
          <a:p>
            <a:pPr marL="285750" indent="-285750">
              <a:spcBef>
                <a:spcPts val="600"/>
              </a:spcBef>
              <a:buFont typeface="+mj-lt"/>
              <a:buAutoNum type="arabicPeriod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НЯТИЕ НЕОТЛОЖНЫХ МЕР ПО ОБЕСПЕЧЕНИЮ ДОПОЛНИТЕЛЬНЫМИ ОБЪЕМАМИ КАЗАХСТАНСКОГО ГАЗА.</a:t>
            </a:r>
          </a:p>
          <a:p>
            <a:pPr marL="285750" indent="-285750">
              <a:spcBef>
                <a:spcPts val="600"/>
              </a:spcBef>
              <a:buFont typeface="+mj-lt"/>
              <a:buAutoNum type="arabicPeriod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ЗАКУП ИМПОРТНОГО ГАЗА.</a:t>
            </a:r>
          </a:p>
          <a:p>
            <a:pPr marL="285750" indent="-285750">
              <a:spcBef>
                <a:spcPts val="600"/>
              </a:spcBef>
              <a:buFont typeface="+mj-lt"/>
              <a:buAutoNum type="arabicPeriod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ОИТЕЛЬСТВО 2-ОЙ НИТКИ МГ «ББШ».</a:t>
            </a:r>
          </a:p>
          <a:p>
            <a:pPr marL="285750" indent="-285750">
              <a:spcBef>
                <a:spcPts val="600"/>
              </a:spcBef>
              <a:buFont typeface="+mj-lt"/>
              <a:buAutoNum type="arabicPeriod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СОЦИАЛЬНО-СПРАВЕДЛИВАЯ РЕФОРМА ЦЕНООБРАЗОВАНИЯ НА ВНУТРЕННЕМ РЫНКЕ.</a:t>
            </a:r>
          </a:p>
          <a:p>
            <a:pPr marL="285750" indent="-285750">
              <a:spcBef>
                <a:spcPts val="600"/>
              </a:spcBef>
              <a:buFont typeface="+mj-lt"/>
              <a:buAutoNum type="arabicPeriod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ЫПОЛНЕНИЕ ОБЯЗАТЕЛЬСТВ ПО ЭКСПОРТУ ГАЗА В КНР (</a:t>
            </a:r>
            <a:r>
              <a:rPr lang="ru-RU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ИСТЕКАЮТ В 2023 ГОДУ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). ИМЕЕТСЯ РЕГЛАМЕНТ ИСПОЛЬЗОВАНИЯ ЗАРЕЗЕРВИРОВАННЫХ ГАЗОТРАНСПОРТНЫХ МОЩНОСТЕЙ МГ «ББШ» и «АГП».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5"/>
            <a:ext cx="12191999" cy="4717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для расширения ресурсной базы товарного газа в период с 2022 по 2030 г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9167782" y="2966697"/>
            <a:ext cx="358255" cy="15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2516861" y="5703264"/>
            <a:ext cx="743936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900" b="1"/>
            </a:lvl1pPr>
          </a:lstStyle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.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проекты, требующие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работки</a:t>
            </a:r>
          </a:p>
          <a:p>
            <a:r>
              <a:rPr lang="ru-RU" sz="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лмекс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, Позитив Инвест и Урал Ойл энд Газ с 2024 г.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35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Прямоугольник 36"/>
          <p:cNvSpPr/>
          <p:nvPr/>
        </p:nvSpPr>
        <p:spPr bwMode="auto">
          <a:xfrm>
            <a:off x="928423" y="4542726"/>
            <a:ext cx="10340709" cy="187671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928423" y="580417"/>
            <a:ext cx="10352258" cy="229500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Rectangle 2"/>
          <p:cNvSpPr/>
          <p:nvPr/>
        </p:nvSpPr>
        <p:spPr bwMode="auto">
          <a:xfrm>
            <a:off x="1224227" y="556451"/>
            <a:ext cx="875605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400" b="1" u="sng" dirty="0">
                <a:solidFill>
                  <a:srgbClr val="002060"/>
                </a:solidFill>
                <a:latin typeface="Arial"/>
                <a:cs typeface="Arial"/>
              </a:rPr>
              <a:t>НЕОТЛОЖНЫЕ </a:t>
            </a: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МЕРЫ </a:t>
            </a:r>
            <a:r>
              <a:rPr lang="ru-RU" sz="1400" b="1" u="sng" dirty="0">
                <a:solidFill>
                  <a:srgbClr val="002060"/>
                </a:solidFill>
                <a:latin typeface="Arial"/>
                <a:cs typeface="Arial"/>
              </a:rPr>
              <a:t>для выхода из кризиса: увеличение ресурсов </a:t>
            </a: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газа</a:t>
            </a:r>
            <a:endParaRPr lang="ru-RU" sz="1400" b="1" u="sng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54" name="Группа 53"/>
          <p:cNvGrpSpPr/>
          <p:nvPr/>
        </p:nvGrpSpPr>
        <p:grpSpPr bwMode="auto">
          <a:xfrm>
            <a:off x="656650" y="5021180"/>
            <a:ext cx="578839" cy="560825"/>
            <a:chOff x="34201" y="5588871"/>
            <a:chExt cx="578839" cy="560825"/>
          </a:xfrm>
        </p:grpSpPr>
        <p:sp>
          <p:nvSpPr>
            <p:cNvPr id="55" name="Rectangle 103"/>
            <p:cNvSpPr/>
            <p:nvPr/>
          </p:nvSpPr>
          <p:spPr bwMode="auto">
            <a:xfrm>
              <a:off x="34201" y="5711031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endParaRPr lang="en-US" b="1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55857" y="5588871"/>
              <a:ext cx="557183" cy="560825"/>
            </a:xfrm>
            <a:prstGeom prst="rect">
              <a:avLst/>
            </a:prstGeom>
          </p:spPr>
        </p:pic>
        <p:sp>
          <p:nvSpPr>
            <p:cNvPr id="57" name="Rectangle 103"/>
            <p:cNvSpPr/>
            <p:nvPr/>
          </p:nvSpPr>
          <p:spPr bwMode="auto">
            <a:xfrm>
              <a:off x="51691" y="5697129"/>
              <a:ext cx="555279" cy="31927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8" name="Прямоугольник 57"/>
          <p:cNvSpPr/>
          <p:nvPr/>
        </p:nvSpPr>
        <p:spPr bwMode="auto">
          <a:xfrm>
            <a:off x="1229419" y="4601826"/>
            <a:ext cx="9983995" cy="17650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КОМПЛЕКС СТИМУЛИРУЮЩИХ </a:t>
            </a: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МЕР</a:t>
            </a:r>
            <a:r>
              <a:rPr lang="ru-RU" sz="1400" u="sng" dirty="0" smtClean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endParaRPr lang="ru-RU" sz="1400" u="sng" dirty="0" smtClean="0">
              <a:solidFill>
                <a:srgbClr val="002060"/>
              </a:solidFill>
              <a:latin typeface="Arial"/>
              <a:cs typeface="Arial"/>
            </a:endParaRPr>
          </a:p>
          <a:p>
            <a:pPr marL="171450" lvl="1" indent="-17145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п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редоставление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фискальных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преференций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недропользователям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; </a:t>
            </a:r>
          </a:p>
          <a:p>
            <a:pPr marL="171450" lvl="1" indent="-17145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совместная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реализация проектов по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переработке газа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; </a:t>
            </a:r>
          </a:p>
          <a:p>
            <a:pPr marL="171450" lvl="1" indent="-17145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предоставление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привлекательной закупочной цены на товарный газ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независимым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недропользователям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; </a:t>
            </a:r>
          </a:p>
          <a:p>
            <a:pPr marL="171450" lvl="1" indent="-17145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введение новых категорий крупных промышленных потребителей и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майнеров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, которым газ будет поставляться по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рыночным ценам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, с привязкой к ценам экспортных поставок товарного газа в КНР;</a:t>
            </a:r>
          </a:p>
          <a:p>
            <a:pPr marL="171450" lvl="1" indent="-171450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Arial"/>
                <a:cs typeface="Arial"/>
              </a:rPr>
              <a:t>СОЦИАЛЬНО – СПРАВЕДЛИВАЯ РЕФОРМА ЦЕНООБРАЗОВАНИЯ</a:t>
            </a:r>
            <a:r>
              <a:rPr lang="ru-RU" sz="1200" b="1" dirty="0" smtClean="0">
                <a:solidFill>
                  <a:srgbClr val="FF0000"/>
                </a:solidFill>
                <a:latin typeface="Arial"/>
                <a:cs typeface="Arial"/>
              </a:rPr>
              <a:t>.</a:t>
            </a:r>
            <a:endParaRPr lang="ru-RU" sz="1200" dirty="0" smtClean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59" name="Группа 58"/>
          <p:cNvGrpSpPr/>
          <p:nvPr/>
        </p:nvGrpSpPr>
        <p:grpSpPr bwMode="auto">
          <a:xfrm>
            <a:off x="646192" y="1217642"/>
            <a:ext cx="564461" cy="558725"/>
            <a:chOff x="34201" y="398342"/>
            <a:chExt cx="564461" cy="558725"/>
          </a:xfrm>
        </p:grpSpPr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43565" y="398342"/>
              <a:ext cx="555097" cy="558725"/>
            </a:xfrm>
            <a:prstGeom prst="rect">
              <a:avLst/>
            </a:prstGeom>
          </p:spPr>
        </p:pic>
        <p:sp>
          <p:nvSpPr>
            <p:cNvPr id="61" name="Rectangle 103"/>
            <p:cNvSpPr/>
            <p:nvPr/>
          </p:nvSpPr>
          <p:spPr bwMode="auto">
            <a:xfrm>
              <a:off x="34201" y="516364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  <a:endParaRPr dirty="0"/>
            </a:p>
          </p:txBody>
        </p:sp>
      </p:grpSp>
      <p:sp>
        <p:nvSpPr>
          <p:cNvPr id="25" name="Номер слайда 1"/>
          <p:cNvSpPr txBox="1">
            <a:spLocks/>
          </p:cNvSpPr>
          <p:nvPr/>
        </p:nvSpPr>
        <p:spPr>
          <a:xfrm>
            <a:off x="11867367" y="6419437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8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1215548" y="796571"/>
            <a:ext cx="9983995" cy="2127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+3 млрд. м</a:t>
            </a:r>
            <a:r>
              <a:rPr lang="ru-RU" sz="1200" b="1" baseline="30000" dirty="0" smtClean="0">
                <a:solidFill>
                  <a:srgbClr val="0070C0"/>
                </a:solidFill>
                <a:latin typeface="Arial"/>
                <a:cs typeface="Arial"/>
              </a:rPr>
              <a:t>3</a:t>
            </a: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 в год «быстрый газ» в 2022-2023 г.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: ГПЗ на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Кашагане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на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1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млрд. м</a:t>
            </a:r>
            <a:r>
              <a:rPr lang="ru-RU" sz="1200" baseline="30000" dirty="0" smtClean="0">
                <a:solidFill>
                  <a:srgbClr val="002060"/>
                </a:solidFill>
                <a:latin typeface="Arial"/>
                <a:cs typeface="Arial"/>
              </a:rPr>
              <a:t>3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; Тенгиз: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млрд. м</a:t>
            </a:r>
            <a:r>
              <a:rPr lang="ru-RU" sz="1200" baseline="30000" dirty="0" smtClean="0">
                <a:solidFill>
                  <a:srgbClr val="002060"/>
                </a:solidFill>
                <a:latin typeface="Arial"/>
                <a:cs typeface="Arial"/>
              </a:rPr>
              <a:t>3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на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вн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. рынок вместо экспорта </a:t>
            </a:r>
            <a:endParaRPr sz="1200" dirty="0" smtClean="0"/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+7 млрд. м</a:t>
            </a:r>
            <a:r>
              <a:rPr lang="ru-RU" sz="1200" b="1" baseline="30000" dirty="0" smtClean="0">
                <a:solidFill>
                  <a:srgbClr val="0070C0"/>
                </a:solidFill>
                <a:latin typeface="Arial"/>
                <a:cs typeface="Arial"/>
              </a:rPr>
              <a:t>3</a:t>
            </a: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 в год с 2026 г: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ГПЗ на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Кашагане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на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млрд. м</a:t>
            </a:r>
            <a:r>
              <a:rPr lang="ru-RU" sz="1200" baseline="30000" dirty="0" smtClean="0">
                <a:solidFill>
                  <a:srgbClr val="002060"/>
                </a:solidFill>
                <a:latin typeface="Arial"/>
                <a:cs typeface="Arial"/>
              </a:rPr>
              <a:t>3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; вместо обратной закачки: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Карачаганак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млрд. м</a:t>
            </a:r>
            <a:r>
              <a:rPr lang="ru-RU" sz="1200" baseline="30000" dirty="0" smtClean="0">
                <a:solidFill>
                  <a:srgbClr val="002060"/>
                </a:solidFill>
                <a:latin typeface="Arial"/>
                <a:cs typeface="Arial"/>
              </a:rPr>
              <a:t>3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и Тенгиз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3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млрд. м</a:t>
            </a:r>
            <a:r>
              <a:rPr lang="ru-RU" sz="1200" baseline="30000" dirty="0" smtClean="0">
                <a:solidFill>
                  <a:srgbClr val="002060"/>
                </a:solidFill>
                <a:latin typeface="Arial"/>
                <a:cs typeface="Arial"/>
              </a:rPr>
              <a:t>3 </a:t>
            </a:r>
            <a:endParaRPr sz="1200" dirty="0" smtClean="0"/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+6 млрд. м</a:t>
            </a:r>
            <a:r>
              <a:rPr lang="ru-RU" sz="1200" b="1" baseline="30000" dirty="0" smtClean="0">
                <a:solidFill>
                  <a:srgbClr val="0070C0"/>
                </a:solidFill>
                <a:latin typeface="Arial"/>
                <a:cs typeface="Arial"/>
              </a:rPr>
              <a:t>3</a:t>
            </a: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 в год с 2030 г: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ГПЗ на </a:t>
            </a:r>
            <a:r>
              <a:rPr lang="ru-RU" sz="1200" dirty="0" err="1" smtClean="0">
                <a:solidFill>
                  <a:srgbClr val="002060"/>
                </a:solidFill>
                <a:latin typeface="Arial"/>
                <a:cs typeface="Arial"/>
              </a:rPr>
              <a:t>Кашагане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на 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6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 млрд. м</a:t>
            </a:r>
            <a:r>
              <a:rPr lang="ru-RU" sz="1200" baseline="30000" dirty="0" smtClean="0">
                <a:solidFill>
                  <a:srgbClr val="002060"/>
                </a:solidFill>
                <a:latin typeface="Arial"/>
                <a:cs typeface="Arial"/>
              </a:rPr>
              <a:t>3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+2 млрд. м</a:t>
            </a:r>
            <a:r>
              <a:rPr lang="ru-RU" sz="1200" b="1" baseline="30000" dirty="0" smtClean="0">
                <a:solidFill>
                  <a:srgbClr val="0070C0"/>
                </a:solidFill>
                <a:latin typeface="Arial"/>
                <a:cs typeface="Arial"/>
              </a:rPr>
              <a:t>3</a:t>
            </a: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 в год с 2023 г: 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добыча газа без необходимости в 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доразведке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 или оценке влияния на добычу нефти на наиболее подготовленных месторождениях углеводородного сырья (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Урихтау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, 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Зап.Прорва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, 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Рожковское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 , 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Анабай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, Придорожное)</a:t>
            </a: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>
                <a:solidFill>
                  <a:srgbClr val="0070C0"/>
                </a:solidFill>
                <a:latin typeface="Arial"/>
                <a:cs typeface="Arial"/>
              </a:rPr>
              <a:t>+2,5 млрд. м</a:t>
            </a:r>
            <a:r>
              <a:rPr lang="ru-RU" sz="1200" b="1" baseline="30000" dirty="0">
                <a:solidFill>
                  <a:srgbClr val="0070C0"/>
                </a:solidFill>
                <a:latin typeface="Arial"/>
                <a:cs typeface="Arial"/>
              </a:rPr>
              <a:t>3</a:t>
            </a:r>
            <a:r>
              <a:rPr lang="ru-RU" sz="1200" b="1" dirty="0" smtClean="0">
                <a:solidFill>
                  <a:srgbClr val="0070C0"/>
                </a:solidFill>
                <a:latin typeface="Arial"/>
                <a:cs typeface="Arial"/>
              </a:rPr>
              <a:t> </a:t>
            </a:r>
            <a:r>
              <a:rPr lang="ru-RU" sz="1200" b="1" dirty="0">
                <a:solidFill>
                  <a:srgbClr val="0070C0"/>
                </a:solidFill>
                <a:latin typeface="Arial"/>
                <a:cs typeface="Arial"/>
              </a:rPr>
              <a:t>в год с 2024 г:</a:t>
            </a:r>
            <a:r>
              <a:rPr lang="ru-RU" sz="1200" dirty="0">
                <a:solidFill>
                  <a:schemeClr val="tx2"/>
                </a:solidFill>
                <a:latin typeface="Arial"/>
                <a:cs typeface="Arial"/>
              </a:rPr>
              <a:t> п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ерспективные </a:t>
            </a:r>
            <a:r>
              <a:rPr lang="ru-RU" sz="1200" dirty="0">
                <a:solidFill>
                  <a:schemeClr val="tx2"/>
                </a:solidFill>
                <a:latin typeface="Arial"/>
                <a:cs typeface="Arial"/>
              </a:rPr>
              <a:t>проекты, требующие проработки инфраструктуры, оценки рентабельности, уточнения сроков реализации с 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недропользователями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 (</a:t>
            </a:r>
            <a:r>
              <a:rPr lang="ru-RU" sz="1200" dirty="0" err="1" smtClean="0">
                <a:solidFill>
                  <a:schemeClr val="tx2"/>
                </a:solidFill>
                <a:latin typeface="Arial"/>
                <a:cs typeface="Arial"/>
              </a:rPr>
              <a:t>Алмекс</a:t>
            </a:r>
            <a:r>
              <a:rPr lang="ru-RU" sz="1200" dirty="0" smtClean="0">
                <a:solidFill>
                  <a:schemeClr val="tx2"/>
                </a:solidFill>
                <a:latin typeface="Arial"/>
                <a:cs typeface="Arial"/>
              </a:rPr>
              <a:t>, Позитив Инвест и Урал Ойл энд Газ)</a:t>
            </a:r>
            <a:endParaRPr lang="ru-RU" sz="1200" dirty="0">
              <a:solidFill>
                <a:schemeClr val="tx2"/>
              </a:solidFill>
              <a:latin typeface="Arial"/>
              <a:cs typeface="Arial"/>
            </a:endParaRPr>
          </a:p>
          <a:p>
            <a:pPr marL="179388" lvl="1" indent="-179388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Трансферт технологий </a:t>
            </a: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по добыче метана угольных пластов (</a:t>
            </a:r>
            <a:r>
              <a:rPr lang="ru-RU" sz="1200" i="1" dirty="0">
                <a:solidFill>
                  <a:srgbClr val="002060"/>
                </a:solidFill>
                <a:latin typeface="Arial"/>
                <a:cs typeface="Arial"/>
              </a:rPr>
              <a:t>Карагандинский угольный бассейн</a:t>
            </a: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). Техническая возможность приемки газа имеется (МГ «Сары Арка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»).</a:t>
            </a:r>
            <a:endParaRPr lang="ru-RU" sz="1200" dirty="0" smtClean="0">
              <a:latin typeface="Arial"/>
              <a:cs typeface="Arial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928423" y="2988215"/>
            <a:ext cx="10340710" cy="145311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Rectangle 2"/>
          <p:cNvSpPr/>
          <p:nvPr/>
        </p:nvSpPr>
        <p:spPr bwMode="auto">
          <a:xfrm>
            <a:off x="1216553" y="2976819"/>
            <a:ext cx="7719934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400" b="1" u="sng" dirty="0" smtClean="0">
                <a:solidFill>
                  <a:srgbClr val="002060"/>
                </a:solidFill>
                <a:latin typeface="Arial"/>
                <a:cs typeface="Arial"/>
              </a:rPr>
              <a:t>РАСШИРЕНИЕ ГАЗОТРАНСПОРТНОЙ ИНФРАСТРУКТУРЫ</a:t>
            </a:r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1235489" y="3327352"/>
            <a:ext cx="10053573" cy="1173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Необходимо строительство </a:t>
            </a:r>
            <a:r>
              <a:rPr lang="ru-RU" sz="1200" dirty="0">
                <a:solidFill>
                  <a:srgbClr val="0070C0"/>
                </a:solidFill>
                <a:latin typeface="Arial"/>
                <a:cs typeface="Arial"/>
              </a:rPr>
              <a:t>2-ой </a:t>
            </a:r>
            <a:r>
              <a:rPr lang="ru-RU" sz="1200" dirty="0" smtClean="0">
                <a:solidFill>
                  <a:srgbClr val="0070C0"/>
                </a:solidFill>
                <a:latin typeface="Arial"/>
                <a:cs typeface="Arial"/>
              </a:rPr>
              <a:t>нитки МГ ББШ для удовлетворения растущей потребности внутреннего рынка и экспорта казахстанского газа в КНР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. Для </a:t>
            </a: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этого требуется: 1) гарантировать объемы прокачки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газа; </a:t>
            </a:r>
            <a:r>
              <a:rPr lang="ru-RU" sz="1200" dirty="0">
                <a:solidFill>
                  <a:srgbClr val="002060"/>
                </a:solidFill>
                <a:latin typeface="Arial"/>
                <a:cs typeface="Arial"/>
              </a:rPr>
              <a:t>2) обеспечить инвестиционный тариф для окупаемости </a:t>
            </a:r>
            <a:r>
              <a:rPr lang="ru-RU" sz="1200" dirty="0" smtClean="0">
                <a:solidFill>
                  <a:srgbClr val="002060"/>
                </a:solidFill>
                <a:latin typeface="Arial"/>
                <a:cs typeface="Arial"/>
              </a:rPr>
              <a:t>проекта.</a:t>
            </a:r>
            <a:endParaRPr sz="1200" dirty="0"/>
          </a:p>
          <a:p>
            <a:pPr marL="182563" lvl="1" indent="-182563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Font typeface="Wingdings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В целях стимулирования выработки товарного газа, повышения инвестиционной привлекательности реализация проекта целесообразна с привлечением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ресурсодержателей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. </a:t>
            </a:r>
            <a:endParaRPr sz="1200" b="1" dirty="0"/>
          </a:p>
        </p:txBody>
      </p:sp>
      <p:grpSp>
        <p:nvGrpSpPr>
          <p:cNvPr id="46" name="Группа 45"/>
          <p:cNvGrpSpPr/>
          <p:nvPr/>
        </p:nvGrpSpPr>
        <p:grpSpPr bwMode="auto">
          <a:xfrm>
            <a:off x="626294" y="3178492"/>
            <a:ext cx="578839" cy="560825"/>
            <a:chOff x="34201" y="5588871"/>
            <a:chExt cx="578839" cy="560825"/>
          </a:xfrm>
        </p:grpSpPr>
        <p:sp>
          <p:nvSpPr>
            <p:cNvPr id="48" name="Rectangle 103"/>
            <p:cNvSpPr/>
            <p:nvPr/>
          </p:nvSpPr>
          <p:spPr bwMode="auto">
            <a:xfrm>
              <a:off x="34201" y="5711031"/>
              <a:ext cx="558941" cy="31517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endParaRPr lang="en-US" b="1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9" name="Рисунок 48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>
              <a:off x="55857" y="5588871"/>
              <a:ext cx="557183" cy="560825"/>
            </a:xfrm>
            <a:prstGeom prst="rect">
              <a:avLst/>
            </a:prstGeom>
          </p:spPr>
        </p:pic>
        <p:sp>
          <p:nvSpPr>
            <p:cNvPr id="50" name="Rectangle 103"/>
            <p:cNvSpPr/>
            <p:nvPr/>
          </p:nvSpPr>
          <p:spPr bwMode="auto">
            <a:xfrm>
              <a:off x="51691" y="5697129"/>
              <a:ext cx="555279" cy="31927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  <a:endParaRPr lang="en-US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6"/>
            <a:ext cx="12191999" cy="5391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для расширения ресурсной базы товарного газа в период с 2022 по 2030 г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продолжение)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0" name="Прямоугольник 29"/>
              <p:cNvSpPr/>
              <p:nvPr/>
            </p:nvSpPr>
            <p:spPr>
              <a:xfrm>
                <a:off x="8207188" y="5048758"/>
                <a:ext cx="2781082" cy="270972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sysDash"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0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ru-RU" sz="100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ru-RU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ru-RU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ru-RU" sz="100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ru-RU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00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экспорт</m:t>
                              </m:r>
                            </m:sub>
                          </m:sSub>
                          <m:r>
                            <a:rPr lang="ru-RU" sz="100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𝑄𝐺</m:t>
                              </m:r>
                            </m:sub>
                          </m:sSub>
                          <m:r>
                            <a:rPr lang="ru-RU" sz="100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ru-RU" sz="100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экспорт</m:t>
                              </m:r>
                            </m:sub>
                          </m:sSub>
                          <m:r>
                            <a:rPr lang="ru-RU" sz="100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𝐼𝑛𝑣𝑒𝑠𝑡</m:t>
                              </m:r>
                            </m:e>
                            <m:sub>
                              <m:r>
                                <a:rPr lang="ru-RU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ru-RU" sz="1000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30" name="Прямоугольник 2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7188" y="5048758"/>
                <a:ext cx="2781082" cy="27097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  <a:prstDash val="sysDash"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9322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Заголовок 2">
            <a:extLst>
              <a:ext uri="{FF2B5EF4-FFF2-40B4-BE49-F238E27FC236}">
                <a16:creationId xmlns:a16="http://schemas.microsoft.com/office/drawing/2014/main" id="{7DB66CF0-0F73-424E-9841-0392F8641BF7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12192000" cy="673331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0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66" name="Номер слайда 1"/>
          <p:cNvSpPr txBox="1">
            <a:spLocks/>
          </p:cNvSpPr>
          <p:nvPr/>
        </p:nvSpPr>
        <p:spPr>
          <a:xfrm>
            <a:off x="11984966" y="6629315"/>
            <a:ext cx="414068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2293A-1165-4342-AA9C-4EC67CF81466}" type="slidenum">
              <a:rPr lang="ru-RU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9</a:t>
            </a:fld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7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2897981" y="734566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6837360" y="3674093"/>
            <a:ext cx="52754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сновные подходы по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фференциации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птовых  </a:t>
            </a:r>
          </a:p>
          <a:p>
            <a:pPr algn="ctr"/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н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а товарный газ по группам потребителей </a:t>
            </a:r>
          </a:p>
        </p:txBody>
      </p:sp>
      <p:graphicFrame>
        <p:nvGraphicFramePr>
          <p:cNvPr id="170" name="Таблица 1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440993"/>
              </p:ext>
            </p:extLst>
          </p:nvPr>
        </p:nvGraphicFramePr>
        <p:xfrm>
          <a:off x="6686552" y="4265078"/>
          <a:ext cx="5114923" cy="1650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3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88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1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1097">
                <a:tc>
                  <a:txBody>
                    <a:bodyPr/>
                    <a:lstStyle/>
                    <a:p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селение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2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ое</a:t>
                      </a:r>
                      <a:r>
                        <a:rPr lang="ru-RU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жегодное </a:t>
                      </a:r>
                    </a:p>
                    <a:p>
                      <a:pPr marL="622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ышение цены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6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СН</a:t>
                      </a:r>
                      <a:endParaRPr lang="ru-RU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8650" indent="0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еспечение сдерживания цены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4% 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2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рческие потребители</a:t>
                      </a:r>
                      <a:r>
                        <a:rPr lang="ru-RU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8650" indent="0"/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годное</a:t>
                      </a:r>
                      <a:r>
                        <a:rPr lang="ru-RU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вышение цены </a:t>
                      </a:r>
                      <a:r>
                        <a:rPr lang="ru-RU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20-30%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отехнологичны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приятия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42925" indent="0" algn="l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«</a:t>
                      </a:r>
                      <a:r>
                        <a:rPr lang="ru-RU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этбэк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от экспорта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71" name="Стрелка вправо 170"/>
          <p:cNvSpPr/>
          <p:nvPr/>
        </p:nvSpPr>
        <p:spPr>
          <a:xfrm>
            <a:off x="9079393" y="4432936"/>
            <a:ext cx="211762" cy="138113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37">
              <a:defRPr/>
            </a:pPr>
            <a:endParaRPr lang="ru-RU" sz="1013">
              <a:solidFill>
                <a:prstClr val="whit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трелка вправо 172"/>
          <p:cNvSpPr/>
          <p:nvPr/>
        </p:nvSpPr>
        <p:spPr>
          <a:xfrm>
            <a:off x="9079393" y="4801972"/>
            <a:ext cx="211762" cy="13811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37">
              <a:defRPr/>
            </a:pPr>
            <a:endParaRPr lang="ru-RU" sz="1013">
              <a:solidFill>
                <a:prstClr val="whit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Стрелка вправо 173"/>
          <p:cNvSpPr/>
          <p:nvPr/>
        </p:nvSpPr>
        <p:spPr>
          <a:xfrm>
            <a:off x="9079393" y="5230438"/>
            <a:ext cx="211762" cy="138113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37">
              <a:defRPr/>
            </a:pPr>
            <a:endParaRPr lang="ru-RU" sz="1013">
              <a:solidFill>
                <a:prstClr val="whit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Стрелка вправо 174"/>
          <p:cNvSpPr/>
          <p:nvPr/>
        </p:nvSpPr>
        <p:spPr>
          <a:xfrm>
            <a:off x="9079393" y="5628677"/>
            <a:ext cx="211762" cy="138113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37">
              <a:defRPr/>
            </a:pPr>
            <a:endParaRPr lang="ru-RU" sz="1013">
              <a:solidFill>
                <a:prstClr val="whit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6" name="Диаграмма 175"/>
          <p:cNvGraphicFramePr>
            <a:graphicFrameLocks/>
          </p:cNvGraphicFramePr>
          <p:nvPr>
            <p:extLst/>
          </p:nvPr>
        </p:nvGraphicFramePr>
        <p:xfrm>
          <a:off x="97630" y="734565"/>
          <a:ext cx="6017419" cy="2913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7" name="Диаграмма 176"/>
          <p:cNvGraphicFramePr>
            <a:graphicFrameLocks/>
          </p:cNvGraphicFramePr>
          <p:nvPr>
            <p:extLst/>
          </p:nvPr>
        </p:nvGraphicFramePr>
        <p:xfrm>
          <a:off x="737151" y="3420944"/>
          <a:ext cx="5377898" cy="2905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8" name="Диаграмма 177"/>
          <p:cNvGraphicFramePr>
            <a:graphicFrameLocks/>
          </p:cNvGraphicFramePr>
          <p:nvPr>
            <p:extLst/>
          </p:nvPr>
        </p:nvGraphicFramePr>
        <p:xfrm>
          <a:off x="6400799" y="738427"/>
          <a:ext cx="5210175" cy="2952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33251" y="6376018"/>
            <a:ext cx="12158749" cy="461665"/>
          </a:xfrm>
          <a:prstGeom prst="rect">
            <a:avLst/>
          </a:prstGeom>
          <a:noFill/>
          <a:ln w="9525">
            <a:solidFill>
              <a:srgbClr val="C00000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01.04.2022 г. запущен пилотный проект в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Жамбылской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и Западно-Казахстанской областях, где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для СУСН на 20% снижены розничные цены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 товарный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газ.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 01.07.2022 г. планируется масштабировать проект по всем регионам страны. Это будет отправной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очкой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социально-справедливой реформе ценообразования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9F23AA9D-E050-41F2-8407-173B9C6FD3B5}"/>
              </a:ext>
            </a:extLst>
          </p:cNvPr>
          <p:cNvSpPr/>
          <p:nvPr/>
        </p:nvSpPr>
        <p:spPr>
          <a:xfrm>
            <a:off x="1" y="-1636"/>
            <a:ext cx="12191999" cy="6684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справедливое ценообразование: основную нагрузку понесут коммерческие потребители и высокотехнологичные предприятия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94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
</file>

<file path=customXml/item2.xml>
</file>

<file path=customXml/item3.xml>
</file>

<file path=customXml/item4.xml>
</file>

<file path=customXml/item5.xml>
</file>

<file path=customXml/item6.xml>
</file>

<file path=customXml/itemProps1.xml><?xml version="1.0" encoding="utf-8"?>
<ds:datastoreItem xmlns:ds="http://schemas.openxmlformats.org/officeDocument/2006/customXml" ds:itemID="{8EA3A122-8C77-40B4-91C6-C0C911AFD716}"/>
</file>

<file path=customXml/itemProps2.xml><?xml version="1.0" encoding="utf-8"?>
<ds:datastoreItem xmlns:ds="http://schemas.openxmlformats.org/officeDocument/2006/customXml" ds:itemID="{1FAE3CFF-8F2E-4ECD-8385-44D765C99547}"/>
</file>

<file path=customXml/itemProps3.xml><?xml version="1.0" encoding="utf-8"?>
<ds:datastoreItem xmlns:ds="http://schemas.openxmlformats.org/officeDocument/2006/customXml" ds:itemID="{AA4B2B9C-6BC6-49C0-8366-2D0AE2EB25B3}"/>
</file>

<file path=customXml/itemProps4.xml><?xml version="1.0" encoding="utf-8"?>
<ds:datastoreItem xmlns:ds="http://schemas.openxmlformats.org/officeDocument/2006/customXml" ds:itemID="{8BFF40D0-4DA3-4861-9780-6C5717D99F5F}"/>
</file>

<file path=customXml/itemProps5.xml><?xml version="1.0" encoding="utf-8"?>
<ds:datastoreItem xmlns:ds="http://schemas.openxmlformats.org/officeDocument/2006/customXml" ds:itemID="{A40F6AE9-BDC2-4F61-9A5A-F29346B1F8C5}"/>
</file>

<file path=customXml/itemProps6.xml><?xml version="1.0" encoding="utf-8"?>
<ds:datastoreItem xmlns:ds="http://schemas.openxmlformats.org/officeDocument/2006/customXml" ds:itemID="{5DCE52E4-7121-4A44-B5F9-084B303CF421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574</TotalTime>
  <Words>6039</Words>
  <Application>Microsoft Office PowerPoint</Application>
  <PresentationFormat>Широкоэкранный</PresentationFormat>
  <Paragraphs>1195</Paragraphs>
  <Slides>2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6</vt:i4>
      </vt:variant>
    </vt:vector>
  </HeadingPairs>
  <TitlesOfParts>
    <vt:vector size="47" baseType="lpstr">
      <vt:lpstr>微软雅黑</vt:lpstr>
      <vt:lpstr>ＭＳ Ｐゴシック</vt:lpstr>
      <vt:lpstr>Arial</vt:lpstr>
      <vt:lpstr>Arial Black</vt:lpstr>
      <vt:lpstr>Arial Narrow</vt:lpstr>
      <vt:lpstr>Calibri</vt:lpstr>
      <vt:lpstr>Calibri Light</vt:lpstr>
      <vt:lpstr>Cambria Math</vt:lpstr>
      <vt:lpstr>Century Gothic</vt:lpstr>
      <vt:lpstr>DengXian</vt:lpstr>
      <vt:lpstr>DengXian</vt:lpstr>
      <vt:lpstr>Franklin Gothic Medium</vt:lpstr>
      <vt:lpstr>Lato Light</vt:lpstr>
      <vt:lpstr>MS Mincho</vt:lpstr>
      <vt:lpstr>Segoe UI</vt:lpstr>
      <vt:lpstr>Tahoma</vt:lpstr>
      <vt:lpstr>Times New Roman</vt:lpstr>
      <vt:lpstr>Wingdings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жиенгулова Динара Эйдвардовна</dc:creator>
  <cp:lastModifiedBy>Бралина Лаура Ермаковна</cp:lastModifiedBy>
  <cp:revision>1059</cp:revision>
  <cp:lastPrinted>2022-06-04T03:43:13Z</cp:lastPrinted>
  <dcterms:created xsi:type="dcterms:W3CDTF">2022-04-14T14:05:37Z</dcterms:created>
  <dcterms:modified xsi:type="dcterms:W3CDTF">2022-06-04T04:12:13Z</dcterms:modified>
</cp:coreProperties>
</file>